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notesSlides/notesSlide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notesSlides/notesSlide6.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740.xml" ContentType="application/vnd.openxmlformats-officedocument.presentationml.tags+xml"/>
  <Override PartName="/ppt/tags/tag741.xml" ContentType="application/vnd.openxmlformats-officedocument.presentationml.tags+xml"/>
  <Override PartName="/ppt/notesSlides/notesSlide7.xml" ContentType="application/vnd.openxmlformats-officedocument.presentationml.notesSlide+xml"/>
  <Override PartName="/ppt/tags/tag742.xml" ContentType="application/vnd.openxmlformats-officedocument.presentationml.tags+xml"/>
  <Override PartName="/ppt/tags/tag743.xml" ContentType="application/vnd.openxmlformats-officedocument.presentationml.tags+xml"/>
  <Override PartName="/ppt/notesSlides/notesSlide8.xml" ContentType="application/vnd.openxmlformats-officedocument.presentationml.notesSlide+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charts/chart24.xml" ContentType="application/vnd.openxmlformats-officedocument.drawingml.chart+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charts/chart25.xml" ContentType="application/vnd.openxmlformats-officedocument.drawingml.chart+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28.xml" ContentType="application/vnd.openxmlformats-officedocument.drawingml.chart+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charts/chart31.xml" ContentType="application/vnd.openxmlformats-officedocument.drawingml.chart+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notesSlides/notesSlide9.xml" ContentType="application/vnd.openxmlformats-officedocument.presentationml.notesSlide+xml"/>
  <Override PartName="/ppt/tags/tag1112.xml" ContentType="application/vnd.openxmlformats-officedocument.presentationml.tags+xml"/>
  <Override PartName="/ppt/notesSlides/notesSlide10.xml" ContentType="application/vnd.openxmlformats-officedocument.presentationml.notesSlide+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9"/>
  </p:notesMasterIdLst>
  <p:handoutMasterIdLst>
    <p:handoutMasterId r:id="rId80"/>
  </p:handoutMasterIdLst>
  <p:sldIdLst>
    <p:sldId id="568" r:id="rId2"/>
    <p:sldId id="2147470377" r:id="rId3"/>
    <p:sldId id="2147470440" r:id="rId4"/>
    <p:sldId id="381" r:id="rId5"/>
    <p:sldId id="639" r:id="rId6"/>
    <p:sldId id="469" r:id="rId7"/>
    <p:sldId id="2147472438" r:id="rId8"/>
    <p:sldId id="2147470445" r:id="rId9"/>
    <p:sldId id="685" r:id="rId10"/>
    <p:sldId id="2147470446" r:id="rId11"/>
    <p:sldId id="640" r:id="rId12"/>
    <p:sldId id="527" r:id="rId13"/>
    <p:sldId id="477" r:id="rId14"/>
    <p:sldId id="2147470431" r:id="rId15"/>
    <p:sldId id="382" r:id="rId16"/>
    <p:sldId id="627" r:id="rId17"/>
    <p:sldId id="2147472441" r:id="rId18"/>
    <p:sldId id="2147470447" r:id="rId19"/>
    <p:sldId id="2147472436" r:id="rId20"/>
    <p:sldId id="2147472437" r:id="rId21"/>
    <p:sldId id="528" r:id="rId22"/>
    <p:sldId id="2147470439" r:id="rId23"/>
    <p:sldId id="2147470360" r:id="rId24"/>
    <p:sldId id="2147470432" r:id="rId25"/>
    <p:sldId id="2147470340" r:id="rId26"/>
    <p:sldId id="2147470357" r:id="rId27"/>
    <p:sldId id="2147472449" r:id="rId28"/>
    <p:sldId id="529" r:id="rId29"/>
    <p:sldId id="686" r:id="rId30"/>
    <p:sldId id="2147470355" r:id="rId31"/>
    <p:sldId id="2147470356" r:id="rId32"/>
    <p:sldId id="693" r:id="rId33"/>
    <p:sldId id="690" r:id="rId34"/>
    <p:sldId id="2147470339" r:id="rId35"/>
    <p:sldId id="535" r:id="rId36"/>
    <p:sldId id="2147470430" r:id="rId37"/>
    <p:sldId id="2147472442" r:id="rId38"/>
    <p:sldId id="2147472443" r:id="rId39"/>
    <p:sldId id="2147472445" r:id="rId40"/>
    <p:sldId id="666" r:id="rId41"/>
    <p:sldId id="681" r:id="rId42"/>
    <p:sldId id="682" r:id="rId43"/>
    <p:sldId id="2147470366" r:id="rId44"/>
    <p:sldId id="2147470368" r:id="rId45"/>
    <p:sldId id="538" r:id="rId46"/>
    <p:sldId id="2147472446" r:id="rId47"/>
    <p:sldId id="2147472448" r:id="rId48"/>
    <p:sldId id="2147470435" r:id="rId49"/>
    <p:sldId id="2147470436" r:id="rId50"/>
    <p:sldId id="2147470437" r:id="rId51"/>
    <p:sldId id="2147470378" r:id="rId52"/>
    <p:sldId id="2147470312" r:id="rId53"/>
    <p:sldId id="677" r:id="rId54"/>
    <p:sldId id="654" r:id="rId55"/>
    <p:sldId id="2147470412" r:id="rId56"/>
    <p:sldId id="2147470305" r:id="rId57"/>
    <p:sldId id="691" r:id="rId58"/>
    <p:sldId id="552" r:id="rId59"/>
    <p:sldId id="581" r:id="rId60"/>
    <p:sldId id="451" r:id="rId61"/>
    <p:sldId id="652" r:id="rId62"/>
    <p:sldId id="658" r:id="rId63"/>
    <p:sldId id="2147472413" r:id="rId64"/>
    <p:sldId id="2147470313" r:id="rId65"/>
    <p:sldId id="2147470314" r:id="rId66"/>
    <p:sldId id="2147470441" r:id="rId67"/>
    <p:sldId id="2147470315" r:id="rId68"/>
    <p:sldId id="683" r:id="rId69"/>
    <p:sldId id="2147470316" r:id="rId70"/>
    <p:sldId id="2147470317" r:id="rId71"/>
    <p:sldId id="2147470318" r:id="rId72"/>
    <p:sldId id="2147470319" r:id="rId73"/>
    <p:sldId id="2147470320" r:id="rId74"/>
    <p:sldId id="2147470442" r:id="rId75"/>
    <p:sldId id="2147470443" r:id="rId76"/>
    <p:sldId id="2147470322" r:id="rId77"/>
    <p:sldId id="2147470323" r:id="rId78"/>
  </p:sldIdLst>
  <p:sldSz cx="9906000" cy="6858000" type="A4"/>
  <p:notesSz cx="6807200" cy="9939338"/>
  <p:custDataLst>
    <p:tags r:id="rId8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6114"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6" pos="3120">
          <p15:clr>
            <a:srgbClr val="A4A3A4"/>
          </p15:clr>
        </p15:guide>
        <p15:guide id="17" pos="5524">
          <p15:clr>
            <a:srgbClr val="A4A3A4"/>
          </p15:clr>
        </p15:guide>
        <p15:guide id="18" pos="716">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2" name="作成者"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CDE0"/>
    <a:srgbClr val="868686"/>
    <a:srgbClr val="CCDAEC"/>
    <a:srgbClr val="BAE4D9"/>
    <a:srgbClr val="FFFFFF"/>
    <a:srgbClr val="FFFF00"/>
    <a:srgbClr val="D2E0E6"/>
    <a:srgbClr val="ECE5F4"/>
    <a:srgbClr val="EBEFCF"/>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841FEF-0839-4179-8C67-E34566BE6CE5}" v="41" dt="2026-04-10T13:15:43.73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49" autoAdjust="0"/>
    <p:restoredTop sz="94472" autoAdjust="0"/>
  </p:normalViewPr>
  <p:slideViewPr>
    <p:cSldViewPr>
      <p:cViewPr>
        <p:scale>
          <a:sx n="100" d="100"/>
          <a:sy n="100" d="100"/>
        </p:scale>
        <p:origin x="869" y="-163"/>
      </p:cViewPr>
      <p:guideLst>
        <p:guide pos="6114"/>
        <p:guide pos="1669"/>
        <p:guide pos="126"/>
        <p:guide orient="horz" pos="709"/>
        <p:guide orient="horz" pos="3566"/>
        <p:guide pos="3120"/>
        <p:guide pos="5524"/>
        <p:guide pos="71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83671382307826E-2"/>
          <c:y val="0.18675252989880406"/>
          <c:w val="0.90438043292994719"/>
          <c:h val="0.6826126954921802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47.159718499999997</c:v>
                </c:pt>
                <c:pt idx="1">
                  <c:v>47.566800499999999</c:v>
                </c:pt>
                <c:pt idx="2">
                  <c:v>48.019415000000002</c:v>
                </c:pt>
                <c:pt idx="3">
                  <c:v>48.500348000000002</c:v>
                </c:pt>
                <c:pt idx="4">
                  <c:v>48.991420499999997</c:v>
                </c:pt>
                <c:pt idx="5">
                  <c:v>49.490032499999998</c:v>
                </c:pt>
                <c:pt idx="6">
                  <c:v>49.998277000000002</c:v>
                </c:pt>
                <c:pt idx="7">
                  <c:v>50.528583500000003</c:v>
                </c:pt>
                <c:pt idx="8">
                  <c:v>51.1145985</c:v>
                </c:pt>
                <c:pt idx="9">
                  <c:v>51.728515999999999</c:v>
                </c:pt>
                <c:pt idx="10">
                  <c:v>52.344051</c:v>
                </c:pt>
                <c:pt idx="11">
                  <c:v>52.995204999999999</c:v>
                </c:pt>
                <c:pt idx="12">
                  <c:v>53.782566500000001</c:v>
                </c:pt>
                <c:pt idx="13">
                  <c:v>54.678791500000003</c:v>
                </c:pt>
                <c:pt idx="14">
                  <c:v>55.594838500000002</c:v>
                </c:pt>
                <c:pt idx="15">
                  <c:v>56.723536500000002</c:v>
                </c:pt>
                <c:pt idx="16">
                  <c:v>57.259551000000002</c:v>
                </c:pt>
                <c:pt idx="17">
                  <c:v>57.635162000000001</c:v>
                </c:pt>
                <c:pt idx="18">
                  <c:v>58.613000499999998</c:v>
                </c:pt>
                <c:pt idx="19">
                  <c:v>59.587885499999999</c:v>
                </c:pt>
                <c:pt idx="20">
                  <c:v>60.562381000000002</c:v>
                </c:pt>
                <c:pt idx="21">
                  <c:v>61.502603000000001</c:v>
                </c:pt>
                <c:pt idx="22">
                  <c:v>62.378410000000002</c:v>
                </c:pt>
                <c:pt idx="23">
                  <c:v>63.212383500000001</c:v>
                </c:pt>
                <c:pt idx="24">
                  <c:v>64</c:v>
                </c:pt>
                <c:pt idx="25">
                  <c:v>64.47</c:v>
                </c:pt>
                <c:pt idx="26">
                  <c:v>68.161359000000004</c:v>
                </c:pt>
                <c:pt idx="27">
                  <c:v>74.0356235</c:v>
                </c:pt>
                <c:pt idx="28">
                  <c:v>79.177328000000003</c:v>
                </c:pt>
              </c:numCache>
            </c:numRef>
          </c:val>
          <c:extLst>
            <c:ext xmlns:c16="http://schemas.microsoft.com/office/drawing/2014/chart" uri="{C3380CC4-5D6E-409C-BE32-E72D297353CC}">
              <c16:uniqueId val="{00000000-BA84-464B-BCE9-E40AB9CD53AB}"/>
            </c:ext>
          </c:extLst>
        </c:ser>
        <c:dLbls>
          <c:showLegendKey val="0"/>
          <c:showVal val="0"/>
          <c:showCatName val="0"/>
          <c:showSerName val="0"/>
          <c:showPercent val="0"/>
          <c:showBubbleSize val="0"/>
        </c:dLbls>
        <c:gapWidth val="60"/>
        <c:overlap val="100"/>
        <c:axId val="95399836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84-464B-BCE9-E40AB9CD53AB}"/>
                </c:ext>
              </c:extLst>
            </c:dLbl>
            <c:dLbl>
              <c:idx val="1"/>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84-464B-BCE9-E40AB9CD53AB}"/>
                </c:ext>
              </c:extLst>
            </c:dLbl>
            <c:dLbl>
              <c:idx val="2"/>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84-464B-BCE9-E40AB9CD53AB}"/>
                </c:ext>
              </c:extLst>
            </c:dLbl>
            <c:dLbl>
              <c:idx val="3"/>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A84-464B-BCE9-E40AB9CD53AB}"/>
                </c:ext>
              </c:extLst>
            </c:dLbl>
            <c:dLbl>
              <c:idx val="4"/>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84-464B-BCE9-E40AB9CD53AB}"/>
                </c:ext>
              </c:extLst>
            </c:dLbl>
            <c:dLbl>
              <c:idx val="5"/>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84-464B-BCE9-E40AB9CD53AB}"/>
                </c:ext>
              </c:extLst>
            </c:dLbl>
            <c:dLbl>
              <c:idx val="6"/>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84-464B-BCE9-E40AB9CD53AB}"/>
                </c:ext>
              </c:extLst>
            </c:dLbl>
            <c:dLbl>
              <c:idx val="7"/>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A84-464B-BCE9-E40AB9CD53AB}"/>
                </c:ext>
              </c:extLst>
            </c:dLbl>
            <c:dLbl>
              <c:idx val="8"/>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A84-464B-BCE9-E40AB9CD53AB}"/>
                </c:ext>
              </c:extLst>
            </c:dLbl>
            <c:dLbl>
              <c:idx val="9"/>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A84-464B-BCE9-E40AB9CD53AB}"/>
                </c:ext>
              </c:extLst>
            </c:dLbl>
            <c:dLbl>
              <c:idx val="10"/>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A84-464B-BCE9-E40AB9CD53AB}"/>
                </c:ext>
              </c:extLst>
            </c:dLbl>
            <c:dLbl>
              <c:idx val="11"/>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A84-464B-BCE9-E40AB9CD53AB}"/>
                </c:ext>
              </c:extLst>
            </c:dLbl>
            <c:dLbl>
              <c:idx val="12"/>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A84-464B-BCE9-E40AB9CD53AB}"/>
                </c:ext>
              </c:extLst>
            </c:dLbl>
            <c:dLbl>
              <c:idx val="13"/>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A84-464B-BCE9-E40AB9CD53AB}"/>
                </c:ext>
              </c:extLst>
            </c:dLbl>
            <c:dLbl>
              <c:idx val="14"/>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A84-464B-BCE9-E40AB9CD53AB}"/>
                </c:ext>
              </c:extLst>
            </c:dLbl>
            <c:dLbl>
              <c:idx val="15"/>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A84-464B-BCE9-E40AB9CD53AB}"/>
                </c:ext>
              </c:extLst>
            </c:dLbl>
            <c:dLbl>
              <c:idx val="17"/>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A84-464B-BCE9-E40AB9CD53AB}"/>
                </c:ext>
              </c:extLst>
            </c:dLbl>
            <c:dLbl>
              <c:idx val="18"/>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A84-464B-BCE9-E40AB9CD53AB}"/>
                </c:ext>
              </c:extLst>
            </c:dLbl>
            <c:dLbl>
              <c:idx val="19"/>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A84-464B-BCE9-E40AB9CD53AB}"/>
                </c:ext>
              </c:extLst>
            </c:dLbl>
            <c:dLbl>
              <c:idx val="20"/>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A84-464B-BCE9-E40AB9CD53AB}"/>
                </c:ext>
              </c:extLst>
            </c:dLbl>
            <c:dLbl>
              <c:idx val="21"/>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A84-464B-BCE9-E40AB9CD53AB}"/>
                </c:ext>
              </c:extLst>
            </c:dLbl>
            <c:dLbl>
              <c:idx val="22"/>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A84-464B-BCE9-E40AB9CD53AB}"/>
                </c:ext>
              </c:extLst>
            </c:dLbl>
            <c:dLbl>
              <c:idx val="23"/>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A84-464B-BCE9-E40AB9CD53AB}"/>
                </c:ext>
              </c:extLst>
            </c:dLbl>
            <c:dLbl>
              <c:idx val="24"/>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A84-464B-BCE9-E40AB9CD53A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0.82699999999999996</c:v>
                </c:pt>
                <c:pt idx="1">
                  <c:v>0.89100000000000001</c:v>
                </c:pt>
                <c:pt idx="2">
                  <c:v>1.002</c:v>
                </c:pt>
                <c:pt idx="3">
                  <c:v>0.99099999999999999</c:v>
                </c:pt>
                <c:pt idx="4">
                  <c:v>1.024</c:v>
                </c:pt>
                <c:pt idx="5">
                  <c:v>1.002</c:v>
                </c:pt>
                <c:pt idx="6">
                  <c:v>1.042</c:v>
                </c:pt>
                <c:pt idx="7">
                  <c:v>1.0680000000000001</c:v>
                </c:pt>
                <c:pt idx="8">
                  <c:v>1.2370000000000001</c:v>
                </c:pt>
                <c:pt idx="9">
                  <c:v>1.1519999999999999</c:v>
                </c:pt>
                <c:pt idx="10">
                  <c:v>1.214</c:v>
                </c:pt>
                <c:pt idx="11">
                  <c:v>1.258</c:v>
                </c:pt>
                <c:pt idx="12">
                  <c:v>1.6879999999999999</c:v>
                </c:pt>
                <c:pt idx="13">
                  <c:v>1.6180000000000001</c:v>
                </c:pt>
                <c:pt idx="14">
                  <c:v>1.704</c:v>
                </c:pt>
                <c:pt idx="15">
                  <c:v>2.3090000000000002</c:v>
                </c:pt>
                <c:pt idx="16">
                  <c:v>-0.41499999999999998</c:v>
                </c:pt>
                <c:pt idx="17">
                  <c:v>1.716</c:v>
                </c:pt>
                <c:pt idx="18">
                  <c:v>1.649</c:v>
                </c:pt>
                <c:pt idx="19">
                  <c:v>1.65</c:v>
                </c:pt>
                <c:pt idx="20">
                  <c:v>1.595</c:v>
                </c:pt>
                <c:pt idx="21">
                  <c:v>1.4870000000000001</c:v>
                </c:pt>
                <c:pt idx="22">
                  <c:v>1.3420000000000001</c:v>
                </c:pt>
                <c:pt idx="23">
                  <c:v>1.3149999999999999</c:v>
                </c:pt>
                <c:pt idx="24">
                  <c:v>1.1850000000000001</c:v>
                </c:pt>
                <c:pt idx="25">
                  <c:v>1.115</c:v>
                </c:pt>
                <c:pt idx="26">
                  <c:v>0.94</c:v>
                </c:pt>
                <c:pt idx="27">
                  <c:v>0.72899999999999998</c:v>
                </c:pt>
                <c:pt idx="28">
                  <c:v>0.59599999999999997</c:v>
                </c:pt>
              </c:numCache>
            </c:numRef>
          </c:val>
          <c:smooth val="0"/>
          <c:extLst>
            <c:ext xmlns:c16="http://schemas.microsoft.com/office/drawing/2014/chart" uri="{C3380CC4-5D6E-409C-BE32-E72D297353CC}">
              <c16:uniqueId val="{00000019-BA84-464B-BCE9-E40AB9CD53AB}"/>
            </c:ext>
          </c:extLst>
        </c:ser>
        <c:dLbls>
          <c:showLegendKey val="0"/>
          <c:showVal val="0"/>
          <c:showCatName val="0"/>
          <c:showSerName val="0"/>
          <c:showPercent val="0"/>
          <c:showBubbleSize val="0"/>
        </c:dLbls>
        <c:marker val="1"/>
        <c:smooth val="0"/>
        <c:axId val="2"/>
        <c:axId val="3"/>
      </c:lineChart>
      <c:catAx>
        <c:axId val="9539983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953998367"/>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35483870967742"/>
          <c:y val="8.0510554737358866E-2"/>
          <c:w val="0.56129032258064515"/>
          <c:h val="0.89396170839469813"/>
        </c:manualLayout>
      </c:layout>
      <c:barChart>
        <c:barDir val="col"/>
        <c:grouping val="stacked"/>
        <c:varyColors val="0"/>
        <c:ser>
          <c:idx val="0"/>
          <c:order val="0"/>
          <c:spPr>
            <a:solidFill>
              <a:srgbClr val="3399CC"/>
            </a:solidFill>
            <a:ln>
              <a:noFill/>
            </a:ln>
          </c:spPr>
          <c:invertIfNegative val="0"/>
          <c:val>
            <c:numRef>
              <c:f>Sheet1!$A$1:$B$1</c:f>
              <c:numCache>
                <c:formatCode>General</c:formatCode>
                <c:ptCount val="2"/>
                <c:pt idx="0">
                  <c:v>81</c:v>
                </c:pt>
                <c:pt idx="1">
                  <c:v>84</c:v>
                </c:pt>
              </c:numCache>
            </c:numRef>
          </c:val>
          <c:extLst>
            <c:ext xmlns:c16="http://schemas.microsoft.com/office/drawing/2014/chart" uri="{C3380CC4-5D6E-409C-BE32-E72D297353CC}">
              <c16:uniqueId val="{00000000-ADCD-4EB3-8006-3CBE57451AF2}"/>
            </c:ext>
          </c:extLst>
        </c:ser>
        <c:ser>
          <c:idx val="1"/>
          <c:order val="1"/>
          <c:spPr>
            <a:solidFill>
              <a:srgbClr val="C0E6F4"/>
            </a:solidFill>
            <a:ln>
              <a:noFill/>
            </a:ln>
          </c:spPr>
          <c:invertIfNegative val="0"/>
          <c:val>
            <c:numRef>
              <c:f>Sheet1!$A$2:$B$2</c:f>
              <c:numCache>
                <c:formatCode>General</c:formatCode>
                <c:ptCount val="2"/>
                <c:pt idx="0">
                  <c:v>13</c:v>
                </c:pt>
                <c:pt idx="1">
                  <c:v>14</c:v>
                </c:pt>
              </c:numCache>
            </c:numRef>
          </c:val>
          <c:extLst>
            <c:ext xmlns:c16="http://schemas.microsoft.com/office/drawing/2014/chart" uri="{C3380CC4-5D6E-409C-BE32-E72D297353CC}">
              <c16:uniqueId val="{00000001-ADCD-4EB3-8006-3CBE57451AF2}"/>
            </c:ext>
          </c:extLst>
        </c:ser>
        <c:ser>
          <c:idx val="2"/>
          <c:order val="2"/>
          <c:spPr>
            <a:solidFill>
              <a:srgbClr val="F3F3F3"/>
            </a:solidFill>
            <a:ln>
              <a:noFill/>
            </a:ln>
          </c:spPr>
          <c:invertIfNegative val="0"/>
          <c:val>
            <c:numRef>
              <c:f>Sheet1!$A$3:$B$3</c:f>
              <c:numCache>
                <c:formatCode>General</c:formatCode>
                <c:ptCount val="2"/>
                <c:pt idx="0">
                  <c:v>4</c:v>
                </c:pt>
                <c:pt idx="1">
                  <c:v>2</c:v>
                </c:pt>
              </c:numCache>
            </c:numRef>
          </c:val>
          <c:extLst>
            <c:ext xmlns:c16="http://schemas.microsoft.com/office/drawing/2014/chart" uri="{C3380CC4-5D6E-409C-BE32-E72D297353CC}">
              <c16:uniqueId val="{00000002-ADCD-4EB3-8006-3CBE57451AF2}"/>
            </c:ext>
          </c:extLst>
        </c:ser>
        <c:ser>
          <c:idx val="3"/>
          <c:order val="3"/>
          <c:spPr>
            <a:solidFill>
              <a:srgbClr val="ECE5F4"/>
            </a:solidFill>
            <a:ln>
              <a:noFill/>
            </a:ln>
          </c:spPr>
          <c:invertIfNegative val="0"/>
          <c:dLbls>
            <c:dLbl>
              <c:idx val="0"/>
              <c:layout>
                <c:manualLayout>
                  <c:x val="7.7419354838709681E-2"/>
                  <c:y val="-4.9582719685812467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CD-4EB3-8006-3CBE57451A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c:v>
                </c:pt>
                <c:pt idx="1">
                  <c:v>0</c:v>
                </c:pt>
              </c:numCache>
            </c:numRef>
          </c:val>
          <c:extLst>
            <c:ext xmlns:c16="http://schemas.microsoft.com/office/drawing/2014/chart" uri="{C3380CC4-5D6E-409C-BE32-E72D297353CC}">
              <c16:uniqueId val="{00000004-ADCD-4EB3-8006-3CBE57451AF2}"/>
            </c:ext>
          </c:extLst>
        </c:ser>
        <c:dLbls>
          <c:showLegendKey val="0"/>
          <c:showVal val="0"/>
          <c:showCatName val="0"/>
          <c:showSerName val="0"/>
          <c:showPercent val="0"/>
          <c:showBubbleSize val="0"/>
        </c:dLbls>
        <c:gapWidth val="80"/>
        <c:overlap val="100"/>
        <c:axId val="255609600"/>
        <c:axId val="1"/>
      </c:barChart>
      <c:catAx>
        <c:axId val="255609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0960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755760368663597"/>
          <c:y val="2.7012987012987013E-2"/>
          <c:w val="0.42396313364055299"/>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EE-4193-B88A-36518BE488FA}"/>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EE-4193-B88A-36518BE488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2.000000000000007</c:v>
                </c:pt>
                <c:pt idx="1">
                  <c:v>51</c:v>
                </c:pt>
              </c:numCache>
            </c:numRef>
          </c:val>
          <c:extLst>
            <c:ext xmlns:c16="http://schemas.microsoft.com/office/drawing/2014/chart" uri="{C3380CC4-5D6E-409C-BE32-E72D297353CC}">
              <c16:uniqueId val="{00000002-A6EE-4193-B88A-36518BE488FA}"/>
            </c:ext>
          </c:extLst>
        </c:ser>
        <c:ser>
          <c:idx val="1"/>
          <c:order val="1"/>
          <c:spPr>
            <a:solidFill>
              <a:srgbClr val="C0E6F4"/>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EE-4193-B88A-36518BE488FA}"/>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EE-4193-B88A-36518BE488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c:v>
                </c:pt>
                <c:pt idx="1">
                  <c:v>14</c:v>
                </c:pt>
              </c:numCache>
            </c:numRef>
          </c:val>
          <c:extLst>
            <c:ext xmlns:c16="http://schemas.microsoft.com/office/drawing/2014/chart" uri="{C3380CC4-5D6E-409C-BE32-E72D297353CC}">
              <c16:uniqueId val="{00000005-A6EE-4193-B88A-36518BE488FA}"/>
            </c:ext>
          </c:extLst>
        </c:ser>
        <c:ser>
          <c:idx val="2"/>
          <c:order val="2"/>
          <c:spPr>
            <a:solidFill>
              <a:srgbClr val="F3F3F3"/>
            </a:solidFill>
            <a:ln>
              <a:noFill/>
            </a:ln>
          </c:spPr>
          <c:invertIfNegative val="0"/>
          <c:val>
            <c:numRef>
              <c:f>Sheet1!$A$3:$B$3</c:f>
              <c:numCache>
                <c:formatCode>General</c:formatCode>
                <c:ptCount val="2"/>
                <c:pt idx="0">
                  <c:v>5.9999999999999929</c:v>
                </c:pt>
                <c:pt idx="1">
                  <c:v>7</c:v>
                </c:pt>
              </c:numCache>
            </c:numRef>
          </c:val>
          <c:extLst>
            <c:ext xmlns:c16="http://schemas.microsoft.com/office/drawing/2014/chart" uri="{C3380CC4-5D6E-409C-BE32-E72D297353CC}">
              <c16:uniqueId val="{00000006-A6EE-4193-B88A-36518BE488FA}"/>
            </c:ext>
          </c:extLst>
        </c:ser>
        <c:ser>
          <c:idx val="3"/>
          <c:order val="3"/>
          <c:spPr>
            <a:solidFill>
              <a:srgbClr val="ECE5F4"/>
            </a:solidFill>
            <a:ln>
              <a:noFill/>
            </a:ln>
          </c:spPr>
          <c:invertIfNegative val="0"/>
          <c:val>
            <c:numRef>
              <c:f>Sheet1!$A$4:$B$4</c:f>
              <c:numCache>
                <c:formatCode>General</c:formatCode>
                <c:ptCount val="2"/>
                <c:pt idx="0">
                  <c:v>36</c:v>
                </c:pt>
                <c:pt idx="1">
                  <c:v>28</c:v>
                </c:pt>
              </c:numCache>
            </c:numRef>
          </c:val>
          <c:extLst>
            <c:ext xmlns:c16="http://schemas.microsoft.com/office/drawing/2014/chart" uri="{C3380CC4-5D6E-409C-BE32-E72D297353CC}">
              <c16:uniqueId val="{00000007-A6EE-4193-B88A-36518BE488FA}"/>
            </c:ext>
          </c:extLst>
        </c:ser>
        <c:dLbls>
          <c:showLegendKey val="0"/>
          <c:showVal val="0"/>
          <c:showCatName val="0"/>
          <c:showSerName val="0"/>
          <c:showPercent val="0"/>
          <c:showBubbleSize val="0"/>
        </c:dLbls>
        <c:gapWidth val="80"/>
        <c:overlap val="100"/>
        <c:axId val="1625826895"/>
        <c:axId val="1"/>
      </c:barChart>
      <c:catAx>
        <c:axId val="16258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2582689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47926267281104"/>
          <c:y val="2.7012987012987013E-2"/>
          <c:w val="0.42304147465437786"/>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70-4746-A12F-DAFC205B4781}"/>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70-4746-A12F-DAFC205B478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0</c:v>
                </c:pt>
                <c:pt idx="1">
                  <c:v>91</c:v>
                </c:pt>
              </c:numCache>
            </c:numRef>
          </c:val>
          <c:extLst>
            <c:ext xmlns:c16="http://schemas.microsoft.com/office/drawing/2014/chart" uri="{C3380CC4-5D6E-409C-BE32-E72D297353CC}">
              <c16:uniqueId val="{00000002-E470-4746-A12F-DAFC205B4781}"/>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70-4746-A12F-DAFC205B4781}"/>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70-4746-A12F-DAFC205B478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c:v>
                </c:pt>
                <c:pt idx="1">
                  <c:v>9</c:v>
                </c:pt>
              </c:numCache>
            </c:numRef>
          </c:val>
          <c:extLst>
            <c:ext xmlns:c16="http://schemas.microsoft.com/office/drawing/2014/chart" uri="{C3380CC4-5D6E-409C-BE32-E72D297353CC}">
              <c16:uniqueId val="{00000005-E470-4746-A12F-DAFC205B4781}"/>
            </c:ext>
          </c:extLst>
        </c:ser>
        <c:ser>
          <c:idx val="2"/>
          <c:order val="2"/>
          <c:spPr>
            <a:solidFill>
              <a:srgbClr val="F3F3F3"/>
            </a:solidFill>
            <a:ln>
              <a:noFill/>
            </a:ln>
          </c:spPr>
          <c:invertIfNegative val="0"/>
          <c:val>
            <c:numRef>
              <c:f>Sheet1!$A$3:$B$3</c:f>
              <c:numCache>
                <c:formatCode>General</c:formatCode>
                <c:ptCount val="2"/>
                <c:pt idx="0">
                  <c:v>0</c:v>
                </c:pt>
                <c:pt idx="1">
                  <c:v>0</c:v>
                </c:pt>
              </c:numCache>
            </c:numRef>
          </c:val>
          <c:extLst>
            <c:ext xmlns:c16="http://schemas.microsoft.com/office/drawing/2014/chart" uri="{C3380CC4-5D6E-409C-BE32-E72D297353CC}">
              <c16:uniqueId val="{00000006-E470-4746-A12F-DAFC205B4781}"/>
            </c:ext>
          </c:extLst>
        </c:ser>
        <c:ser>
          <c:idx val="3"/>
          <c:order val="3"/>
          <c:spPr>
            <a:solidFill>
              <a:srgbClr val="ECE5F4"/>
            </a:solidFill>
            <a:ln>
              <a:noFill/>
            </a:ln>
          </c:spPr>
          <c:invertIfNegative val="0"/>
          <c:val>
            <c:numRef>
              <c:f>Sheet1!$A$4:$B$4</c:f>
              <c:numCache>
                <c:formatCode>General</c:formatCode>
                <c:ptCount val="2"/>
                <c:pt idx="0">
                  <c:v>0</c:v>
                </c:pt>
                <c:pt idx="1">
                  <c:v>0</c:v>
                </c:pt>
              </c:numCache>
            </c:numRef>
          </c:val>
          <c:extLst>
            <c:ext xmlns:c16="http://schemas.microsoft.com/office/drawing/2014/chart" uri="{C3380CC4-5D6E-409C-BE32-E72D297353CC}">
              <c16:uniqueId val="{00000007-E470-4746-A12F-DAFC205B4781}"/>
            </c:ext>
          </c:extLst>
        </c:ser>
        <c:dLbls>
          <c:showLegendKey val="0"/>
          <c:showVal val="0"/>
          <c:showCatName val="0"/>
          <c:showSerName val="0"/>
          <c:showPercent val="0"/>
          <c:showBubbleSize val="0"/>
        </c:dLbls>
        <c:gapWidth val="80"/>
        <c:overlap val="100"/>
        <c:axId val="255615008"/>
        <c:axId val="1"/>
      </c:barChart>
      <c:catAx>
        <c:axId val="255615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1500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123037487984619E-2"/>
          <c:y val="5.6326854422848079E-2"/>
          <c:w val="0.87696251201537967"/>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77-437D-AE5F-0B13DA6372D8}"/>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77-437D-AE5F-0B13DA6372D8}"/>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77-437D-AE5F-0B13DA6372D8}"/>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77-437D-AE5F-0B13DA6372D8}"/>
                </c:ext>
              </c:extLst>
            </c:dLbl>
            <c:dLbl>
              <c:idx val="1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77-437D-AE5F-0B13DA6372D8}"/>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77-437D-AE5F-0B13DA6372D8}"/>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77-437D-AE5F-0B13DA6372D8}"/>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77-437D-AE5F-0B13DA6372D8}"/>
                </c:ext>
              </c:extLst>
            </c:dLbl>
            <c:dLbl>
              <c:idx val="17"/>
              <c:layout>
                <c:manualLayout>
                  <c:x val="1.6981736622877282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77-437D-AE5F-0B13DA6372D8}"/>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77-437D-AE5F-0B13DA6372D8}"/>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77-437D-AE5F-0B13DA6372D8}"/>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77-437D-AE5F-0B13DA6372D8}"/>
                </c:ext>
              </c:extLst>
            </c:dLbl>
            <c:dLbl>
              <c:idx val="2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77-437D-AE5F-0B13DA6372D8}"/>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977-437D-AE5F-0B13DA6372D8}"/>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977-437D-AE5F-0B13DA6372D8}"/>
                </c:ext>
              </c:extLst>
            </c:dLbl>
            <c:dLbl>
              <c:idx val="2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977-437D-AE5F-0B13DA6372D8}"/>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977-437D-AE5F-0B13DA6372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5.592700000000001</c:v>
                </c:pt>
                <c:pt idx="1">
                  <c:v>14.278700000000001</c:v>
                </c:pt>
                <c:pt idx="2">
                  <c:v>11.931699999999999</c:v>
                </c:pt>
                <c:pt idx="3">
                  <c:v>15.386900000000001</c:v>
                </c:pt>
                <c:pt idx="4">
                  <c:v>16.787400000000002</c:v>
                </c:pt>
                <c:pt idx="5">
                  <c:v>17.3428</c:v>
                </c:pt>
                <c:pt idx="6">
                  <c:v>17.284700000000001</c:v>
                </c:pt>
                <c:pt idx="7">
                  <c:v>16.718399999999999</c:v>
                </c:pt>
                <c:pt idx="8">
                  <c:v>12.7377</c:v>
                </c:pt>
                <c:pt idx="9">
                  <c:v>11.180099999999999</c:v>
                </c:pt>
                <c:pt idx="10">
                  <c:v>11.9902</c:v>
                </c:pt>
                <c:pt idx="11">
                  <c:v>11.0625</c:v>
                </c:pt>
                <c:pt idx="12">
                  <c:v>9.7375000000000007</c:v>
                </c:pt>
                <c:pt idx="13">
                  <c:v>10.1226</c:v>
                </c:pt>
                <c:pt idx="14">
                  <c:v>9.7574000000000005</c:v>
                </c:pt>
                <c:pt idx="15">
                  <c:v>9.5419999999999998</c:v>
                </c:pt>
                <c:pt idx="16">
                  <c:v>7.4058999999999999</c:v>
                </c:pt>
                <c:pt idx="17">
                  <c:v>8.4223999999999997</c:v>
                </c:pt>
                <c:pt idx="18">
                  <c:v>8.3854000000000006</c:v>
                </c:pt>
                <c:pt idx="19">
                  <c:v>7.5526</c:v>
                </c:pt>
                <c:pt idx="20">
                  <c:v>6.5243000000000002</c:v>
                </c:pt>
                <c:pt idx="21">
                  <c:v>7.4340999999999999</c:v>
                </c:pt>
                <c:pt idx="22">
                  <c:v>8.0351999999999997</c:v>
                </c:pt>
                <c:pt idx="23">
                  <c:v>7.69</c:v>
                </c:pt>
                <c:pt idx="24">
                  <c:v>8.4499999999999993</c:v>
                </c:pt>
                <c:pt idx="25">
                  <c:v>9.34</c:v>
                </c:pt>
              </c:numCache>
            </c:numRef>
          </c:val>
          <c:smooth val="0"/>
          <c:extLst>
            <c:ext xmlns:c16="http://schemas.microsoft.com/office/drawing/2014/chart" uri="{C3380CC4-5D6E-409C-BE32-E72D297353CC}">
              <c16:uniqueId val="{00000011-D977-437D-AE5F-0B13DA6372D8}"/>
            </c:ext>
          </c:extLst>
        </c:ser>
        <c:dLbls>
          <c:showLegendKey val="0"/>
          <c:showVal val="0"/>
          <c:showCatName val="0"/>
          <c:showSerName val="0"/>
          <c:showPercent val="0"/>
          <c:showBubbleSize val="0"/>
        </c:dLbls>
        <c:marker val="1"/>
        <c:smooth val="0"/>
        <c:axId val="1283910591"/>
        <c:axId val="1"/>
      </c:lineChart>
      <c:catAx>
        <c:axId val="12839105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83910591"/>
        <c:crosses val="min"/>
        <c:crossBetween val="midCat"/>
        <c:majorUnit val="5"/>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30729833546741E-2"/>
          <c:y val="8.8854844887016463E-2"/>
          <c:w val="0.87708066581306021"/>
          <c:h val="0.8567598621217924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2"/>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B3-44A0-A320-EE717CEF3B67}"/>
                </c:ext>
              </c:extLst>
            </c:dLbl>
            <c:dLbl>
              <c:idx val="8"/>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B3-44A0-A320-EE717CEF3B67}"/>
                </c:ext>
              </c:extLst>
            </c:dLbl>
            <c:dLbl>
              <c:idx val="11"/>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B3-44A0-A320-EE717CEF3B67}"/>
                </c:ext>
              </c:extLst>
            </c:dLbl>
            <c:dLbl>
              <c:idx val="12"/>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B3-44A0-A320-EE717CEF3B67}"/>
                </c:ext>
              </c:extLst>
            </c:dLbl>
            <c:dLbl>
              <c:idx val="13"/>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B3-44A0-A320-EE717CEF3B67}"/>
                </c:ext>
              </c:extLst>
            </c:dLbl>
            <c:dLbl>
              <c:idx val="14"/>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B3-44A0-A320-EE717CEF3B67}"/>
                </c:ext>
              </c:extLst>
            </c:dLbl>
            <c:dLbl>
              <c:idx val="16"/>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B3-44A0-A320-EE717CEF3B67}"/>
                </c:ext>
              </c:extLst>
            </c:dLbl>
            <c:dLbl>
              <c:idx val="18"/>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B3-44A0-A320-EE717CEF3B67}"/>
                </c:ext>
              </c:extLst>
            </c:dLbl>
            <c:dLbl>
              <c:idx val="19"/>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B3-44A0-A320-EE717CEF3B67}"/>
                </c:ext>
              </c:extLst>
            </c:dLbl>
            <c:dLbl>
              <c:idx val="22"/>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B3-44A0-A320-EE717CEF3B67}"/>
                </c:ext>
              </c:extLst>
            </c:dLbl>
            <c:dLbl>
              <c:idx val="26"/>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B3-44A0-A320-EE717CEF3B6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5.3</c:v>
                </c:pt>
                <c:pt idx="1">
                  <c:v>5.7</c:v>
                </c:pt>
                <c:pt idx="2">
                  <c:v>9.1</c:v>
                </c:pt>
                <c:pt idx="3">
                  <c:v>5.9</c:v>
                </c:pt>
                <c:pt idx="4">
                  <c:v>1.4</c:v>
                </c:pt>
                <c:pt idx="5">
                  <c:v>3.4</c:v>
                </c:pt>
                <c:pt idx="6">
                  <c:v>4.7</c:v>
                </c:pt>
                <c:pt idx="7">
                  <c:v>7.1</c:v>
                </c:pt>
                <c:pt idx="8">
                  <c:v>10.9</c:v>
                </c:pt>
                <c:pt idx="9">
                  <c:v>7.2</c:v>
                </c:pt>
                <c:pt idx="10">
                  <c:v>4.2</c:v>
                </c:pt>
                <c:pt idx="11">
                  <c:v>5</c:v>
                </c:pt>
                <c:pt idx="12">
                  <c:v>5.7</c:v>
                </c:pt>
                <c:pt idx="13">
                  <c:v>5.7</c:v>
                </c:pt>
                <c:pt idx="14">
                  <c:v>6.1</c:v>
                </c:pt>
                <c:pt idx="15">
                  <c:v>4.5999999999999996</c:v>
                </c:pt>
                <c:pt idx="16">
                  <c:v>6.3</c:v>
                </c:pt>
                <c:pt idx="17">
                  <c:v>5.3</c:v>
                </c:pt>
                <c:pt idx="18">
                  <c:v>4.5999999999999996</c:v>
                </c:pt>
                <c:pt idx="19">
                  <c:v>4.0999999999999996</c:v>
                </c:pt>
                <c:pt idx="20">
                  <c:v>3.3</c:v>
                </c:pt>
                <c:pt idx="21">
                  <c:v>4.5999999999999996</c:v>
                </c:pt>
                <c:pt idx="22">
                  <c:v>6.9</c:v>
                </c:pt>
                <c:pt idx="23">
                  <c:v>5.9</c:v>
                </c:pt>
                <c:pt idx="24">
                  <c:v>4.4000000000000004</c:v>
                </c:pt>
                <c:pt idx="25">
                  <c:v>3.4</c:v>
                </c:pt>
                <c:pt idx="26">
                  <c:v>3.7</c:v>
                </c:pt>
              </c:numCache>
            </c:numRef>
          </c:val>
          <c:smooth val="0"/>
          <c:extLst>
            <c:ext xmlns:c16="http://schemas.microsoft.com/office/drawing/2014/chart" uri="{C3380CC4-5D6E-409C-BE32-E72D297353CC}">
              <c16:uniqueId val="{0000000B-84B3-44A0-A320-EE717CEF3B67}"/>
            </c:ext>
          </c:extLst>
        </c:ser>
        <c:dLbls>
          <c:showLegendKey val="0"/>
          <c:showVal val="0"/>
          <c:showCatName val="0"/>
          <c:showSerName val="0"/>
          <c:showPercent val="0"/>
          <c:showBubbleSize val="0"/>
        </c:dLbls>
        <c:marker val="1"/>
        <c:smooth val="0"/>
        <c:axId val="1274393744"/>
        <c:axId val="1"/>
      </c:lineChart>
      <c:catAx>
        <c:axId val="12743937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1"/>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4393744"/>
        <c:crosses val="min"/>
        <c:crossBetween val="midCat"/>
        <c:majorUnit val="1"/>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10306350172449E-2"/>
          <c:y val="0.5494505494505495"/>
          <c:w val="0.97037938729965512"/>
          <c:h val="0.13846153846153847"/>
        </c:manualLayout>
      </c:layout>
      <c:scatterChart>
        <c:scatterStyle val="lineMarker"/>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981-447D-9431-185E3FD1266A}"/>
                </c:ext>
              </c:extLst>
            </c:dLbl>
            <c:dLbl>
              <c:idx val="1"/>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981-447D-9431-185E3FD1266A}"/>
                </c:ext>
              </c:extLst>
            </c:dLbl>
            <c:dLbl>
              <c:idx val="2"/>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981-447D-9431-185E3FD1266A}"/>
                </c:ext>
              </c:extLst>
            </c:dLbl>
            <c:dLbl>
              <c:idx val="3"/>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981-447D-9431-185E3FD1266A}"/>
                </c:ext>
              </c:extLst>
            </c:dLbl>
            <c:dLbl>
              <c:idx val="4"/>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981-447D-9431-185E3FD1266A}"/>
                </c:ext>
              </c:extLst>
            </c:dLbl>
            <c:dLbl>
              <c:idx val="5"/>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981-447D-9431-185E3FD1266A}"/>
                </c:ext>
              </c:extLst>
            </c:dLbl>
            <c:dLbl>
              <c:idx val="6"/>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981-447D-9431-185E3FD1266A}"/>
                </c:ext>
              </c:extLst>
            </c:dLbl>
            <c:dLbl>
              <c:idx val="7"/>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981-447D-9431-185E3FD1266A}"/>
                </c:ext>
              </c:extLst>
            </c:dLbl>
            <c:dLbl>
              <c:idx val="8"/>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981-447D-9431-185E3FD1266A}"/>
                </c:ext>
              </c:extLst>
            </c:dLbl>
            <c:dLbl>
              <c:idx val="9"/>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981-447D-9431-185E3FD1266A}"/>
                </c:ext>
              </c:extLst>
            </c:dLbl>
            <c:dLbl>
              <c:idx val="10"/>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981-447D-9431-185E3FD1266A}"/>
                </c:ext>
              </c:extLst>
            </c:dLbl>
            <c:dLbl>
              <c:idx val="11"/>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981-447D-9431-185E3FD1266A}"/>
                </c:ext>
              </c:extLst>
            </c:dLbl>
            <c:dLbl>
              <c:idx val="12"/>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981-447D-9431-185E3FD1266A}"/>
                </c:ext>
              </c:extLst>
            </c:dLbl>
            <c:dLbl>
              <c:idx val="13"/>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981-447D-9431-185E3FD1266A}"/>
                </c:ext>
              </c:extLst>
            </c:dLbl>
            <c:dLbl>
              <c:idx val="14"/>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981-447D-9431-185E3FD1266A}"/>
                </c:ext>
              </c:extLst>
            </c:dLbl>
            <c:dLbl>
              <c:idx val="15"/>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981-447D-9431-185E3FD1266A}"/>
                </c:ext>
              </c:extLst>
            </c:dLbl>
            <c:dLbl>
              <c:idx val="16"/>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981-447D-9431-185E3FD1266A}"/>
                </c:ext>
              </c:extLst>
            </c:dLbl>
            <c:dLbl>
              <c:idx val="17"/>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981-447D-9431-185E3FD1266A}"/>
                </c:ext>
              </c:extLst>
            </c:dLbl>
            <c:dLbl>
              <c:idx val="18"/>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981-447D-9431-185E3FD1266A}"/>
                </c:ext>
              </c:extLst>
            </c:dLbl>
            <c:dLbl>
              <c:idx val="19"/>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981-447D-9431-185E3FD1266A}"/>
                </c:ext>
              </c:extLst>
            </c:dLbl>
            <c:dLbl>
              <c:idx val="20"/>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981-447D-9431-185E3FD1266A}"/>
                </c:ext>
              </c:extLst>
            </c:dLbl>
            <c:dLbl>
              <c:idx val="21"/>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981-447D-9431-185E3FD1266A}"/>
                </c:ext>
              </c:extLst>
            </c:dLbl>
            <c:dLbl>
              <c:idx val="22"/>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981-447D-9431-185E3FD1266A}"/>
                </c:ext>
              </c:extLst>
            </c:dLbl>
            <c:dLbl>
              <c:idx val="23"/>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981-447D-9431-185E3FD1266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36.594543459999997</c:v>
                </c:pt>
                <c:pt idx="1">
                  <c:v>33.733161930000001</c:v>
                </c:pt>
                <c:pt idx="2">
                  <c:v>34.528141019999993</c:v>
                </c:pt>
                <c:pt idx="3">
                  <c:v>39.636043549999997</c:v>
                </c:pt>
                <c:pt idx="4">
                  <c:v>39.368675230000008</c:v>
                </c:pt>
                <c:pt idx="5">
                  <c:v>40.002418519999992</c:v>
                </c:pt>
                <c:pt idx="6">
                  <c:v>46.973213200000011</c:v>
                </c:pt>
                <c:pt idx="7">
                  <c:v>47.792610170000003</c:v>
                </c:pt>
                <c:pt idx="8">
                  <c:v>47.352878570000001</c:v>
                </c:pt>
                <c:pt idx="9">
                  <c:v>49.739128110000003</c:v>
                </c:pt>
                <c:pt idx="10">
                  <c:v>51.328517910000002</c:v>
                </c:pt>
                <c:pt idx="11">
                  <c:v>51.8671875</c:v>
                </c:pt>
                <c:pt idx="12">
                  <c:v>51.726680760000001</c:v>
                </c:pt>
                <c:pt idx="13">
                  <c:v>51.153747559999999</c:v>
                </c:pt>
                <c:pt idx="14">
                  <c:v>55.56298065</c:v>
                </c:pt>
                <c:pt idx="15">
                  <c:v>57.075626369999995</c:v>
                </c:pt>
                <c:pt idx="16">
                  <c:v>56.599040989999992</c:v>
                </c:pt>
                <c:pt idx="17">
                  <c:v>57.232990260000008</c:v>
                </c:pt>
                <c:pt idx="18">
                  <c:v>57.043479920000003</c:v>
                </c:pt>
                <c:pt idx="19">
                  <c:v>58.207080840000003</c:v>
                </c:pt>
                <c:pt idx="20">
                  <c:v>64.789077759999998</c:v>
                </c:pt>
                <c:pt idx="21">
                  <c:v>63.419239040000001</c:v>
                </c:pt>
                <c:pt idx="22">
                  <c:v>61.555660250000003</c:v>
                </c:pt>
                <c:pt idx="23">
                  <c:v>61.613613129999997</c:v>
                </c:pt>
              </c:numCache>
            </c:numRef>
          </c:yVal>
          <c:smooth val="0"/>
          <c:extLst>
            <c:ext xmlns:c16="http://schemas.microsoft.com/office/drawing/2014/chart" uri="{C3380CC4-5D6E-409C-BE32-E72D297353CC}">
              <c16:uniqueId val="{00000018-A981-447D-9431-185E3FD1266A}"/>
            </c:ext>
          </c:extLst>
        </c:ser>
        <c:dLbls>
          <c:showLegendKey val="0"/>
          <c:showVal val="0"/>
          <c:showCatName val="0"/>
          <c:showSerName val="0"/>
          <c:showPercent val="0"/>
          <c:showBubbleSize val="0"/>
        </c:dLbls>
        <c:axId val="4"/>
        <c:axId val="5"/>
      </c:scatterChart>
      <c:valAx>
        <c:axId val="4"/>
        <c:scaling>
          <c:orientation val="minMax"/>
          <c:max val="2023"/>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1"/>
      </c:valAx>
      <c:valAx>
        <c:axId val="5"/>
        <c:scaling>
          <c:orientation val="minMax"/>
          <c:max val="64.789077759999998"/>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649105563200316E-2"/>
          <c:y val="0.11132254995242626"/>
          <c:w val="0.93512875958325148"/>
          <c:h val="0.777354900095147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D6-4D1C-BDC1-999C5C7A2B1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D6-4D1C-BDC1-999C5C7A2B19}"/>
                </c:ext>
              </c:extLst>
            </c:dLbl>
            <c:dLbl>
              <c:idx val="2"/>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D6-4D1C-BDC1-999C5C7A2B19}"/>
                </c:ext>
              </c:extLst>
            </c:dLbl>
            <c:dLbl>
              <c:idx val="3"/>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D6-4D1C-BDC1-999C5C7A2B19}"/>
                </c:ext>
              </c:extLst>
            </c:dLbl>
            <c:dLbl>
              <c:idx val="4"/>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D6-4D1C-BDC1-999C5C7A2B1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D6-4D1C-BDC1-999C5C7A2B1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D6-4D1C-BDC1-999C5C7A2B1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D6-4D1C-BDC1-999C5C7A2B1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D6-4D1C-BDC1-999C5C7A2B1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D6-4D1C-BDC1-999C5C7A2B1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D6-4D1C-BDC1-999C5C7A2B1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AD6-4D1C-BDC1-999C5C7A2B1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D6-4D1C-BDC1-999C5C7A2B19}"/>
                </c:ext>
              </c:extLst>
            </c:dLbl>
            <c:dLbl>
              <c:idx val="13"/>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AD6-4D1C-BDC1-999C5C7A2B1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AD6-4D1C-BDC1-999C5C7A2B1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AD6-4D1C-BDC1-999C5C7A2B1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AD6-4D1C-BDC1-999C5C7A2B1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AD6-4D1C-BDC1-999C5C7A2B19}"/>
                </c:ext>
              </c:extLst>
            </c:dLbl>
            <c:dLbl>
              <c:idx val="1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AD6-4D1C-BDC1-999C5C7A2B1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AD6-4D1C-BDC1-999C5C7A2B1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AD6-4D1C-BDC1-999C5C7A2B1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AD6-4D1C-BDC1-999C5C7A2B19}"/>
                </c:ext>
              </c:extLst>
            </c:dLbl>
            <c:dLbl>
              <c:idx val="2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AD6-4D1C-BDC1-999C5C7A2B19}"/>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AD6-4D1C-BDC1-999C5C7A2B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86.392818090000006</c:v>
                </c:pt>
                <c:pt idx="1">
                  <c:v>68.414443059999996</c:v>
                </c:pt>
                <c:pt idx="2">
                  <c:v>61.982692179999994</c:v>
                </c:pt>
                <c:pt idx="3">
                  <c:v>113.36700185999999</c:v>
                </c:pt>
                <c:pt idx="4">
                  <c:v>142.62744694999998</c:v>
                </c:pt>
                <c:pt idx="5">
                  <c:v>160.22392259999998</c:v>
                </c:pt>
                <c:pt idx="6">
                  <c:v>196.30659368999997</c:v>
                </c:pt>
                <c:pt idx="7">
                  <c:v>217.54000670999994</c:v>
                </c:pt>
                <c:pt idx="8">
                  <c:v>209.35003649999999</c:v>
                </c:pt>
                <c:pt idx="9">
                  <c:v>242.54178210999999</c:v>
                </c:pt>
                <c:pt idx="10">
                  <c:v>318.96519850000004</c:v>
                </c:pt>
                <c:pt idx="11">
                  <c:v>356.26140689999994</c:v>
                </c:pt>
                <c:pt idx="12">
                  <c:v>334.41255453000002</c:v>
                </c:pt>
                <c:pt idx="13">
                  <c:v>303.75176668</c:v>
                </c:pt>
                <c:pt idx="14">
                  <c:v>299.65550085000007</c:v>
                </c:pt>
                <c:pt idx="15">
                  <c:v>280.75873444000001</c:v>
                </c:pt>
                <c:pt idx="16">
                  <c:v>258.41388519000003</c:v>
                </c:pt>
                <c:pt idx="17">
                  <c:v>301.91560518</c:v>
                </c:pt>
                <c:pt idx="18">
                  <c:v>318.75981908000006</c:v>
                </c:pt>
                <c:pt idx="19">
                  <c:v>313.62231793000001</c:v>
                </c:pt>
                <c:pt idx="20">
                  <c:v>326.19200345000002</c:v>
                </c:pt>
                <c:pt idx="21">
                  <c:v>376.04215985000002</c:v>
                </c:pt>
                <c:pt idx="22">
                  <c:v>351.16288508000008</c:v>
                </c:pt>
                <c:pt idx="23">
                  <c:v>330.61154429000004</c:v>
                </c:pt>
              </c:numCache>
            </c:numRef>
          </c:val>
          <c:extLst>
            <c:ext xmlns:c16="http://schemas.microsoft.com/office/drawing/2014/chart" uri="{C3380CC4-5D6E-409C-BE32-E72D297353CC}">
              <c16:uniqueId val="{00000018-CAD6-4D1C-BDC1-999C5C7A2B19}"/>
            </c:ext>
          </c:extLst>
        </c:ser>
        <c:ser>
          <c:idx val="1"/>
          <c:order val="1"/>
          <c:spPr>
            <a:solidFill>
              <a:srgbClr val="80CCE8"/>
            </a:solidFill>
            <a:ln w="9525" cmpd="sng" algn="ctr">
              <a:solidFill>
                <a:srgbClr val="808080"/>
              </a:solidFill>
              <a:prstDash val="solid"/>
            </a:ln>
          </c:spPr>
          <c:invertIfNegative val="0"/>
          <c:dLbls>
            <c:dLbl>
              <c:idx val="0"/>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AD6-4D1C-BDC1-999C5C7A2B1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AD6-4D1C-BDC1-999C5C7A2B19}"/>
                </c:ext>
              </c:extLst>
            </c:dLbl>
            <c:dLbl>
              <c:idx val="2"/>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AD6-4D1C-BDC1-999C5C7A2B19}"/>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AD6-4D1C-BDC1-999C5C7A2B19}"/>
                </c:ext>
              </c:extLst>
            </c:dLbl>
            <c:dLbl>
              <c:idx val="4"/>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AD6-4D1C-BDC1-999C5C7A2B1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AD6-4D1C-BDC1-999C5C7A2B1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AD6-4D1C-BDC1-999C5C7A2B1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AD6-4D1C-BDC1-999C5C7A2B1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AD6-4D1C-BDC1-999C5C7A2B1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AD6-4D1C-BDC1-999C5C7A2B1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AD6-4D1C-BDC1-999C5C7A2B19}"/>
                </c:ext>
              </c:extLst>
            </c:dLbl>
            <c:dLbl>
              <c:idx val="11"/>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AD6-4D1C-BDC1-999C5C7A2B1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AD6-4D1C-BDC1-999C5C7A2B19}"/>
                </c:ext>
              </c:extLst>
            </c:dLbl>
            <c:dLbl>
              <c:idx val="13"/>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AD6-4D1C-BDC1-999C5C7A2B1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AD6-4D1C-BDC1-999C5C7A2B1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AD6-4D1C-BDC1-999C5C7A2B1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AD6-4D1C-BDC1-999C5C7A2B1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AD6-4D1C-BDC1-999C5C7A2B19}"/>
                </c:ext>
              </c:extLst>
            </c:dLbl>
            <c:dLbl>
              <c:idx val="18"/>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AD6-4D1C-BDC1-999C5C7A2B1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AD6-4D1C-BDC1-999C5C7A2B1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AD6-4D1C-BDC1-999C5C7A2B1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AD6-4D1C-BDC1-999C5C7A2B19}"/>
                </c:ext>
              </c:extLst>
            </c:dLbl>
            <c:dLbl>
              <c:idx val="22"/>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AD6-4D1C-BDC1-999C5C7A2B19}"/>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AD6-4D1C-BDC1-999C5C7A2B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48.16570131999998</c:v>
                </c:pt>
                <c:pt idx="1">
                  <c:v>133.09900432000001</c:v>
                </c:pt>
                <c:pt idx="2">
                  <c:v>116.37817741000001</c:v>
                </c:pt>
                <c:pt idx="3">
                  <c:v>156.78803060000004</c:v>
                </c:pt>
                <c:pt idx="4">
                  <c:v>199.91299279999998</c:v>
                </c:pt>
                <c:pt idx="5">
                  <c:v>193.10520085000002</c:v>
                </c:pt>
                <c:pt idx="6">
                  <c:v>194.73719227000001</c:v>
                </c:pt>
                <c:pt idx="7">
                  <c:v>204.41463555000001</c:v>
                </c:pt>
                <c:pt idx="8">
                  <c:v>197.10258991000001</c:v>
                </c:pt>
                <c:pt idx="9">
                  <c:v>205.61993618000002</c:v>
                </c:pt>
                <c:pt idx="10">
                  <c:v>254.96302638999998</c:v>
                </c:pt>
                <c:pt idx="11">
                  <c:v>281.86852143000004</c:v>
                </c:pt>
                <c:pt idx="12">
                  <c:v>269.19939866999988</c:v>
                </c:pt>
                <c:pt idx="13">
                  <c:v>250.02433563000005</c:v>
                </c:pt>
                <c:pt idx="14">
                  <c:v>230.31280866999998</c:v>
                </c:pt>
                <c:pt idx="15">
                  <c:v>202.91584403000002</c:v>
                </c:pt>
                <c:pt idx="16">
                  <c:v>188.82322443000004</c:v>
                </c:pt>
                <c:pt idx="17">
                  <c:v>219.87362561000003</c:v>
                </c:pt>
                <c:pt idx="18">
                  <c:v>233.70042905999992</c:v>
                </c:pt>
                <c:pt idx="19">
                  <c:v>219.14500217</c:v>
                </c:pt>
                <c:pt idx="20">
                  <c:v>168.53705029000002</c:v>
                </c:pt>
                <c:pt idx="21">
                  <c:v>208.88826208999996</c:v>
                </c:pt>
                <c:pt idx="22">
                  <c:v>208.47372769999998</c:v>
                </c:pt>
                <c:pt idx="23">
                  <c:v>194.93937466999995</c:v>
                </c:pt>
              </c:numCache>
            </c:numRef>
          </c:val>
          <c:extLst>
            <c:ext xmlns:c16="http://schemas.microsoft.com/office/drawing/2014/chart" uri="{C3380CC4-5D6E-409C-BE32-E72D297353CC}">
              <c16:uniqueId val="{00000031-CAD6-4D1C-BDC1-999C5C7A2B19}"/>
            </c:ext>
          </c:extLst>
        </c:ser>
        <c:dLbls>
          <c:showLegendKey val="0"/>
          <c:showVal val="0"/>
          <c:showCatName val="0"/>
          <c:showSerName val="0"/>
          <c:showPercent val="0"/>
          <c:showBubbleSize val="0"/>
        </c:dLbls>
        <c:gapWidth val="60"/>
        <c:overlap val="100"/>
        <c:axId val="1503445103"/>
        <c:axId val="1"/>
      </c:barChart>
      <c:catAx>
        <c:axId val="150344510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03445103"/>
        <c:crosses val="min"/>
        <c:crossBetween val="between"/>
        <c:majorUnit val="1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99606840967169E-2"/>
          <c:y val="0.12212943632567849"/>
          <c:w val="0.94377825830548456"/>
          <c:h val="0.75574112734864296"/>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1.0438413361169101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06-4D33-8867-B90B2F38C9CA}"/>
                </c:ext>
              </c:extLst>
            </c:dLbl>
            <c:dLbl>
              <c:idx val="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06-4D33-8867-B90B2F38C9CA}"/>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06-4D33-8867-B90B2F38C9CA}"/>
                </c:ext>
              </c:extLst>
            </c:dLbl>
            <c:dLbl>
              <c:idx val="3"/>
              <c:layout>
                <c:manualLayout>
                  <c:x val="0"/>
                  <c:y val="-1.0438413361169101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06-4D33-8867-B90B2F38C9CA}"/>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06-4D33-8867-B90B2F38C9CA}"/>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06-4D33-8867-B90B2F38C9CA}"/>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06-4D33-8867-B90B2F38C9C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6.2369592599399999</c:v>
                </c:pt>
                <c:pt idx="1">
                  <c:v>5.7326969073000003</c:v>
                </c:pt>
                <c:pt idx="2">
                  <c:v>5.7044137568299993</c:v>
                </c:pt>
                <c:pt idx="3">
                  <c:v>7.1080727205999992</c:v>
                </c:pt>
                <c:pt idx="4">
                  <c:v>7.274094669170001</c:v>
                </c:pt>
                <c:pt idx="5">
                  <c:v>7.6957378296799996</c:v>
                </c:pt>
                <c:pt idx="6">
                  <c:v>9.5632816099500015</c:v>
                </c:pt>
                <c:pt idx="7">
                  <c:v>10.294238319659998</c:v>
                </c:pt>
                <c:pt idx="8">
                  <c:v>10.895768470049999</c:v>
                </c:pt>
                <c:pt idx="9">
                  <c:v>12.058617980750002</c:v>
                </c:pt>
                <c:pt idx="10">
                  <c:v>13.06391396509</c:v>
                </c:pt>
                <c:pt idx="11">
                  <c:v>13.88278748344</c:v>
                </c:pt>
                <c:pt idx="12">
                  <c:v>14.283946327179999</c:v>
                </c:pt>
                <c:pt idx="13">
                  <c:v>14.655741011799996</c:v>
                </c:pt>
                <c:pt idx="14">
                  <c:v>15.682071281740001</c:v>
                </c:pt>
                <c:pt idx="15">
                  <c:v>16.698690691420001</c:v>
                </c:pt>
                <c:pt idx="16">
                  <c:v>16.72428724265</c:v>
                </c:pt>
                <c:pt idx="17">
                  <c:v>16.890425511620002</c:v>
                </c:pt>
                <c:pt idx="18">
                  <c:v>17.321243469439999</c:v>
                </c:pt>
                <c:pt idx="19">
                  <c:v>18.081360336379998</c:v>
                </c:pt>
                <c:pt idx="20">
                  <c:v>20.65972509845</c:v>
                </c:pt>
                <c:pt idx="21">
                  <c:v>20.384524128379994</c:v>
                </c:pt>
                <c:pt idx="22">
                  <c:v>20.35125459723</c:v>
                </c:pt>
                <c:pt idx="23">
                  <c:v>20.898743727159999</c:v>
                </c:pt>
              </c:numCache>
            </c:numRef>
          </c:val>
          <c:extLst>
            <c:ext xmlns:c16="http://schemas.microsoft.com/office/drawing/2014/chart" uri="{C3380CC4-5D6E-409C-BE32-E72D297353CC}">
              <c16:uniqueId val="{00000007-C106-4D33-8867-B90B2F38C9CA}"/>
            </c:ext>
          </c:extLst>
        </c:ser>
        <c:ser>
          <c:idx val="1"/>
          <c:order val="1"/>
          <c:spPr>
            <a:solidFill>
              <a:srgbClr val="80CCE8"/>
            </a:solidFill>
            <a:ln w="9525" cmpd="sng" algn="ctr">
              <a:solidFill>
                <a:srgbClr val="808080"/>
              </a:solidFill>
              <a:prstDash val="solid"/>
            </a:ln>
          </c:spPr>
          <c:invertIfNegative val="0"/>
          <c:dLbls>
            <c:dLbl>
              <c:idx val="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06-4D33-8867-B90B2F38C9CA}"/>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06-4D33-8867-B90B2F38C9CA}"/>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06-4D33-8867-B90B2F38C9CA}"/>
                </c:ext>
              </c:extLst>
            </c:dLbl>
            <c:dLbl>
              <c:idx val="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06-4D33-8867-B90B2F38C9C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0.696530837659999</c:v>
                </c:pt>
                <c:pt idx="1">
                  <c:v>11.152853350080001</c:v>
                </c:pt>
                <c:pt idx="2">
                  <c:v>10.710558912530001</c:v>
                </c:pt>
                <c:pt idx="3">
                  <c:v>9.830556554810002</c:v>
                </c:pt>
                <c:pt idx="4">
                  <c:v>10.19569561354</c:v>
                </c:pt>
                <c:pt idx="5">
                  <c:v>9.2750631435200006</c:v>
                </c:pt>
                <c:pt idx="6">
                  <c:v>9.4868265738999984</c:v>
                </c:pt>
                <c:pt idx="7">
                  <c:v>9.6731309621399983</c:v>
                </c:pt>
                <c:pt idx="8">
                  <c:v>10.258341581539996</c:v>
                </c:pt>
                <c:pt idx="9">
                  <c:v>10.222948961870001</c:v>
                </c:pt>
                <c:pt idx="10">
                  <c:v>10.442565698850002</c:v>
                </c:pt>
                <c:pt idx="11">
                  <c:v>10.983846988649999</c:v>
                </c:pt>
                <c:pt idx="12">
                  <c:v>11.498461136889999</c:v>
                </c:pt>
                <c:pt idx="13">
                  <c:v>12.063442295929999</c:v>
                </c:pt>
                <c:pt idx="14">
                  <c:v>12.053113900589999</c:v>
                </c:pt>
                <c:pt idx="15">
                  <c:v>12.068828143939999</c:v>
                </c:pt>
                <c:pt idx="16">
                  <c:v>12.22044953648</c:v>
                </c:pt>
                <c:pt idx="17">
                  <c:v>12.300653002529998</c:v>
                </c:pt>
                <c:pt idx="18">
                  <c:v>12.6991602714</c:v>
                </c:pt>
                <c:pt idx="19">
                  <c:v>12.634431682909998</c:v>
                </c:pt>
                <c:pt idx="20">
                  <c:v>10.674477274380003</c:v>
                </c:pt>
                <c:pt idx="21">
                  <c:v>11.323431980099997</c:v>
                </c:pt>
                <c:pt idx="22">
                  <c:v>12.081863116639997</c:v>
                </c:pt>
                <c:pt idx="23">
                  <c:v>12.322582510669999</c:v>
                </c:pt>
              </c:numCache>
            </c:numRef>
          </c:val>
          <c:extLst>
            <c:ext xmlns:c16="http://schemas.microsoft.com/office/drawing/2014/chart" uri="{C3380CC4-5D6E-409C-BE32-E72D297353CC}">
              <c16:uniqueId val="{0000000C-C106-4D33-8867-B90B2F38C9CA}"/>
            </c:ext>
          </c:extLst>
        </c:ser>
        <c:dLbls>
          <c:showLegendKey val="0"/>
          <c:showVal val="0"/>
          <c:showCatName val="0"/>
          <c:showSerName val="0"/>
          <c:showPercent val="0"/>
          <c:showBubbleSize val="0"/>
        </c:dLbls>
        <c:gapWidth val="60"/>
        <c:overlap val="100"/>
        <c:axId val="1493485087"/>
        <c:axId val="1"/>
      </c:barChart>
      <c:catAx>
        <c:axId val="14934850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93485087"/>
        <c:crosses val="min"/>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9FC-459D-9CF6-72D59689C62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9FC-459D-9CF6-72D59689C62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9FC-459D-9CF6-72D59689C62C}"/>
              </c:ext>
            </c:extLst>
          </c:dPt>
          <c:dLbls>
            <c:dLbl>
              <c:idx val="0"/>
              <c:layout>
                <c:manualLayout>
                  <c:x val="5.2852348993288591E-2"/>
                  <c:y val="-2.9351535836177476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C-459D-9CF6-72D59689C62C}"/>
                </c:ext>
              </c:extLst>
            </c:dLbl>
            <c:dLbl>
              <c:idx val="1"/>
              <c:layout>
                <c:manualLayout>
                  <c:x val="-3.7332214765100673E-2"/>
                  <c:y val="8.7372013651877134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C-459D-9CF6-72D59689C62C}"/>
                </c:ext>
              </c:extLst>
            </c:dLbl>
            <c:dLbl>
              <c:idx val="2"/>
              <c:layout>
                <c:manualLayout>
                  <c:x val="-3.8171140939597316E-2"/>
                  <c:y val="-8.327645051194539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C-459D-9CF6-72D59689C62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9.67947622057109</c:v>
                </c:pt>
                <c:pt idx="1">
                  <c:v>39.963857854540514</c:v>
                </c:pt>
                <c:pt idx="2">
                  <c:v>20.356665924888411</c:v>
                </c:pt>
              </c:numCache>
            </c:numRef>
          </c:val>
          <c:extLst>
            <c:ext xmlns:c16="http://schemas.microsoft.com/office/drawing/2014/chart" uri="{C3380CC4-5D6E-409C-BE32-E72D297353CC}">
              <c16:uniqueId val="{00000003-F9FC-459D-9CF6-72D59689C6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92617449664431"/>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580-48AD-8527-F8389D1012F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5580-48AD-8527-F8389D1012F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5580-48AD-8527-F8389D1012F5}"/>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5580-48AD-8527-F8389D1012F5}"/>
              </c:ext>
            </c:extLst>
          </c:dPt>
          <c:dLbls>
            <c:dLbl>
              <c:idx val="0"/>
              <c:layout>
                <c:manualLayout>
                  <c:x val="5.7466442953020135E-2"/>
                  <c:y val="-8.9332632685233844E-3"/>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580-48AD-8527-F8389D1012F5}"/>
                </c:ext>
              </c:extLst>
            </c:dLbl>
            <c:dLbl>
              <c:idx val="1"/>
              <c:layout>
                <c:manualLayout>
                  <c:x val="-4.6140939597315439E-2"/>
                  <c:y val="4.2564372044140833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580-48AD-8527-F8389D1012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6.1</c:v>
                </c:pt>
                <c:pt idx="1">
                  <c:v>37.6</c:v>
                </c:pt>
                <c:pt idx="2">
                  <c:v>8.6</c:v>
                </c:pt>
                <c:pt idx="3">
                  <c:v>7.8</c:v>
                </c:pt>
              </c:numCache>
            </c:numRef>
          </c:val>
          <c:extLst>
            <c:ext xmlns:c16="http://schemas.microsoft.com/office/drawing/2014/chart" uri="{C3380CC4-5D6E-409C-BE32-E72D297353CC}">
              <c16:uniqueId val="{00000004-5580-48AD-8527-F8389D1012F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18839566585112E-2"/>
          <c:y val="0.16720779220779219"/>
          <c:w val="0.93079342887102412"/>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4.904434385035607</c:v>
                </c:pt>
                <c:pt idx="1">
                  <c:v>34.037407035606691</c:v>
                </c:pt>
                <c:pt idx="2">
                  <c:v>33.160690316614641</c:v>
                </c:pt>
                <c:pt idx="3">
                  <c:v>32.334669021343927</c:v>
                </c:pt>
                <c:pt idx="4">
                  <c:v>31.629207403773897</c:v>
                </c:pt>
                <c:pt idx="5">
                  <c:v>31.068234800613638</c:v>
                </c:pt>
                <c:pt idx="6">
                  <c:v>30.612978923253699</c:v>
                </c:pt>
                <c:pt idx="7">
                  <c:v>30.219299537656742</c:v>
                </c:pt>
                <c:pt idx="8">
                  <c:v>29.913028662447584</c:v>
                </c:pt>
                <c:pt idx="9">
                  <c:v>29.675771096932298</c:v>
                </c:pt>
                <c:pt idx="10">
                  <c:v>29.40319903784291</c:v>
                </c:pt>
                <c:pt idx="11">
                  <c:v>29.124885921282878</c:v>
                </c:pt>
                <c:pt idx="12">
                  <c:v>28.902039288139964</c:v>
                </c:pt>
                <c:pt idx="13">
                  <c:v>28.688138617694207</c:v>
                </c:pt>
                <c:pt idx="14">
                  <c:v>28.504591303021769</c:v>
                </c:pt>
                <c:pt idx="15">
                  <c:v>28.308512640074905</c:v>
                </c:pt>
                <c:pt idx="16">
                  <c:v>28.327145806644555</c:v>
                </c:pt>
                <c:pt idx="17">
                  <c:v>28.263580659320432</c:v>
                </c:pt>
                <c:pt idx="18">
                  <c:v>27.856449696684614</c:v>
                </c:pt>
                <c:pt idx="19">
                  <c:v>27.4300151160759</c:v>
                </c:pt>
                <c:pt idx="20">
                  <c:v>26.999152328571764</c:v>
                </c:pt>
                <c:pt idx="21">
                  <c:v>26.61355162479871</c:v>
                </c:pt>
                <c:pt idx="22">
                  <c:v>26.32118308241585</c:v>
                </c:pt>
                <c:pt idx="23">
                  <c:v>26.084898380710474</c:v>
                </c:pt>
                <c:pt idx="24">
                  <c:v>25.883759161949733</c:v>
                </c:pt>
                <c:pt idx="25">
                  <c:v>25.723384579650432</c:v>
                </c:pt>
                <c:pt idx="26">
                  <c:v>25.161781912241509</c:v>
                </c:pt>
                <c:pt idx="27">
                  <c:v>22.912037068209468</c:v>
                </c:pt>
                <c:pt idx="28">
                  <c:v>21.532405715939294</c:v>
                </c:pt>
              </c:numCache>
            </c:numRef>
          </c:val>
          <c:extLst>
            <c:ext xmlns:c16="http://schemas.microsoft.com/office/drawing/2014/chart" uri="{C3380CC4-5D6E-409C-BE32-E72D297353CC}">
              <c16:uniqueId val="{00000000-292D-4B83-BA8D-C623596176FA}"/>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0.349044492282125</c:v>
                </c:pt>
                <c:pt idx="1">
                  <c:v>61.145675543176381</c:v>
                </c:pt>
                <c:pt idx="2">
                  <c:v>61.955266427131605</c:v>
                </c:pt>
                <c:pt idx="3">
                  <c:v>62.713518055581808</c:v>
                </c:pt>
                <c:pt idx="4">
                  <c:v>63.347763104766472</c:v>
                </c:pt>
                <c:pt idx="5">
                  <c:v>63.83615630076622</c:v>
                </c:pt>
                <c:pt idx="6">
                  <c:v>64.232134439352791</c:v>
                </c:pt>
                <c:pt idx="7">
                  <c:v>64.579546347266984</c:v>
                </c:pt>
                <c:pt idx="8">
                  <c:v>64.851239123007105</c:v>
                </c:pt>
                <c:pt idx="9">
                  <c:v>65.075783345495552</c:v>
                </c:pt>
                <c:pt idx="10">
                  <c:v>65.349431017480853</c:v>
                </c:pt>
                <c:pt idx="11">
                  <c:v>65.633591756084343</c:v>
                </c:pt>
                <c:pt idx="12">
                  <c:v>65.847738039797704</c:v>
                </c:pt>
                <c:pt idx="13">
                  <c:v>66.024018654472272</c:v>
                </c:pt>
                <c:pt idx="14">
                  <c:v>66.164253719344842</c:v>
                </c:pt>
                <c:pt idx="15">
                  <c:v>66.321875928874789</c:v>
                </c:pt>
                <c:pt idx="16">
                  <c:v>66.199319306572988</c:v>
                </c:pt>
                <c:pt idx="17">
                  <c:v>66.108363675632603</c:v>
                </c:pt>
                <c:pt idx="18">
                  <c:v>66.366941067963239</c:v>
                </c:pt>
                <c:pt idx="19">
                  <c:v>66.624764693152258</c:v>
                </c:pt>
                <c:pt idx="20">
                  <c:v>66.891358680234191</c:v>
                </c:pt>
                <c:pt idx="21">
                  <c:v>67.15182282610057</c:v>
                </c:pt>
                <c:pt idx="22">
                  <c:v>67.317190354803856</c:v>
                </c:pt>
                <c:pt idx="23">
                  <c:v>67.400007943063883</c:v>
                </c:pt>
                <c:pt idx="24">
                  <c:v>67.42569289465645</c:v>
                </c:pt>
                <c:pt idx="25">
                  <c:v>67.391584450071335</c:v>
                </c:pt>
                <c:pt idx="26">
                  <c:v>67.077664193872664</c:v>
                </c:pt>
                <c:pt idx="27">
                  <c:v>68.074612757195183</c:v>
                </c:pt>
                <c:pt idx="28">
                  <c:v>67.207670231054024</c:v>
                </c:pt>
              </c:numCache>
            </c:numRef>
          </c:val>
          <c:extLst>
            <c:ext xmlns:c16="http://schemas.microsoft.com/office/drawing/2014/chart" uri="{C3380CC4-5D6E-409C-BE32-E72D297353CC}">
              <c16:uniqueId val="{00000001-292D-4B83-BA8D-C623596176FA}"/>
            </c:ext>
          </c:extLst>
        </c:ser>
        <c:ser>
          <c:idx val="2"/>
          <c:order val="2"/>
          <c:spPr>
            <a:solidFill>
              <a:srgbClr val="C0E6F4"/>
            </a:solidFill>
            <a:ln w="9525" cmpd="sng" algn="ctr">
              <a:solidFill>
                <a:srgbClr val="808080"/>
              </a:solidFill>
              <a:prstDash val="solid"/>
            </a:ln>
          </c:spPr>
          <c:invertIfNegative val="0"/>
          <c:dLbls>
            <c:dLbl>
              <c:idx val="0"/>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2D-4B83-BA8D-C623596176FA}"/>
                </c:ext>
              </c:extLst>
            </c:dLbl>
            <c:dLbl>
              <c:idx val="1"/>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2D-4B83-BA8D-C623596176FA}"/>
                </c:ext>
              </c:extLst>
            </c:dLbl>
            <c:dLbl>
              <c:idx val="2"/>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2D-4B83-BA8D-C623596176FA}"/>
                </c:ext>
              </c:extLst>
            </c:dLbl>
            <c:dLbl>
              <c:idx val="3"/>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2D-4B83-BA8D-C623596176FA}"/>
                </c:ext>
              </c:extLst>
            </c:dLbl>
            <c:dLbl>
              <c:idx val="4"/>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2D-4B83-BA8D-C623596176FA}"/>
                </c:ext>
              </c:extLst>
            </c:dLbl>
            <c:dLbl>
              <c:idx val="5"/>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2D-4B83-BA8D-C623596176FA}"/>
                </c:ext>
              </c:extLst>
            </c:dLbl>
            <c:dLbl>
              <c:idx val="6"/>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2D-4B83-BA8D-C623596176FA}"/>
                </c:ext>
              </c:extLst>
            </c:dLbl>
            <c:dLbl>
              <c:idx val="7"/>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2D-4B83-BA8D-C623596176FA}"/>
                </c:ext>
              </c:extLst>
            </c:dLbl>
            <c:dLbl>
              <c:idx val="8"/>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2D-4B83-BA8D-C623596176FA}"/>
                </c:ext>
              </c:extLst>
            </c:dLbl>
            <c:dLbl>
              <c:idx val="9"/>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2D-4B83-BA8D-C623596176FA}"/>
                </c:ext>
              </c:extLst>
            </c:dLbl>
            <c:dLbl>
              <c:idx val="10"/>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2D-4B83-BA8D-C623596176FA}"/>
                </c:ext>
              </c:extLst>
            </c:dLbl>
            <c:dLbl>
              <c:idx val="11"/>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2D-4B83-BA8D-C623596176FA}"/>
                </c:ext>
              </c:extLst>
            </c:dLbl>
            <c:dLbl>
              <c:idx val="12"/>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2D-4B83-BA8D-C623596176FA}"/>
                </c:ext>
              </c:extLst>
            </c:dLbl>
            <c:dLbl>
              <c:idx val="13"/>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2D-4B83-BA8D-C623596176FA}"/>
                </c:ext>
              </c:extLst>
            </c:dLbl>
            <c:dLbl>
              <c:idx val="14"/>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2D-4B83-BA8D-C623596176FA}"/>
                </c:ext>
              </c:extLst>
            </c:dLbl>
            <c:dLbl>
              <c:idx val="15"/>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2D-4B83-BA8D-C623596176FA}"/>
                </c:ext>
              </c:extLst>
            </c:dLbl>
            <c:dLbl>
              <c:idx val="16"/>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2D-4B83-BA8D-C623596176FA}"/>
                </c:ext>
              </c:extLst>
            </c:dLbl>
            <c:dLbl>
              <c:idx val="17"/>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2D-4B83-BA8D-C623596176FA}"/>
                </c:ext>
              </c:extLst>
            </c:dLbl>
            <c:dLbl>
              <c:idx val="18"/>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2D-4B83-BA8D-C623596176FA}"/>
                </c:ext>
              </c:extLst>
            </c:dLbl>
            <c:dLbl>
              <c:idx val="19"/>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2D-4B83-BA8D-C623596176FA}"/>
                </c:ext>
              </c:extLst>
            </c:dLbl>
            <c:dLbl>
              <c:idx val="20"/>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92D-4B83-BA8D-C623596176FA}"/>
                </c:ext>
              </c:extLst>
            </c:dLbl>
            <c:dLbl>
              <c:idx val="21"/>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92D-4B83-BA8D-C623596176FA}"/>
                </c:ext>
              </c:extLst>
            </c:dLbl>
            <c:dLbl>
              <c:idx val="22"/>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92D-4B83-BA8D-C623596176FA}"/>
                </c:ext>
              </c:extLst>
            </c:dLbl>
            <c:dLbl>
              <c:idx val="23"/>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92D-4B83-BA8D-C623596176FA}"/>
                </c:ext>
              </c:extLst>
            </c:dLbl>
            <c:dLbl>
              <c:idx val="24"/>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92D-4B83-BA8D-C623596176FA}"/>
                </c:ext>
              </c:extLst>
            </c:dLbl>
            <c:dLbl>
              <c:idx val="25"/>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92D-4B83-BA8D-C623596176FA}"/>
                </c:ext>
              </c:extLst>
            </c:dLbl>
            <c:dLbl>
              <c:idx val="26"/>
              <c:layout>
                <c:manualLayout>
                  <c:x val="0"/>
                  <c:y val="-7.95454545454545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92D-4B83-BA8D-C623596176FA}"/>
                </c:ext>
              </c:extLst>
            </c:dLbl>
            <c:dLbl>
              <c:idx val="27"/>
              <c:layout>
                <c:manualLayout>
                  <c:x val="0"/>
                  <c:y val="-8.441558441558441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92D-4B83-BA8D-C623596176FA}"/>
                </c:ext>
              </c:extLst>
            </c:dLbl>
            <c:dLbl>
              <c:idx val="28"/>
              <c:layout>
                <c:manualLayout>
                  <c:x val="0"/>
                  <c:y val="-9.25324675324675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92D-4B83-BA8D-C623596176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4.7465211226822674</c:v>
                </c:pt>
                <c:pt idx="1">
                  <c:v>4.8169174212169263</c:v>
                </c:pt>
                <c:pt idx="2">
                  <c:v>4.8840432562537455</c:v>
                </c:pt>
                <c:pt idx="3">
                  <c:v>4.9518129230742947</c:v>
                </c:pt>
                <c:pt idx="4">
                  <c:v>5.0230294914596296</c:v>
                </c:pt>
                <c:pt idx="5">
                  <c:v>5.0956088986201404</c:v>
                </c:pt>
                <c:pt idx="6">
                  <c:v>5.1548866373935187</c:v>
                </c:pt>
                <c:pt idx="7">
                  <c:v>5.2011541150762675</c:v>
                </c:pt>
                <c:pt idx="8">
                  <c:v>5.2357322145453189</c:v>
                </c:pt>
                <c:pt idx="9">
                  <c:v>5.2484455575721567</c:v>
                </c:pt>
                <c:pt idx="10">
                  <c:v>5.2473699446762385</c:v>
                </c:pt>
                <c:pt idx="11">
                  <c:v>5.2415223226327745</c:v>
                </c:pt>
                <c:pt idx="12">
                  <c:v>5.2502226720623213</c:v>
                </c:pt>
                <c:pt idx="13">
                  <c:v>5.2878427278335138</c:v>
                </c:pt>
                <c:pt idx="14">
                  <c:v>5.33115497763339</c:v>
                </c:pt>
                <c:pt idx="15">
                  <c:v>5.3696114310503251</c:v>
                </c:pt>
                <c:pt idx="16">
                  <c:v>5.4735348867824607</c:v>
                </c:pt>
                <c:pt idx="17">
                  <c:v>5.628055665046972</c:v>
                </c:pt>
                <c:pt idx="18">
                  <c:v>5.7766092353521481</c:v>
                </c:pt>
                <c:pt idx="19">
                  <c:v>5.9452201907718276</c:v>
                </c:pt>
                <c:pt idx="20">
                  <c:v>6.1094889911940449</c:v>
                </c:pt>
                <c:pt idx="21">
                  <c:v>6.2346255491007474</c:v>
                </c:pt>
                <c:pt idx="22">
                  <c:v>6.3616265627802981</c:v>
                </c:pt>
                <c:pt idx="23">
                  <c:v>6.5150936762256357</c:v>
                </c:pt>
                <c:pt idx="24">
                  <c:v>6.690547943393832</c:v>
                </c:pt>
                <c:pt idx="25">
                  <c:v>6.8850309702782386</c:v>
                </c:pt>
                <c:pt idx="26">
                  <c:v>7.7605538938858238</c:v>
                </c:pt>
                <c:pt idx="27">
                  <c:v>9.0133501745953364</c:v>
                </c:pt>
                <c:pt idx="28">
                  <c:v>11.259924053006698</c:v>
                </c:pt>
              </c:numCache>
            </c:numRef>
          </c:val>
          <c:extLst>
            <c:ext xmlns:c16="http://schemas.microsoft.com/office/drawing/2014/chart" uri="{C3380CC4-5D6E-409C-BE32-E72D297353CC}">
              <c16:uniqueId val="{0000001F-292D-4B83-BA8D-C623596176FA}"/>
            </c:ext>
          </c:extLst>
        </c:ser>
        <c:dLbls>
          <c:showLegendKey val="0"/>
          <c:showVal val="0"/>
          <c:showCatName val="0"/>
          <c:showSerName val="0"/>
          <c:showPercent val="0"/>
          <c:showBubbleSize val="0"/>
        </c:dLbls>
        <c:gapWidth val="60"/>
        <c:overlap val="100"/>
        <c:axId val="1007596671"/>
        <c:axId val="1"/>
      </c:barChart>
      <c:catAx>
        <c:axId val="100759667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07596671"/>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74041297935103E-2"/>
          <c:y val="2.2549869904596703E-2"/>
          <c:w val="0.96165191740412981"/>
          <c:h val="0.95490026019080654"/>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val>
            <c:numRef>
              <c:f>Sheet1!$A$1:$O$1</c:f>
              <c:numCache>
                <c:formatCode>General</c:formatCode>
                <c:ptCount val="15"/>
                <c:pt idx="0">
                  <c:v>52370</c:v>
                </c:pt>
                <c:pt idx="1">
                  <c:v>55408</c:v>
                </c:pt>
                <c:pt idx="2">
                  <c:v>58722</c:v>
                </c:pt>
                <c:pt idx="3">
                  <c:v>63788</c:v>
                </c:pt>
                <c:pt idx="4">
                  <c:v>66891</c:v>
                </c:pt>
                <c:pt idx="5">
                  <c:v>278617</c:v>
                </c:pt>
                <c:pt idx="6">
                  <c:v>288742</c:v>
                </c:pt>
                <c:pt idx="7">
                  <c:v>287079</c:v>
                </c:pt>
                <c:pt idx="8">
                  <c:v>285704</c:v>
                </c:pt>
                <c:pt idx="9">
                  <c:v>284837</c:v>
                </c:pt>
                <c:pt idx="10">
                  <c:v>280231</c:v>
                </c:pt>
                <c:pt idx="11">
                  <c:v>276415</c:v>
                </c:pt>
                <c:pt idx="12">
                  <c:v>272590</c:v>
                </c:pt>
                <c:pt idx="13">
                  <c:v>268915</c:v>
                </c:pt>
                <c:pt idx="14">
                  <c:v>265877</c:v>
                </c:pt>
              </c:numCache>
            </c:numRef>
          </c:val>
          <c:smooth val="0"/>
          <c:extLst>
            <c:ext xmlns:c16="http://schemas.microsoft.com/office/drawing/2014/chart" uri="{C3380CC4-5D6E-409C-BE32-E72D297353CC}">
              <c16:uniqueId val="{00000000-64A0-483A-9ECA-587F60CBE0CE}"/>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val>
            <c:numRef>
              <c:f>Sheet1!$A$2:$O$2</c:f>
              <c:numCache>
                <c:formatCode>General</c:formatCode>
                <c:ptCount val="15"/>
                <c:pt idx="0">
                  <c:v>36912</c:v>
                </c:pt>
                <c:pt idx="1">
                  <c:v>37583</c:v>
                </c:pt>
                <c:pt idx="2">
                  <c:v>38444</c:v>
                </c:pt>
                <c:pt idx="3">
                  <c:v>39847</c:v>
                </c:pt>
                <c:pt idx="4">
                  <c:v>41132</c:v>
                </c:pt>
                <c:pt idx="5">
                  <c:v>43277</c:v>
                </c:pt>
                <c:pt idx="6">
                  <c:v>43141</c:v>
                </c:pt>
                <c:pt idx="7">
                  <c:v>44653</c:v>
                </c:pt>
                <c:pt idx="8">
                  <c:v>43503</c:v>
                </c:pt>
                <c:pt idx="9">
                  <c:v>46393</c:v>
                </c:pt>
                <c:pt idx="10">
                  <c:v>43901</c:v>
                </c:pt>
                <c:pt idx="11">
                  <c:v>48021</c:v>
                </c:pt>
                <c:pt idx="12">
                  <c:v>49533</c:v>
                </c:pt>
                <c:pt idx="13">
                  <c:v>51579</c:v>
                </c:pt>
                <c:pt idx="14">
                  <c:v>49051</c:v>
                </c:pt>
              </c:numCache>
            </c:numRef>
          </c:val>
          <c:smooth val="0"/>
          <c:extLst>
            <c:ext xmlns:c16="http://schemas.microsoft.com/office/drawing/2014/chart" uri="{C3380CC4-5D6E-409C-BE32-E72D297353CC}">
              <c16:uniqueId val="{00000001-64A0-483A-9ECA-587F60CBE0CE}"/>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2-64A0-483A-9ECA-587F60CBE0CE}"/>
              </c:ext>
            </c:extLst>
          </c:dPt>
          <c:dPt>
            <c:idx val="3"/>
            <c:marker>
              <c:symbol val="none"/>
            </c:marker>
            <c:bubble3D val="0"/>
            <c:extLst>
              <c:ext xmlns:c16="http://schemas.microsoft.com/office/drawing/2014/chart" uri="{C3380CC4-5D6E-409C-BE32-E72D297353CC}">
                <c16:uniqueId val="{00000003-64A0-483A-9ECA-587F60CBE0CE}"/>
              </c:ext>
            </c:extLst>
          </c:dPt>
          <c:dPt>
            <c:idx val="7"/>
            <c:marker>
              <c:symbol val="none"/>
            </c:marker>
            <c:bubble3D val="0"/>
            <c:extLst>
              <c:ext xmlns:c16="http://schemas.microsoft.com/office/drawing/2014/chart" uri="{C3380CC4-5D6E-409C-BE32-E72D297353CC}">
                <c16:uniqueId val="{00000004-64A0-483A-9ECA-587F60CBE0CE}"/>
              </c:ext>
            </c:extLst>
          </c:dPt>
          <c:dPt>
            <c:idx val="8"/>
            <c:marker>
              <c:symbol val="none"/>
            </c:marker>
            <c:bubble3D val="0"/>
            <c:extLst>
              <c:ext xmlns:c16="http://schemas.microsoft.com/office/drawing/2014/chart" uri="{C3380CC4-5D6E-409C-BE32-E72D297353CC}">
                <c16:uniqueId val="{00000005-64A0-483A-9ECA-587F60CBE0CE}"/>
              </c:ext>
            </c:extLst>
          </c:dPt>
          <c:dPt>
            <c:idx val="9"/>
            <c:marker>
              <c:symbol val="none"/>
            </c:marker>
            <c:bubble3D val="0"/>
            <c:extLst>
              <c:ext xmlns:c16="http://schemas.microsoft.com/office/drawing/2014/chart" uri="{C3380CC4-5D6E-409C-BE32-E72D297353CC}">
                <c16:uniqueId val="{00000006-64A0-483A-9ECA-587F60CBE0CE}"/>
              </c:ext>
            </c:extLst>
          </c:dPt>
          <c:dPt>
            <c:idx val="10"/>
            <c:marker>
              <c:symbol val="none"/>
            </c:marker>
            <c:bubble3D val="0"/>
            <c:extLst>
              <c:ext xmlns:c16="http://schemas.microsoft.com/office/drawing/2014/chart" uri="{C3380CC4-5D6E-409C-BE32-E72D297353CC}">
                <c16:uniqueId val="{00000007-64A0-483A-9ECA-587F60CBE0CE}"/>
              </c:ext>
            </c:extLst>
          </c:dPt>
          <c:dPt>
            <c:idx val="11"/>
            <c:marker>
              <c:symbol val="none"/>
            </c:marker>
            <c:bubble3D val="0"/>
            <c:extLst>
              <c:ext xmlns:c16="http://schemas.microsoft.com/office/drawing/2014/chart" uri="{C3380CC4-5D6E-409C-BE32-E72D297353CC}">
                <c16:uniqueId val="{00000008-64A0-483A-9ECA-587F60CBE0CE}"/>
              </c:ext>
            </c:extLst>
          </c:dPt>
          <c:val>
            <c:numRef>
              <c:f>Sheet1!$A$3:$O$3</c:f>
              <c:numCache>
                <c:formatCode>General</c:formatCode>
                <c:ptCount val="15"/>
                <c:pt idx="1">
                  <c:v>12813</c:v>
                </c:pt>
                <c:pt idx="2">
                  <c:v>13642</c:v>
                </c:pt>
                <c:pt idx="3">
                  <c:v>14318</c:v>
                </c:pt>
                <c:pt idx="4">
                  <c:v>14994</c:v>
                </c:pt>
                <c:pt idx="5">
                  <c:v>15784</c:v>
                </c:pt>
                <c:pt idx="6">
                  <c:v>15267</c:v>
                </c:pt>
                <c:pt idx="7">
                  <c:v>15527.333333333334</c:v>
                </c:pt>
                <c:pt idx="8">
                  <c:v>15787.666666666666</c:v>
                </c:pt>
                <c:pt idx="9">
                  <c:v>16048</c:v>
                </c:pt>
                <c:pt idx="10">
                  <c:v>16308.333333333334</c:v>
                </c:pt>
                <c:pt idx="11">
                  <c:v>16568.666666666668</c:v>
                </c:pt>
                <c:pt idx="12">
                  <c:v>16829</c:v>
                </c:pt>
                <c:pt idx="13">
                  <c:v>17892</c:v>
                </c:pt>
                <c:pt idx="14">
                  <c:v>18313</c:v>
                </c:pt>
              </c:numCache>
            </c:numRef>
          </c:val>
          <c:smooth val="0"/>
          <c:extLst>
            <c:ext xmlns:c16="http://schemas.microsoft.com/office/drawing/2014/chart" uri="{C3380CC4-5D6E-409C-BE32-E72D297353CC}">
              <c16:uniqueId val="{00000009-64A0-483A-9ECA-587F60CBE0CE}"/>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val>
            <c:numRef>
              <c:f>Sheet1!$A$4:$O$4</c:f>
              <c:numCache>
                <c:formatCode>General</c:formatCode>
                <c:ptCount val="15"/>
                <c:pt idx="0">
                  <c:v>5296</c:v>
                </c:pt>
                <c:pt idx="1">
                  <c:v>5387</c:v>
                </c:pt>
                <c:pt idx="2">
                  <c:v>5554</c:v>
                </c:pt>
                <c:pt idx="3">
                  <c:v>5770</c:v>
                </c:pt>
                <c:pt idx="4">
                  <c:v>5817</c:v>
                </c:pt>
                <c:pt idx="5">
                  <c:v>5985</c:v>
                </c:pt>
                <c:pt idx="6">
                  <c:v>6158</c:v>
                </c:pt>
                <c:pt idx="7">
                  <c:v>6314</c:v>
                </c:pt>
                <c:pt idx="8">
                  <c:v>6433</c:v>
                </c:pt>
                <c:pt idx="9">
                  <c:v>6365</c:v>
                </c:pt>
                <c:pt idx="10">
                  <c:v>6059</c:v>
                </c:pt>
                <c:pt idx="11">
                  <c:v>6586</c:v>
                </c:pt>
                <c:pt idx="12">
                  <c:v>6620</c:v>
                </c:pt>
                <c:pt idx="13">
                  <c:v>6690</c:v>
                </c:pt>
                <c:pt idx="14">
                  <c:v>6866</c:v>
                </c:pt>
              </c:numCache>
            </c:numRef>
          </c:val>
          <c:smooth val="0"/>
          <c:extLst>
            <c:ext xmlns:c16="http://schemas.microsoft.com/office/drawing/2014/chart" uri="{C3380CC4-5D6E-409C-BE32-E72D297353CC}">
              <c16:uniqueId val="{0000000A-64A0-483A-9ECA-587F60CBE0CE}"/>
            </c:ext>
          </c:extLst>
        </c:ser>
        <c:dLbls>
          <c:showLegendKey val="0"/>
          <c:showVal val="0"/>
          <c:showCatName val="0"/>
          <c:showSerName val="0"/>
          <c:showPercent val="0"/>
          <c:showBubbleSize val="0"/>
        </c:dLbls>
        <c:marker val="1"/>
        <c:smooth val="0"/>
        <c:axId val="1402420239"/>
        <c:axId val="1"/>
      </c:lineChart>
      <c:catAx>
        <c:axId val="14024202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02420239"/>
        <c:crosses val="min"/>
        <c:crossBetween val="midCat"/>
        <c:majorUnit val="5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357142857142863E-2"/>
          <c:y val="4.736842105263158E-2"/>
          <c:w val="0.8880494505494505"/>
          <c:h val="0.8914979757085019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1593406593406592E-2"/>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9F-40F4-8723-A7CC27B6B883}"/>
                </c:ext>
              </c:extLst>
            </c:dLbl>
            <c:dLbl>
              <c:idx val="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9F-40F4-8723-A7CC27B6B883}"/>
                </c:ext>
              </c:extLst>
            </c:dLbl>
            <c:dLbl>
              <c:idx val="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9F-40F4-8723-A7CC27B6B883}"/>
                </c:ext>
              </c:extLst>
            </c:dLbl>
            <c:dLbl>
              <c:idx val="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9F-40F4-8723-A7CC27B6B883}"/>
                </c:ext>
              </c:extLst>
            </c:dLbl>
            <c:dLbl>
              <c:idx val="5"/>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9F-40F4-8723-A7CC27B6B883}"/>
                </c:ext>
              </c:extLst>
            </c:dLbl>
            <c:dLbl>
              <c:idx val="6"/>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9F-40F4-8723-A7CC27B6B883}"/>
                </c:ext>
              </c:extLst>
            </c:dLbl>
            <c:dLbl>
              <c:idx val="7"/>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9F-40F4-8723-A7CC27B6B883}"/>
                </c:ext>
              </c:extLst>
            </c:dLbl>
            <c:dLbl>
              <c:idx val="8"/>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9F-40F4-8723-A7CC27B6B883}"/>
                </c:ext>
              </c:extLst>
            </c:dLbl>
            <c:dLbl>
              <c:idx val="9"/>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9F-40F4-8723-A7CC27B6B883}"/>
                </c:ext>
              </c:extLst>
            </c:dLbl>
            <c:dLbl>
              <c:idx val="10"/>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9F-40F4-8723-A7CC27B6B883}"/>
                </c:ext>
              </c:extLst>
            </c:dLbl>
            <c:dLbl>
              <c:idx val="1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9F-40F4-8723-A7CC27B6B883}"/>
                </c:ext>
              </c:extLst>
            </c:dLbl>
            <c:dLbl>
              <c:idx val="1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9F-40F4-8723-A7CC27B6B883}"/>
                </c:ext>
              </c:extLst>
            </c:dLbl>
            <c:dLbl>
              <c:idx val="1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9F-40F4-8723-A7CC27B6B883}"/>
                </c:ext>
              </c:extLst>
            </c:dLbl>
            <c:dLbl>
              <c:idx val="1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0.01</c:v>
                </c:pt>
                <c:pt idx="1">
                  <c:v>10.46</c:v>
                </c:pt>
                <c:pt idx="2">
                  <c:v>10.92</c:v>
                </c:pt>
                <c:pt idx="3">
                  <c:v>11.67</c:v>
                </c:pt>
                <c:pt idx="4">
                  <c:v>12.03</c:v>
                </c:pt>
                <c:pt idx="5">
                  <c:v>49.12</c:v>
                </c:pt>
                <c:pt idx="6">
                  <c:v>50.43</c:v>
                </c:pt>
                <c:pt idx="7">
                  <c:v>49.81</c:v>
                </c:pt>
                <c:pt idx="8">
                  <c:v>48.74</c:v>
                </c:pt>
                <c:pt idx="9">
                  <c:v>47.8</c:v>
                </c:pt>
                <c:pt idx="10">
                  <c:v>46.27</c:v>
                </c:pt>
                <c:pt idx="11">
                  <c:v>44.94</c:v>
                </c:pt>
                <c:pt idx="12">
                  <c:v>43.7</c:v>
                </c:pt>
                <c:pt idx="13">
                  <c:v>42.54</c:v>
                </c:pt>
                <c:pt idx="14">
                  <c:v>41.54</c:v>
                </c:pt>
              </c:numCache>
            </c:numRef>
          </c:val>
          <c:smooth val="0"/>
          <c:extLst>
            <c:ext xmlns:c16="http://schemas.microsoft.com/office/drawing/2014/chart" uri="{C3380CC4-5D6E-409C-BE32-E72D297353CC}">
              <c16:uniqueId val="{0000000E-259F-40F4-8723-A7CC27B6B883}"/>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9F-40F4-8723-A7CC27B6B883}"/>
                </c:ext>
              </c:extLst>
            </c:dLbl>
            <c:dLbl>
              <c:idx val="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9F-40F4-8723-A7CC27B6B883}"/>
                </c:ext>
              </c:extLst>
            </c:dLbl>
            <c:dLbl>
              <c:idx val="5"/>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9F-40F4-8723-A7CC27B6B883}"/>
                </c:ext>
              </c:extLst>
            </c:dLbl>
            <c:dLbl>
              <c:idx val="6"/>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9F-40F4-8723-A7CC27B6B883}"/>
                </c:ext>
              </c:extLst>
            </c:dLbl>
            <c:dLbl>
              <c:idx val="7"/>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9F-40F4-8723-A7CC27B6B883}"/>
                </c:ext>
              </c:extLst>
            </c:dLbl>
            <c:dLbl>
              <c:idx val="8"/>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9F-40F4-8723-A7CC27B6B883}"/>
                </c:ext>
              </c:extLst>
            </c:dLbl>
            <c:dLbl>
              <c:idx val="9"/>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9F-40F4-8723-A7CC27B6B883}"/>
                </c:ext>
              </c:extLst>
            </c:dLbl>
            <c:dLbl>
              <c:idx val="10"/>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9F-40F4-8723-A7CC27B6B883}"/>
                </c:ext>
              </c:extLst>
            </c:dLbl>
            <c:dLbl>
              <c:idx val="1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9F-40F4-8723-A7CC27B6B883}"/>
                </c:ext>
              </c:extLst>
            </c:dLbl>
            <c:dLbl>
              <c:idx val="1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9F-40F4-8723-A7CC27B6B883}"/>
                </c:ext>
              </c:extLst>
            </c:dLbl>
            <c:dLbl>
              <c:idx val="1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59F-40F4-8723-A7CC27B6B883}"/>
                </c:ext>
              </c:extLst>
            </c:dLbl>
            <c:dLbl>
              <c:idx val="1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7.05</c:v>
                </c:pt>
                <c:pt idx="1">
                  <c:v>7.09</c:v>
                </c:pt>
                <c:pt idx="2">
                  <c:v>7.15</c:v>
                </c:pt>
                <c:pt idx="3">
                  <c:v>7.29</c:v>
                </c:pt>
                <c:pt idx="4">
                  <c:v>7.4</c:v>
                </c:pt>
                <c:pt idx="5">
                  <c:v>7.63</c:v>
                </c:pt>
                <c:pt idx="6">
                  <c:v>7.53</c:v>
                </c:pt>
                <c:pt idx="7">
                  <c:v>7.75</c:v>
                </c:pt>
                <c:pt idx="8">
                  <c:v>7.42</c:v>
                </c:pt>
                <c:pt idx="9">
                  <c:v>7.79</c:v>
                </c:pt>
                <c:pt idx="10">
                  <c:v>7.25</c:v>
                </c:pt>
                <c:pt idx="11">
                  <c:v>7.81</c:v>
                </c:pt>
                <c:pt idx="12">
                  <c:v>7.94</c:v>
                </c:pt>
                <c:pt idx="13">
                  <c:v>8.16</c:v>
                </c:pt>
                <c:pt idx="14">
                  <c:v>7.66</c:v>
                </c:pt>
              </c:numCache>
            </c:numRef>
          </c:val>
          <c:smooth val="0"/>
          <c:extLst>
            <c:ext xmlns:c16="http://schemas.microsoft.com/office/drawing/2014/chart" uri="{C3380CC4-5D6E-409C-BE32-E72D297353CC}">
              <c16:uniqueId val="{0000001B-259F-40F4-8723-A7CC27B6B883}"/>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C-259F-40F4-8723-A7CC27B6B883}"/>
              </c:ext>
            </c:extLst>
          </c:dPt>
          <c:dPt>
            <c:idx val="3"/>
            <c:marker>
              <c:symbol val="none"/>
            </c:marker>
            <c:bubble3D val="0"/>
            <c:extLst>
              <c:ext xmlns:c16="http://schemas.microsoft.com/office/drawing/2014/chart" uri="{C3380CC4-5D6E-409C-BE32-E72D297353CC}">
                <c16:uniqueId val="{0000001D-259F-40F4-8723-A7CC27B6B883}"/>
              </c:ext>
            </c:extLst>
          </c:dPt>
          <c:dPt>
            <c:idx val="7"/>
            <c:marker>
              <c:symbol val="none"/>
            </c:marker>
            <c:bubble3D val="0"/>
            <c:extLst>
              <c:ext xmlns:c16="http://schemas.microsoft.com/office/drawing/2014/chart" uri="{C3380CC4-5D6E-409C-BE32-E72D297353CC}">
                <c16:uniqueId val="{0000001E-259F-40F4-8723-A7CC27B6B883}"/>
              </c:ext>
            </c:extLst>
          </c:dPt>
          <c:dPt>
            <c:idx val="8"/>
            <c:marker>
              <c:symbol val="none"/>
            </c:marker>
            <c:bubble3D val="0"/>
            <c:extLst>
              <c:ext xmlns:c16="http://schemas.microsoft.com/office/drawing/2014/chart" uri="{C3380CC4-5D6E-409C-BE32-E72D297353CC}">
                <c16:uniqueId val="{0000001F-259F-40F4-8723-A7CC27B6B883}"/>
              </c:ext>
            </c:extLst>
          </c:dPt>
          <c:dPt>
            <c:idx val="9"/>
            <c:marker>
              <c:symbol val="none"/>
            </c:marker>
            <c:bubble3D val="0"/>
            <c:extLst>
              <c:ext xmlns:c16="http://schemas.microsoft.com/office/drawing/2014/chart" uri="{C3380CC4-5D6E-409C-BE32-E72D297353CC}">
                <c16:uniqueId val="{00000020-259F-40F4-8723-A7CC27B6B883}"/>
              </c:ext>
            </c:extLst>
          </c:dPt>
          <c:dPt>
            <c:idx val="10"/>
            <c:marker>
              <c:symbol val="none"/>
            </c:marker>
            <c:bubble3D val="0"/>
            <c:extLst>
              <c:ext xmlns:c16="http://schemas.microsoft.com/office/drawing/2014/chart" uri="{C3380CC4-5D6E-409C-BE32-E72D297353CC}">
                <c16:uniqueId val="{00000021-259F-40F4-8723-A7CC27B6B883}"/>
              </c:ext>
            </c:extLst>
          </c:dPt>
          <c:dPt>
            <c:idx val="11"/>
            <c:marker>
              <c:symbol val="none"/>
            </c:marker>
            <c:bubble3D val="0"/>
            <c:extLst>
              <c:ext xmlns:c16="http://schemas.microsoft.com/office/drawing/2014/chart" uri="{C3380CC4-5D6E-409C-BE32-E72D297353CC}">
                <c16:uniqueId val="{00000022-259F-40F4-8723-A7CC27B6B883}"/>
              </c:ext>
            </c:extLst>
          </c:dPt>
          <c:dLbls>
            <c:dLbl>
              <c:idx val="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59F-40F4-8723-A7CC27B6B883}"/>
                </c:ext>
              </c:extLst>
            </c:dLbl>
            <c:dLbl>
              <c:idx val="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59F-40F4-8723-A7CC27B6B883}"/>
                </c:ext>
              </c:extLst>
            </c:dLbl>
            <c:dLbl>
              <c:idx val="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59F-40F4-8723-A7CC27B6B883}"/>
                </c:ext>
              </c:extLst>
            </c:dLbl>
            <c:dLbl>
              <c:idx val="5"/>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59F-40F4-8723-A7CC27B6B883}"/>
                </c:ext>
              </c:extLst>
            </c:dLbl>
            <c:dLbl>
              <c:idx val="6"/>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59F-40F4-8723-A7CC27B6B883}"/>
                </c:ext>
              </c:extLst>
            </c:dLbl>
            <c:dLbl>
              <c:idx val="1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59F-40F4-8723-A7CC27B6B883}"/>
                </c:ext>
              </c:extLst>
            </c:dLbl>
            <c:dLbl>
              <c:idx val="1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259F-40F4-8723-A7CC27B6B883}"/>
                </c:ext>
              </c:extLst>
            </c:dLbl>
            <c:dLbl>
              <c:idx val="1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1">
                  <c:v>2.42</c:v>
                </c:pt>
                <c:pt idx="2">
                  <c:v>2.54</c:v>
                </c:pt>
                <c:pt idx="3">
                  <c:v>2.62</c:v>
                </c:pt>
                <c:pt idx="4">
                  <c:v>2.7</c:v>
                </c:pt>
                <c:pt idx="5">
                  <c:v>2.78</c:v>
                </c:pt>
                <c:pt idx="6">
                  <c:v>2.67</c:v>
                </c:pt>
                <c:pt idx="7">
                  <c:v>2.6749999999999998</c:v>
                </c:pt>
                <c:pt idx="8">
                  <c:v>2.68</c:v>
                </c:pt>
                <c:pt idx="9">
                  <c:v>2.6850000000000001</c:v>
                </c:pt>
                <c:pt idx="10">
                  <c:v>2.69</c:v>
                </c:pt>
                <c:pt idx="11">
                  <c:v>2.6950000000000003</c:v>
                </c:pt>
                <c:pt idx="12">
                  <c:v>2.7</c:v>
                </c:pt>
                <c:pt idx="13">
                  <c:v>2.83</c:v>
                </c:pt>
                <c:pt idx="14">
                  <c:v>2.86</c:v>
                </c:pt>
              </c:numCache>
            </c:numRef>
          </c:val>
          <c:smooth val="0"/>
          <c:extLst>
            <c:ext xmlns:c16="http://schemas.microsoft.com/office/drawing/2014/chart" uri="{C3380CC4-5D6E-409C-BE32-E72D297353CC}">
              <c16:uniqueId val="{0000002B-259F-40F4-8723-A7CC27B6B883}"/>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4.464285714285714E-3"/>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259F-40F4-8723-A7CC27B6B883}"/>
                </c:ext>
              </c:extLst>
            </c:dLbl>
            <c:dLbl>
              <c:idx val="1"/>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259F-40F4-8723-A7CC27B6B883}"/>
                </c:ext>
              </c:extLst>
            </c:dLbl>
            <c:dLbl>
              <c:idx val="2"/>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259F-40F4-8723-A7CC27B6B883}"/>
                </c:ext>
              </c:extLst>
            </c:dLbl>
            <c:dLbl>
              <c:idx val="3"/>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259F-40F4-8723-A7CC27B6B883}"/>
                </c:ext>
              </c:extLst>
            </c:dLbl>
            <c:dLbl>
              <c:idx val="4"/>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59F-40F4-8723-A7CC27B6B883}"/>
                </c:ext>
              </c:extLst>
            </c:dLbl>
            <c:dLbl>
              <c:idx val="5"/>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259F-40F4-8723-A7CC27B6B883}"/>
                </c:ext>
              </c:extLst>
            </c:dLbl>
            <c:dLbl>
              <c:idx val="6"/>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259F-40F4-8723-A7CC27B6B883}"/>
                </c:ext>
              </c:extLst>
            </c:dLbl>
            <c:dLbl>
              <c:idx val="9"/>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259F-40F4-8723-A7CC27B6B883}"/>
                </c:ext>
              </c:extLst>
            </c:dLbl>
            <c:dLbl>
              <c:idx val="10"/>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259F-40F4-8723-A7CC27B6B883}"/>
                </c:ext>
              </c:extLst>
            </c:dLbl>
            <c:dLbl>
              <c:idx val="11"/>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259F-40F4-8723-A7CC27B6B883}"/>
                </c:ext>
              </c:extLst>
            </c:dLbl>
            <c:dLbl>
              <c:idx val="12"/>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259F-40F4-8723-A7CC27B6B883}"/>
                </c:ext>
              </c:extLst>
            </c:dLbl>
            <c:dLbl>
              <c:idx val="13"/>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259F-40F4-8723-A7CC27B6B883}"/>
                </c:ext>
              </c:extLst>
            </c:dLbl>
            <c:dLbl>
              <c:idx val="14"/>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1.01</c:v>
                </c:pt>
                <c:pt idx="1">
                  <c:v>1.02</c:v>
                </c:pt>
                <c:pt idx="2">
                  <c:v>1.03</c:v>
                </c:pt>
                <c:pt idx="3">
                  <c:v>1.06</c:v>
                </c:pt>
                <c:pt idx="4">
                  <c:v>1.05</c:v>
                </c:pt>
                <c:pt idx="5">
                  <c:v>1.06</c:v>
                </c:pt>
                <c:pt idx="6">
                  <c:v>1.08</c:v>
                </c:pt>
                <c:pt idx="7">
                  <c:v>1.1000000000000001</c:v>
                </c:pt>
                <c:pt idx="8">
                  <c:v>1.1000000000000001</c:v>
                </c:pt>
                <c:pt idx="9">
                  <c:v>1.07</c:v>
                </c:pt>
                <c:pt idx="10">
                  <c:v>1</c:v>
                </c:pt>
                <c:pt idx="11">
                  <c:v>1.07</c:v>
                </c:pt>
                <c:pt idx="12">
                  <c:v>1.06</c:v>
                </c:pt>
                <c:pt idx="13">
                  <c:v>1.06</c:v>
                </c:pt>
                <c:pt idx="14">
                  <c:v>1.07</c:v>
                </c:pt>
              </c:numCache>
            </c:numRef>
          </c:val>
          <c:smooth val="0"/>
          <c:extLst>
            <c:ext xmlns:c16="http://schemas.microsoft.com/office/drawing/2014/chart" uri="{C3380CC4-5D6E-409C-BE32-E72D297353CC}">
              <c16:uniqueId val="{00000039-259F-40F4-8723-A7CC27B6B883}"/>
            </c:ext>
          </c:extLst>
        </c:ser>
        <c:dLbls>
          <c:showLegendKey val="0"/>
          <c:showVal val="0"/>
          <c:showCatName val="0"/>
          <c:showSerName val="0"/>
          <c:showPercent val="0"/>
          <c:showBubbleSize val="0"/>
        </c:dLbls>
        <c:marker val="1"/>
        <c:smooth val="0"/>
        <c:axId val="1377101999"/>
        <c:axId val="1"/>
      </c:lineChart>
      <c:catAx>
        <c:axId val="13771019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77101999"/>
        <c:crosses val="min"/>
        <c:crossBetween val="midCat"/>
        <c:majorUnit val="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08849557522124E-2"/>
          <c:y val="6.8299576071596799E-2"/>
          <c:w val="0.95398230088495573"/>
          <c:h val="0.90720678285445122"/>
        </c:manualLayout>
      </c:layout>
      <c:barChart>
        <c:barDir val="col"/>
        <c:grouping val="stacked"/>
        <c:varyColors val="0"/>
        <c:ser>
          <c:idx val="0"/>
          <c:order val="0"/>
          <c:spPr>
            <a:solidFill>
              <a:schemeClr val="accent1"/>
            </a:solidFill>
            <a:ln>
              <a:noFill/>
            </a:ln>
          </c:spPr>
          <c:invertIfNegative val="0"/>
          <c:dLbls>
            <c:dLbl>
              <c:idx val="0"/>
              <c:layout>
                <c:manualLayout>
                  <c:x val="0"/>
                  <c:y val="-0.350918511540273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9D-4A37-80D0-526226480253}"/>
                </c:ext>
              </c:extLst>
            </c:dLbl>
            <c:dLbl>
              <c:idx val="1"/>
              <c:layout>
                <c:manualLayout>
                  <c:x val="0"/>
                  <c:y val="-0.3612812058407913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9D-4A37-80D0-526226480253}"/>
                </c:ext>
              </c:extLst>
            </c:dLbl>
            <c:dLbl>
              <c:idx val="2"/>
              <c:layout>
                <c:manualLayout>
                  <c:x val="0"/>
                  <c:y val="-0.3909561940650023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9D-4A37-80D0-526226480253}"/>
                </c:ext>
              </c:extLst>
            </c:dLbl>
            <c:dLbl>
              <c:idx val="3"/>
              <c:layout>
                <c:manualLayout>
                  <c:x val="0"/>
                  <c:y val="-0.4196891191709844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9D-4A37-80D0-526226480253}"/>
                </c:ext>
              </c:extLst>
            </c:dLbl>
            <c:dLbl>
              <c:idx val="4"/>
              <c:layout>
                <c:manualLayout>
                  <c:x val="0"/>
                  <c:y val="-0.467263306641544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9D-4A37-80D0-526226480253}"/>
                </c:ext>
              </c:extLst>
            </c:dLbl>
            <c:dLbl>
              <c:idx val="5"/>
              <c:layout>
                <c:manualLayout>
                  <c:x val="0"/>
                  <c:y val="-0.488459726801695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9D-4A37-80D0-5262264802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167.8</c:v>
                </c:pt>
                <c:pt idx="1">
                  <c:v>5341.8</c:v>
                </c:pt>
                <c:pt idx="2">
                  <c:v>5823.2000000000007</c:v>
                </c:pt>
                <c:pt idx="3">
                  <c:v>6298.8</c:v>
                </c:pt>
                <c:pt idx="4">
                  <c:v>7076</c:v>
                </c:pt>
                <c:pt idx="5">
                  <c:v>7424</c:v>
                </c:pt>
              </c:numCache>
            </c:numRef>
          </c:val>
          <c:extLst>
            <c:ext xmlns:c16="http://schemas.microsoft.com/office/drawing/2014/chart" uri="{C3380CC4-5D6E-409C-BE32-E72D297353CC}">
              <c16:uniqueId val="{00000006-799D-4A37-80D0-526226480253}"/>
            </c:ext>
          </c:extLst>
        </c:ser>
        <c:dLbls>
          <c:showLegendKey val="0"/>
          <c:showVal val="0"/>
          <c:showCatName val="0"/>
          <c:showSerName val="0"/>
          <c:showPercent val="0"/>
          <c:showBubbleSize val="0"/>
        </c:dLbls>
        <c:gapWidth val="80"/>
        <c:overlap val="100"/>
        <c:axId val="62909120"/>
        <c:axId val="1"/>
      </c:barChart>
      <c:catAx>
        <c:axId val="62909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424"/>
          <c:min val="0"/>
        </c:scaling>
        <c:delete val="1"/>
        <c:axPos val="l"/>
        <c:numFmt formatCode="General" sourceLinked="1"/>
        <c:majorTickMark val="out"/>
        <c:minorTickMark val="none"/>
        <c:tickLblPos val="nextTo"/>
        <c:crossAx val="6290912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40871483728626E-2"/>
          <c:y val="9.2478894858019953E-2"/>
          <c:w val="0.97131825703254271"/>
          <c:h val="0.84305448963929397"/>
        </c:manualLayout>
      </c:layout>
      <c:barChart>
        <c:barDir val="col"/>
        <c:grouping val="stacked"/>
        <c:varyColors val="0"/>
        <c:ser>
          <c:idx val="0"/>
          <c:order val="0"/>
          <c:spPr>
            <a:solidFill>
              <a:schemeClr val="accent1"/>
            </a:solidFill>
            <a:ln>
              <a:noFill/>
            </a:ln>
          </c:spPr>
          <c:invertIfNegative val="0"/>
          <c:dLbls>
            <c:dLbl>
              <c:idx val="0"/>
              <c:layout>
                <c:manualLayout>
                  <c:x val="0"/>
                  <c:y val="-0.4071373752877973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AA-442F-B22E-524A6187657F}"/>
                </c:ext>
              </c:extLst>
            </c:dLbl>
            <c:dLbl>
              <c:idx val="1"/>
              <c:layout>
                <c:manualLayout>
                  <c:x val="0"/>
                  <c:y val="-0.39754412893323099"/>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AA-442F-B22E-524A6187657F}"/>
                </c:ext>
              </c:extLst>
            </c:dLbl>
            <c:dLbl>
              <c:idx val="2"/>
              <c:layout>
                <c:manualLayout>
                  <c:x val="0"/>
                  <c:y val="-0.416730621642363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AA-442F-B22E-524A6187657F}"/>
                </c:ext>
              </c:extLst>
            </c:dLbl>
            <c:dLbl>
              <c:idx val="3"/>
              <c:layout>
                <c:manualLayout>
                  <c:x val="0"/>
                  <c:y val="-0.4501151189562547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AA-442F-B22E-524A6187657F}"/>
                </c:ext>
              </c:extLst>
            </c:dLbl>
            <c:dLbl>
              <c:idx val="4"/>
              <c:layout>
                <c:manualLayout>
                  <c:x val="0"/>
                  <c:y val="-0.4478127398311588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AA-442F-B22E-524A6187657F}"/>
                </c:ext>
              </c:extLst>
            </c:dLbl>
            <c:dLbl>
              <c:idx val="5"/>
              <c:layout>
                <c:manualLayout>
                  <c:x val="0"/>
                  <c:y val="-0.4501151189562547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AA-442F-B22E-524A6187657F}"/>
                </c:ext>
              </c:extLst>
            </c:dLbl>
            <c:dLbl>
              <c:idx val="6"/>
              <c:layout>
                <c:manualLayout>
                  <c:x val="0"/>
                  <c:y val="-0.43591711435149655"/>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AA-442F-B22E-524A6187657F}"/>
                </c:ext>
              </c:extLst>
            </c:dLbl>
            <c:dLbl>
              <c:idx val="7"/>
              <c:layout>
                <c:manualLayout>
                  <c:x val="0"/>
                  <c:y val="-0.419033000767459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AAA-442F-B22E-524A6187657F}"/>
                </c:ext>
              </c:extLst>
            </c:dLbl>
            <c:dLbl>
              <c:idx val="8"/>
              <c:layout>
                <c:manualLayout>
                  <c:x val="0"/>
                  <c:y val="-0.4382194934765925"/>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AAA-442F-B22E-524A6187657F}"/>
                </c:ext>
              </c:extLst>
            </c:dLbl>
            <c:dLbl>
              <c:idx val="9"/>
              <c:layout>
                <c:manualLayout>
                  <c:x val="0"/>
                  <c:y val="-0.3906369915579431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AAA-442F-B22E-524A6187657F}"/>
                </c:ext>
              </c:extLst>
            </c:dLbl>
            <c:dLbl>
              <c:idx val="10"/>
              <c:layout>
                <c:manualLayout>
                  <c:x val="0"/>
                  <c:y val="-0.4117421335379892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AAA-442F-B22E-524A6187657F}"/>
                </c:ext>
              </c:extLst>
            </c:dLbl>
            <c:dLbl>
              <c:idx val="11"/>
              <c:layout>
                <c:manualLayout>
                  <c:x val="0"/>
                  <c:y val="-0.4048349961627014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AAA-442F-B22E-524A6187657F}"/>
                </c:ext>
              </c:extLst>
            </c:dLbl>
            <c:dLbl>
              <c:idx val="12"/>
              <c:layout>
                <c:manualLayout>
                  <c:x val="0"/>
                  <c:y val="-0.40253261703760551"/>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AAA-442F-B22E-524A6187657F}"/>
                </c:ext>
              </c:extLst>
            </c:dLbl>
            <c:dLbl>
              <c:idx val="13"/>
              <c:layout>
                <c:manualLayout>
                  <c:x val="0"/>
                  <c:y val="-0.39754412893323099"/>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AAA-442F-B22E-524A6187657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5.9</c:v>
                </c:pt>
                <c:pt idx="1">
                  <c:v>15.5</c:v>
                </c:pt>
                <c:pt idx="2">
                  <c:v>16.3</c:v>
                </c:pt>
                <c:pt idx="3">
                  <c:v>17.7</c:v>
                </c:pt>
                <c:pt idx="4">
                  <c:v>17.600000000000001</c:v>
                </c:pt>
                <c:pt idx="5">
                  <c:v>17.7</c:v>
                </c:pt>
                <c:pt idx="6">
                  <c:v>17.100000000000001</c:v>
                </c:pt>
                <c:pt idx="7">
                  <c:v>16.399999999999999</c:v>
                </c:pt>
                <c:pt idx="8">
                  <c:v>17.2</c:v>
                </c:pt>
                <c:pt idx="9">
                  <c:v>15.2</c:v>
                </c:pt>
                <c:pt idx="10">
                  <c:v>16.100000000000001</c:v>
                </c:pt>
                <c:pt idx="11">
                  <c:v>15.8</c:v>
                </c:pt>
                <c:pt idx="12">
                  <c:v>15.7</c:v>
                </c:pt>
                <c:pt idx="13">
                  <c:v>15.5</c:v>
                </c:pt>
              </c:numCache>
            </c:numRef>
          </c:val>
          <c:extLst>
            <c:ext xmlns:c16="http://schemas.microsoft.com/office/drawing/2014/chart" uri="{C3380CC4-5D6E-409C-BE32-E72D297353CC}">
              <c16:uniqueId val="{0000000E-9AAA-442F-B22E-524A6187657F}"/>
            </c:ext>
          </c:extLst>
        </c:ser>
        <c:dLbls>
          <c:showLegendKey val="0"/>
          <c:showVal val="0"/>
          <c:showCatName val="0"/>
          <c:showSerName val="0"/>
          <c:showPercent val="0"/>
          <c:showBubbleSize val="0"/>
        </c:dLbls>
        <c:gapWidth val="80"/>
        <c:overlap val="100"/>
        <c:axId val="1593673551"/>
        <c:axId val="1"/>
      </c:barChart>
      <c:catAx>
        <c:axId val="1593673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7.7"/>
          <c:min val="0"/>
        </c:scaling>
        <c:delete val="1"/>
        <c:axPos val="l"/>
        <c:numFmt formatCode="General" sourceLinked="1"/>
        <c:majorTickMark val="out"/>
        <c:minorTickMark val="none"/>
        <c:tickLblPos val="nextTo"/>
        <c:crossAx val="1593673551"/>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24119043271863E-2"/>
          <c:y val="3.9772727272727272E-2"/>
          <c:w val="0.94778163228044554"/>
          <c:h val="0.92045454545454541"/>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17.043412803270002</c:v>
                </c:pt>
                <c:pt idx="1">
                  <c:v>16.994246911460003</c:v>
                </c:pt>
                <c:pt idx="2">
                  <c:v>16.521057604460001</c:v>
                </c:pt>
                <c:pt idx="3">
                  <c:v>17.933356056159997</c:v>
                </c:pt>
                <c:pt idx="4">
                  <c:v>18.476858964439998</c:v>
                </c:pt>
                <c:pt idx="5">
                  <c:v>19.23818101106</c:v>
                </c:pt>
                <c:pt idx="6">
                  <c:v>20.359009627389995</c:v>
                </c:pt>
                <c:pt idx="7">
                  <c:v>21.539393455229998</c:v>
                </c:pt>
                <c:pt idx="8">
                  <c:v>23.00972750095</c:v>
                </c:pt>
                <c:pt idx="9">
                  <c:v>24.243726692589998</c:v>
                </c:pt>
                <c:pt idx="10">
                  <c:v>25.451570766239996</c:v>
                </c:pt>
                <c:pt idx="11">
                  <c:v>26.766030251309996</c:v>
                </c:pt>
                <c:pt idx="12">
                  <c:v>27.614274003390001</c:v>
                </c:pt>
                <c:pt idx="13">
                  <c:v>28.650376817459996</c:v>
                </c:pt>
                <c:pt idx="14">
                  <c:v>28.223955646249998</c:v>
                </c:pt>
                <c:pt idx="15">
                  <c:v>29.257131018290004</c:v>
                </c:pt>
                <c:pt idx="16">
                  <c:v>29.548710680580001</c:v>
                </c:pt>
                <c:pt idx="17">
                  <c:v>29.511695808230005</c:v>
                </c:pt>
                <c:pt idx="18">
                  <c:v>30.364983638740007</c:v>
                </c:pt>
                <c:pt idx="19">
                  <c:v>31.063850160480001</c:v>
                </c:pt>
                <c:pt idx="20">
                  <c:v>31.887665330720001</c:v>
                </c:pt>
                <c:pt idx="21">
                  <c:v>32.142492207530005</c:v>
                </c:pt>
                <c:pt idx="22">
                  <c:v>33.061548362209997</c:v>
                </c:pt>
                <c:pt idx="23">
                  <c:v>33.919036186979994</c:v>
                </c:pt>
              </c:numCache>
            </c:numRef>
          </c:val>
          <c:extLst>
            <c:ext xmlns:c16="http://schemas.microsoft.com/office/drawing/2014/chart" uri="{C3380CC4-5D6E-409C-BE32-E72D297353CC}">
              <c16:uniqueId val="{00000000-2547-458E-8EA5-0F1ACDF4136A}"/>
            </c:ext>
          </c:extLst>
        </c:ser>
        <c:dLbls>
          <c:showLegendKey val="0"/>
          <c:showVal val="0"/>
          <c:showCatName val="0"/>
          <c:showSerName val="0"/>
          <c:showPercent val="0"/>
          <c:showBubbleSize val="0"/>
        </c:dLbls>
        <c:gapWidth val="60"/>
        <c:overlap val="100"/>
        <c:axId val="904017439"/>
        <c:axId val="1"/>
      </c:barChart>
      <c:catAx>
        <c:axId val="9040174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904017439"/>
        <c:crosses val="min"/>
        <c:crossBetween val="between"/>
        <c:majorUnit val="2"/>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404244395002573E-2"/>
          <c:y val="5.8774834437086095E-2"/>
          <c:w val="0.92469621769638888"/>
          <c:h val="0.882450331125827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Pt>
            <c:idx val="0"/>
            <c:invertIfNegative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D2A-4D33-B0A9-28C8E7D12EB0}"/>
              </c:ext>
            </c:extLst>
          </c:dPt>
          <c:dPt>
            <c:idx val="1"/>
            <c:invertIfNegative val="0"/>
            <c:bubble3D val="0"/>
            <c:spPr>
              <a:solidFill>
                <a:srgbClr val="1F497D"/>
              </a:solidFill>
              <a:ln w="9525" cmpd="sng" algn="ctr">
                <a:solidFill>
                  <a:srgbClr val="1F497D"/>
                </a:solidFill>
                <a:prstDash val="solid"/>
              </a:ln>
            </c:spPr>
            <c:extLst>
              <c:ext xmlns:c16="http://schemas.microsoft.com/office/drawing/2014/chart" uri="{C3380CC4-5D6E-409C-BE32-E72D297353CC}">
                <c16:uniqueId val="{00000001-5D2A-4D33-B0A9-28C8E7D12EB0}"/>
              </c:ext>
            </c:extLst>
          </c:dPt>
          <c:dLbls>
            <c:dLbl>
              <c:idx val="0"/>
              <c:layout>
                <c:manualLayout>
                  <c:x val="0"/>
                  <c:y val="0"/>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2A-4D33-B0A9-28C8E7D12EB0}"/>
                </c:ext>
              </c:extLst>
            </c:dLbl>
            <c:dLbl>
              <c:idx val="1"/>
              <c:layout>
                <c:manualLayout>
                  <c:x val="0"/>
                  <c:y val="-4.1390728476821192E-4"/>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2A-4D33-B0A9-28C8E7D12EB0}"/>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2A-4D33-B0A9-28C8E7D12EB0}"/>
                </c:ext>
              </c:extLst>
            </c:dLbl>
            <c:dLbl>
              <c:idx val="3"/>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2A-4D33-B0A9-28C8E7D12EB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04</c:v>
                </c:pt>
                <c:pt idx="1">
                  <c:v>1266</c:v>
                </c:pt>
                <c:pt idx="2">
                  <c:v>1248.5</c:v>
                </c:pt>
                <c:pt idx="3">
                  <c:v>11326.8</c:v>
                </c:pt>
              </c:numCache>
            </c:numRef>
          </c:val>
          <c:extLst>
            <c:ext xmlns:c16="http://schemas.microsoft.com/office/drawing/2014/chart" uri="{C3380CC4-5D6E-409C-BE32-E72D297353CC}">
              <c16:uniqueId val="{00000004-5D2A-4D33-B0A9-28C8E7D12EB0}"/>
            </c:ext>
          </c:extLst>
        </c:ser>
        <c:dLbls>
          <c:showLegendKey val="0"/>
          <c:showVal val="0"/>
          <c:showCatName val="0"/>
          <c:showSerName val="0"/>
          <c:showPercent val="0"/>
          <c:showBubbleSize val="0"/>
        </c:dLbls>
        <c:gapWidth val="60"/>
        <c:overlap val="100"/>
        <c:axId val="1776656447"/>
        <c:axId val="1"/>
      </c:barChart>
      <c:catAx>
        <c:axId val="17766564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76656447"/>
        <c:crosses val="min"/>
        <c:crossBetween val="between"/>
        <c:majorUnit val="1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968149513029745E-2"/>
          <c:y val="6.3534675615212532E-2"/>
          <c:w val="0.90734403790471174"/>
          <c:h val="0.8729306487695749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4.4742729306487697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99-4D81-BD0F-EEFDF157C810}"/>
                </c:ext>
              </c:extLst>
            </c:dLbl>
            <c:dLbl>
              <c:idx val="1"/>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99-4D81-BD0F-EEFDF157C810}"/>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99-4D81-BD0F-EEFDF157C810}"/>
                </c:ext>
              </c:extLst>
            </c:dLbl>
            <c:dLbl>
              <c:idx val="3"/>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99-4D81-BD0F-EEFDF157C810}"/>
                </c:ext>
              </c:extLst>
            </c:dLbl>
            <c:dLbl>
              <c:idx val="4"/>
              <c:layout>
                <c:manualLayout>
                  <c:x val="0"/>
                  <c:y val="-4.4742729306487697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99-4D81-BD0F-EEFDF157C810}"/>
                </c:ext>
              </c:extLst>
            </c:dLbl>
            <c:dLbl>
              <c:idx val="5"/>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99-4D81-BD0F-EEFDF157C810}"/>
                </c:ext>
              </c:extLst>
            </c:dLbl>
            <c:dLbl>
              <c:idx val="6"/>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99-4D81-BD0F-EEFDF157C810}"/>
                </c:ext>
              </c:extLst>
            </c:dLbl>
            <c:dLbl>
              <c:idx val="7"/>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99-4D81-BD0F-EEFDF157C8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03399</c:v>
                </c:pt>
                <c:pt idx="1">
                  <c:v>0.119185</c:v>
                </c:pt>
                <c:pt idx="2">
                  <c:v>0.133905</c:v>
                </c:pt>
                <c:pt idx="3">
                  <c:v>0.11014400000000001</c:v>
                </c:pt>
                <c:pt idx="4">
                  <c:v>0.11325200000000001</c:v>
                </c:pt>
                <c:pt idx="5">
                  <c:v>0.10564</c:v>
                </c:pt>
                <c:pt idx="6">
                  <c:v>0.106396</c:v>
                </c:pt>
                <c:pt idx="7">
                  <c:v>0.11035300000000001</c:v>
                </c:pt>
              </c:numCache>
            </c:numRef>
          </c:val>
          <c:extLst>
            <c:ext xmlns:c16="http://schemas.microsoft.com/office/drawing/2014/chart" uri="{C3380CC4-5D6E-409C-BE32-E72D297353CC}">
              <c16:uniqueId val="{00000008-7C99-4D81-BD0F-EEFDF157C810}"/>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99-4D81-BD0F-EEFDF157C810}"/>
                </c:ext>
              </c:extLst>
            </c:dLbl>
            <c:dLbl>
              <c:idx val="1"/>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99-4D81-BD0F-EEFDF157C810}"/>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99-4D81-BD0F-EEFDF157C810}"/>
                </c:ext>
              </c:extLst>
            </c:dLbl>
            <c:dLbl>
              <c:idx val="3"/>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C99-4D81-BD0F-EEFDF157C810}"/>
                </c:ext>
              </c:extLst>
            </c:dLbl>
            <c:dLbl>
              <c:idx val="4"/>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C99-4D81-BD0F-EEFDF157C810}"/>
                </c:ext>
              </c:extLst>
            </c:dLbl>
            <c:dLbl>
              <c:idx val="5"/>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99-4D81-BD0F-EEFDF157C810}"/>
                </c:ext>
              </c:extLst>
            </c:dLbl>
            <c:dLbl>
              <c:idx val="6"/>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99-4D81-BD0F-EEFDF157C810}"/>
                </c:ext>
              </c:extLst>
            </c:dLbl>
            <c:dLbl>
              <c:idx val="7"/>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C99-4D81-BD0F-EEFDF157C8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61278299999999997</c:v>
                </c:pt>
                <c:pt idx="1">
                  <c:v>0.63977300000000004</c:v>
                </c:pt>
                <c:pt idx="2">
                  <c:v>0.54620000000000002</c:v>
                </c:pt>
                <c:pt idx="3">
                  <c:v>0.612375</c:v>
                </c:pt>
                <c:pt idx="4">
                  <c:v>0.65069200000000005</c:v>
                </c:pt>
                <c:pt idx="5">
                  <c:v>0.68152599999999997</c:v>
                </c:pt>
                <c:pt idx="6">
                  <c:v>0.69378099999999998</c:v>
                </c:pt>
                <c:pt idx="7">
                  <c:v>0.76205999999999996</c:v>
                </c:pt>
              </c:numCache>
            </c:numRef>
          </c:val>
          <c:extLst>
            <c:ext xmlns:c16="http://schemas.microsoft.com/office/drawing/2014/chart" uri="{C3380CC4-5D6E-409C-BE32-E72D297353CC}">
              <c16:uniqueId val="{00000011-7C99-4D81-BD0F-EEFDF157C810}"/>
            </c:ext>
          </c:extLst>
        </c:ser>
        <c:dLbls>
          <c:showLegendKey val="0"/>
          <c:showVal val="0"/>
          <c:showCatName val="0"/>
          <c:showSerName val="0"/>
          <c:showPercent val="0"/>
          <c:showBubbleSize val="0"/>
        </c:dLbls>
        <c:gapWidth val="60"/>
        <c:axId val="1866082223"/>
        <c:axId val="1"/>
      </c:barChart>
      <c:catAx>
        <c:axId val="18660822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0.00;&quot;-&quot;#,##0.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66082223"/>
        <c:crosses val="min"/>
        <c:crossBetween val="between"/>
        <c:majorUnit val="0.05"/>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15873015873019E-2"/>
          <c:y val="0.1043571812802582"/>
          <c:w val="0.933968253968254"/>
          <c:h val="0.79128563743948355"/>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B6D-4AFB-B585-5A77600B726E}"/>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B6D-4AFB-B585-5A77600B726E}"/>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B6D-4AFB-B585-5A77600B726E}"/>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AB6D-4AFB-B585-5A77600B726E}"/>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AB6D-4AFB-B585-5A77600B726E}"/>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AB6D-4AFB-B585-5A77600B726E}"/>
              </c:ext>
            </c:extLst>
          </c:dPt>
          <c:dLbls>
            <c:dLbl>
              <c:idx val="0"/>
              <c:layout>
                <c:manualLayout>
                  <c:x val="0.11492063492063492"/>
                  <c:y val="-0.10597095212479828"/>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6D-4AFB-B585-5A77600B726E}"/>
                </c:ext>
              </c:extLst>
            </c:dLbl>
            <c:dLbl>
              <c:idx val="1"/>
              <c:layout>
                <c:manualLayout>
                  <c:x val="0.15301587301587302"/>
                  <c:y val="5.809575040344271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6D-4AFB-B585-5A77600B726E}"/>
                </c:ext>
              </c:extLst>
            </c:dLbl>
            <c:dLbl>
              <c:idx val="2"/>
              <c:layout>
                <c:manualLayout>
                  <c:x val="5.7142857142857141E-2"/>
                  <c:y val="0.1447014523937600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6D-4AFB-B585-5A77600B726E}"/>
                </c:ext>
              </c:extLst>
            </c:dLbl>
            <c:dLbl>
              <c:idx val="3"/>
              <c:layout>
                <c:manualLayout>
                  <c:x val="-3.6825396825396824E-2"/>
                  <c:y val="0.157073695535234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6D-4AFB-B585-5A77600B726E}"/>
                </c:ext>
              </c:extLst>
            </c:dLbl>
            <c:dLbl>
              <c:idx val="4"/>
              <c:layout>
                <c:manualLayout>
                  <c:x val="-9.2063492063492069E-2"/>
                  <c:y val="0.1328671328671328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6D-4AFB-B585-5A77600B726E}"/>
                </c:ext>
              </c:extLst>
            </c:dLbl>
            <c:dLbl>
              <c:idx val="5"/>
              <c:layout>
                <c:manualLayout>
                  <c:x val="-0.15936507936507938"/>
                  <c:y val="-4.679935449166218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B6D-4AFB-B585-5A77600B72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3.6495813977902</c:v>
                </c:pt>
                <c:pt idx="1">
                  <c:v>16.116447523817023</c:v>
                </c:pt>
                <c:pt idx="2">
                  <c:v>10.239482455449703</c:v>
                </c:pt>
                <c:pt idx="3">
                  <c:v>6.2244442694800934</c:v>
                </c:pt>
                <c:pt idx="4">
                  <c:v>4.4252421069207148</c:v>
                </c:pt>
                <c:pt idx="5">
                  <c:v>39.344802246542265</c:v>
                </c:pt>
              </c:numCache>
            </c:numRef>
          </c:val>
          <c:extLst>
            <c:ext xmlns:c16="http://schemas.microsoft.com/office/drawing/2014/chart" uri="{C3380CC4-5D6E-409C-BE32-E72D297353CC}">
              <c16:uniqueId val="{00000006-AB6D-4AFB-B585-5A77600B726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034885811904333E-2"/>
          <c:y val="5.7119871279163313E-2"/>
          <c:w val="0.91997842114727568"/>
          <c:h val="0.84794851166532581"/>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4B-45EC-8992-6AE1253F83EF}"/>
                </c:ext>
              </c:extLst>
            </c:dLbl>
            <c:dLbl>
              <c:idx val="1"/>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4B-45EC-8992-6AE1253F83EF}"/>
                </c:ext>
              </c:extLst>
            </c:dLbl>
            <c:dLbl>
              <c:idx val="2"/>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4B-45EC-8992-6AE1253F83EF}"/>
                </c:ext>
              </c:extLst>
            </c:dLbl>
            <c:dLbl>
              <c:idx val="3"/>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2:$D$2</c:f>
              <c:numCache>
                <c:formatCode>General</c:formatCode>
                <c:ptCount val="4"/>
                <c:pt idx="0">
                  <c:v>4.6710000000000003</c:v>
                </c:pt>
                <c:pt idx="1">
                  <c:v>4.5140000000000002</c:v>
                </c:pt>
                <c:pt idx="2">
                  <c:v>4.1150000000000002</c:v>
                </c:pt>
                <c:pt idx="3">
                  <c:v>4.117</c:v>
                </c:pt>
              </c:numCache>
            </c:numRef>
          </c:yVal>
          <c:smooth val="0"/>
          <c:extLst>
            <c:ext xmlns:c16="http://schemas.microsoft.com/office/drawing/2014/chart" uri="{C3380CC4-5D6E-409C-BE32-E72D297353CC}">
              <c16:uniqueId val="{00000004-F44B-45EC-8992-6AE1253F83E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4B-45EC-8992-6AE1253F83EF}"/>
                </c:ext>
              </c:extLst>
            </c:dLbl>
            <c:dLbl>
              <c:idx val="1"/>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4B-45EC-8992-6AE1253F83EF}"/>
                </c:ext>
              </c:extLst>
            </c:dLbl>
            <c:dLbl>
              <c:idx val="2"/>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4B-45EC-8992-6AE1253F83EF}"/>
                </c:ext>
              </c:extLst>
            </c:dLbl>
            <c:dLbl>
              <c:idx val="3"/>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3:$D$3</c:f>
              <c:numCache>
                <c:formatCode>General</c:formatCode>
                <c:ptCount val="4"/>
                <c:pt idx="0">
                  <c:v>2.59</c:v>
                </c:pt>
                <c:pt idx="1">
                  <c:v>2.4500000000000002</c:v>
                </c:pt>
                <c:pt idx="2">
                  <c:v>2.1930000000000001</c:v>
                </c:pt>
                <c:pt idx="3">
                  <c:v>2.15</c:v>
                </c:pt>
              </c:numCache>
            </c:numRef>
          </c:yVal>
          <c:smooth val="0"/>
          <c:extLst>
            <c:ext xmlns:c16="http://schemas.microsoft.com/office/drawing/2014/chart" uri="{C3380CC4-5D6E-409C-BE32-E72D297353CC}">
              <c16:uniqueId val="{00000009-F44B-45EC-8992-6AE1253F83E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4:$D$4</c:f>
              <c:numCache>
                <c:formatCode>General</c:formatCode>
                <c:ptCount val="4"/>
                <c:pt idx="0">
                  <c:v>2.0760000000000001</c:v>
                </c:pt>
                <c:pt idx="1">
                  <c:v>2.0590000000000002</c:v>
                </c:pt>
                <c:pt idx="2">
                  <c:v>1.923</c:v>
                </c:pt>
                <c:pt idx="3">
                  <c:v>1.96</c:v>
                </c:pt>
              </c:numCache>
            </c:numRef>
          </c:yVal>
          <c:smooth val="0"/>
          <c:extLst>
            <c:ext xmlns:c16="http://schemas.microsoft.com/office/drawing/2014/chart" uri="{C3380CC4-5D6E-409C-BE32-E72D297353CC}">
              <c16:uniqueId val="{0000000B-F44B-45EC-8992-6AE1253F83E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4B-45EC-8992-6AE1253F83EF}"/>
                </c:ext>
              </c:extLst>
            </c:dLbl>
            <c:dLbl>
              <c:idx val="1"/>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44B-45EC-8992-6AE1253F83EF}"/>
                </c:ext>
              </c:extLst>
            </c:dLbl>
            <c:dLbl>
              <c:idx val="2"/>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44B-45EC-8992-6AE1253F83EF}"/>
                </c:ext>
              </c:extLst>
            </c:dLbl>
            <c:dLbl>
              <c:idx val="3"/>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5:$D$5</c:f>
              <c:numCache>
                <c:formatCode>General</c:formatCode>
                <c:ptCount val="4"/>
                <c:pt idx="0">
                  <c:v>0.57199999999999995</c:v>
                </c:pt>
                <c:pt idx="1">
                  <c:v>0.55500000000000005</c:v>
                </c:pt>
                <c:pt idx="2">
                  <c:v>0.499</c:v>
                </c:pt>
                <c:pt idx="3">
                  <c:v>0.48799999999999999</c:v>
                </c:pt>
              </c:numCache>
            </c:numRef>
          </c:yVal>
          <c:smooth val="0"/>
          <c:extLst>
            <c:ext xmlns:c16="http://schemas.microsoft.com/office/drawing/2014/chart" uri="{C3380CC4-5D6E-409C-BE32-E72D297353CC}">
              <c16:uniqueId val="{00000010-F44B-45EC-8992-6AE1253F83EF}"/>
            </c:ext>
          </c:extLst>
        </c:ser>
        <c:dLbls>
          <c:showLegendKey val="0"/>
          <c:showVal val="0"/>
          <c:showCatName val="0"/>
          <c:showSerName val="0"/>
          <c:showPercent val="0"/>
          <c:showBubbleSize val="0"/>
        </c:dLbls>
        <c:axId val="4"/>
        <c:axId val="5"/>
      </c:scatterChart>
      <c:valAx>
        <c:axId val="4"/>
        <c:scaling>
          <c:orientation val="minMax"/>
          <c:max val="2024"/>
          <c:min val="2021"/>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0.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253-4790-8D3B-6AD44DD5222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253-4790-8D3B-6AD44DD5222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253-4790-8D3B-6AD44DD52224}"/>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253-4790-8D3B-6AD44DD52224}"/>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253-4790-8D3B-6AD44DD52224}"/>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253-4790-8D3B-6AD44DD52224}"/>
              </c:ext>
            </c:extLst>
          </c:dPt>
          <c:dLbls>
            <c:dLbl>
              <c:idx val="0"/>
              <c:layout>
                <c:manualLayout>
                  <c:x val="0.10330578512396695"/>
                  <c:y val="-8.8266953713670618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53-4790-8D3B-6AD44DD52224}"/>
                </c:ext>
              </c:extLst>
            </c:dLbl>
            <c:dLbl>
              <c:idx val="1"/>
              <c:layout>
                <c:manualLayout>
                  <c:x val="0.128099173553719"/>
                  <c:y val="4.628632938643702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53-4790-8D3B-6AD44DD52224}"/>
                </c:ext>
              </c:extLst>
            </c:dLbl>
            <c:dLbl>
              <c:idx val="2"/>
              <c:layout>
                <c:manualLayout>
                  <c:x val="8.4415584415584416E-2"/>
                  <c:y val="0.11948331539289558"/>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53-4790-8D3B-6AD44DD52224}"/>
                </c:ext>
              </c:extLst>
            </c:dLbl>
            <c:dLbl>
              <c:idx val="3"/>
              <c:layout>
                <c:manualLayout>
                  <c:x val="7.6741440377804011E-3"/>
                  <c:y val="0.1603875134553283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53-4790-8D3B-6AD44DD52224}"/>
                </c:ext>
              </c:extLst>
            </c:dLbl>
            <c:dLbl>
              <c:idx val="4"/>
              <c:layout>
                <c:manualLayout>
                  <c:x val="-6.02125147579693E-2"/>
                  <c:y val="0.1372443487621098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53-4790-8D3B-6AD44DD52224}"/>
                </c:ext>
              </c:extLst>
            </c:dLbl>
            <c:dLbl>
              <c:idx val="5"/>
              <c:layout>
                <c:manualLayout>
                  <c:x val="-0.13282172373081463"/>
                  <c:y val="-3.6598493003229281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53-4790-8D3B-6AD44DD5222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6.056259320404777</c:v>
                </c:pt>
                <c:pt idx="1">
                  <c:v>9.953753229210907</c:v>
                </c:pt>
                <c:pt idx="2">
                  <c:v>9.8133284582493765</c:v>
                </c:pt>
                <c:pt idx="3">
                  <c:v>6.9728203425119029</c:v>
                </c:pt>
                <c:pt idx="4">
                  <c:v>6.5406888557496723</c:v>
                </c:pt>
                <c:pt idx="5">
                  <c:v>40.663149793873373</c:v>
                </c:pt>
              </c:numCache>
            </c:numRef>
          </c:val>
          <c:extLst>
            <c:ext xmlns:c16="http://schemas.microsoft.com/office/drawing/2014/chart" uri="{C3380CC4-5D6E-409C-BE32-E72D297353CC}">
              <c16:uniqueId val="{00000006-B253-4790-8D3B-6AD44DD5222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EC-4527-BAE7-FD0626952138}"/>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1EC-4527-BAE7-FD062695213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1EC-4527-BAE7-FD062695213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EC-4527-BAE7-FD062695213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EC-4527-BAE7-FD062695213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1EC-4527-BAE7-FD062695213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1EC-4527-BAE7-FD062695213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1EC-4527-BAE7-FD0626952138}"/>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1EC-4527-BAE7-FD0626952138}"/>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1EC-4527-BAE7-FD0626952138}"/>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1EC-4527-BAE7-FD062695213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2589954883628</c:v>
                </c:pt>
                <c:pt idx="1">
                  <c:v>59.824175837899702</c:v>
                </c:pt>
                <c:pt idx="2">
                  <c:v>62.629912056056902</c:v>
                </c:pt>
                <c:pt idx="3">
                  <c:v>63.2096349937231</c:v>
                </c:pt>
                <c:pt idx="4">
                  <c:v>63.4373088310982</c:v>
                </c:pt>
                <c:pt idx="5">
                  <c:v>63.815401100252203</c:v>
                </c:pt>
                <c:pt idx="6">
                  <c:v>64.638975568169499</c:v>
                </c:pt>
                <c:pt idx="7">
                  <c:v>65.786644147966896</c:v>
                </c:pt>
                <c:pt idx="8">
                  <c:v>67.233158202940899</c:v>
                </c:pt>
                <c:pt idx="9">
                  <c:v>68.953266072067095</c:v>
                </c:pt>
                <c:pt idx="10">
                  <c:v>70.921753857073497</c:v>
                </c:pt>
              </c:numCache>
            </c:numRef>
          </c:val>
          <c:smooth val="0"/>
          <c:extLst>
            <c:ext xmlns:c16="http://schemas.microsoft.com/office/drawing/2014/chart" uri="{C3380CC4-5D6E-409C-BE32-E72D297353CC}">
              <c16:uniqueId val="{0000000B-E1EC-4527-BAE7-FD062695213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E1EC-4527-BAE7-FD0626952138}"/>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E1EC-4527-BAE7-FD0626952138}"/>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E1EC-4527-BAE7-FD0626952138}"/>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E1EC-4527-BAE7-FD0626952138}"/>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E1EC-4527-BAE7-FD0626952138}"/>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E1EC-4527-BAE7-FD0626952138}"/>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E1EC-4527-BAE7-FD0626952138}"/>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E1EC-4527-BAE7-FD0626952138}"/>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E1EC-4527-BAE7-FD0626952138}"/>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5-E1EC-4527-BAE7-FD0626952138}"/>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6-E1EC-4527-BAE7-FD0626952138}"/>
              </c:ext>
            </c:extLst>
          </c:dPt>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1EC-4527-BAE7-FD0626952138}"/>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1EC-4527-BAE7-FD062695213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1EC-4527-BAE7-FD062695213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1EC-4527-BAE7-FD062695213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1EC-4527-BAE7-FD062695213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1EC-4527-BAE7-FD062695213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1EC-4527-BAE7-FD062695213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1EC-4527-BAE7-FD0626952138}"/>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1EC-4527-BAE7-FD0626952138}"/>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1EC-4527-BAE7-FD0626952138}"/>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1EC-4527-BAE7-FD062695213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3.7410045116372</c:v>
                </c:pt>
                <c:pt idx="1">
                  <c:v>40.175824162100298</c:v>
                </c:pt>
                <c:pt idx="2">
                  <c:v>37.370087943943098</c:v>
                </c:pt>
                <c:pt idx="3">
                  <c:v>36.7903650062769</c:v>
                </c:pt>
                <c:pt idx="4">
                  <c:v>36.5626911689018</c:v>
                </c:pt>
                <c:pt idx="5">
                  <c:v>36.184598899747797</c:v>
                </c:pt>
                <c:pt idx="6">
                  <c:v>35.361024431830501</c:v>
                </c:pt>
                <c:pt idx="7">
                  <c:v>34.213355852033096</c:v>
                </c:pt>
                <c:pt idx="8">
                  <c:v>32.766841797059101</c:v>
                </c:pt>
                <c:pt idx="9">
                  <c:v>31.046733927932902</c:v>
                </c:pt>
                <c:pt idx="10">
                  <c:v>29.078246142926499</c:v>
                </c:pt>
              </c:numCache>
            </c:numRef>
          </c:val>
          <c:smooth val="0"/>
          <c:extLst>
            <c:ext xmlns:c16="http://schemas.microsoft.com/office/drawing/2014/chart" uri="{C3380CC4-5D6E-409C-BE32-E72D297353CC}">
              <c16:uniqueId val="{00000017-E1EC-4527-BAE7-FD0626952138}"/>
            </c:ext>
          </c:extLst>
        </c:ser>
        <c:dLbls>
          <c:showLegendKey val="0"/>
          <c:showVal val="0"/>
          <c:showCatName val="0"/>
          <c:showSerName val="0"/>
          <c:showPercent val="0"/>
          <c:showBubbleSize val="0"/>
        </c:dLbls>
        <c:marker val="1"/>
        <c:smooth val="0"/>
        <c:axId val="1274354384"/>
        <c:axId val="1"/>
      </c:lineChart>
      <c:catAx>
        <c:axId val="12743543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4354384"/>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415543447089185E-2"/>
          <c:y val="4.2006000857265323E-2"/>
          <c:w val="0.91167192429022081"/>
          <c:h val="0.915987998285469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0.42929899999999999</c:v>
                </c:pt>
                <c:pt idx="1">
                  <c:v>0.43406699999999998</c:v>
                </c:pt>
                <c:pt idx="2">
                  <c:v>0.392121</c:v>
                </c:pt>
                <c:pt idx="3">
                  <c:v>0.89421300000000004</c:v>
                </c:pt>
                <c:pt idx="4">
                  <c:v>0.72488300000000006</c:v>
                </c:pt>
                <c:pt idx="5">
                  <c:v>0.451936</c:v>
                </c:pt>
                <c:pt idx="6">
                  <c:v>0.53820500000000004</c:v>
                </c:pt>
                <c:pt idx="7">
                  <c:v>0.55403100000000005</c:v>
                </c:pt>
              </c:numCache>
            </c:numRef>
          </c:val>
          <c:extLst>
            <c:ext xmlns:c16="http://schemas.microsoft.com/office/drawing/2014/chart" uri="{C3380CC4-5D6E-409C-BE32-E72D297353CC}">
              <c16:uniqueId val="{00000000-1B27-459C-A63E-F4D7AA7A774B}"/>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2.501754</c:v>
                </c:pt>
                <c:pt idx="1">
                  <c:v>2.4211</c:v>
                </c:pt>
                <c:pt idx="2">
                  <c:v>2.4015179999999998</c:v>
                </c:pt>
                <c:pt idx="3">
                  <c:v>3.0656099999999999</c:v>
                </c:pt>
                <c:pt idx="4">
                  <c:v>2.5355020000000001</c:v>
                </c:pt>
                <c:pt idx="5">
                  <c:v>2.417351</c:v>
                </c:pt>
                <c:pt idx="6">
                  <c:v>2.4248080000000001</c:v>
                </c:pt>
                <c:pt idx="7">
                  <c:v>2.5052560000000001</c:v>
                </c:pt>
              </c:numCache>
            </c:numRef>
          </c:val>
          <c:extLst>
            <c:ext xmlns:c16="http://schemas.microsoft.com/office/drawing/2014/chart" uri="{C3380CC4-5D6E-409C-BE32-E72D297353CC}">
              <c16:uniqueId val="{00000001-1B27-459C-A63E-F4D7AA7A774B}"/>
            </c:ext>
          </c:extLst>
        </c:ser>
        <c:dLbls>
          <c:showLegendKey val="0"/>
          <c:showVal val="0"/>
          <c:showCatName val="0"/>
          <c:showSerName val="0"/>
          <c:showPercent val="0"/>
          <c:showBubbleSize val="0"/>
        </c:dLbls>
        <c:gapWidth val="60"/>
        <c:axId val="1627927952"/>
        <c:axId val="1"/>
      </c:barChart>
      <c:catAx>
        <c:axId val="16279279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27927952"/>
        <c:crosses val="min"/>
        <c:crossBetween val="between"/>
        <c:majorUnit val="0.2"/>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536266133430284E-2"/>
          <c:y val="9.1854419410745236E-2"/>
          <c:w val="0.91510634430103621"/>
          <c:h val="0.8058925476603119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1.9632794037447738E-2"/>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48-431F-93B3-56326D35A93A}"/>
                </c:ext>
              </c:extLst>
            </c:dLbl>
            <c:dLbl>
              <c:idx val="1"/>
              <c:layout>
                <c:manualLayout>
                  <c:x val="0"/>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48-431F-93B3-56326D35A93A}"/>
                </c:ext>
              </c:extLst>
            </c:dLbl>
            <c:dLbl>
              <c:idx val="2"/>
              <c:layout>
                <c:manualLayout>
                  <c:x val="0"/>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48-431F-93B3-56326D35A93A}"/>
                </c:ext>
              </c:extLst>
            </c:dLbl>
            <c:dLbl>
              <c:idx val="4"/>
              <c:layout>
                <c:manualLayout>
                  <c:x val="0"/>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48-431F-93B3-56326D35A93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6</c:v>
                </c:pt>
                <c:pt idx="1">
                  <c:v>2017</c:v>
                </c:pt>
                <c:pt idx="2">
                  <c:v>2018</c:v>
                </c:pt>
                <c:pt idx="3">
                  <c:v>2019</c:v>
                </c:pt>
                <c:pt idx="4">
                  <c:v>2020</c:v>
                </c:pt>
              </c:numCache>
            </c:numRef>
          </c:xVal>
          <c:yVal>
            <c:numRef>
              <c:f>Sheet1!$A$2:$E$2</c:f>
              <c:numCache>
                <c:formatCode>General</c:formatCode>
                <c:ptCount val="5"/>
                <c:pt idx="0">
                  <c:v>24</c:v>
                </c:pt>
                <c:pt idx="1">
                  <c:v>24</c:v>
                </c:pt>
                <c:pt idx="2">
                  <c:v>25</c:v>
                </c:pt>
                <c:pt idx="3">
                  <c:v>25</c:v>
                </c:pt>
                <c:pt idx="4">
                  <c:v>196</c:v>
                </c:pt>
              </c:numCache>
            </c:numRef>
          </c:yVal>
          <c:smooth val="0"/>
          <c:extLst>
            <c:ext xmlns:c16="http://schemas.microsoft.com/office/drawing/2014/chart" uri="{C3380CC4-5D6E-409C-BE32-E72D297353CC}">
              <c16:uniqueId val="{00000004-9448-431F-93B3-56326D35A93A}"/>
            </c:ext>
          </c:extLst>
        </c:ser>
        <c:dLbls>
          <c:showLegendKey val="0"/>
          <c:showVal val="0"/>
          <c:showCatName val="0"/>
          <c:showSerName val="0"/>
          <c:showPercent val="0"/>
          <c:showBubbleSize val="0"/>
        </c:dLbls>
        <c:axId val="4"/>
        <c:axId val="5"/>
      </c:scatterChart>
      <c:valAx>
        <c:axId val="4"/>
        <c:scaling>
          <c:orientation val="minMax"/>
          <c:max val="2020"/>
          <c:min val="2016"/>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38043882484196E-2"/>
          <c:y val="6.7458432304038002E-2"/>
          <c:w val="0.96132391223503166"/>
          <c:h val="0.86508313539192394"/>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D1-4F53-9A8C-923D88916D93}"/>
                </c:ext>
              </c:extLst>
            </c:dLbl>
            <c:dLbl>
              <c:idx val="1"/>
              <c:layout>
                <c:manualLayout>
                  <c:x val="0"/>
                  <c:y val="-4.75059382422802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D1-4F53-9A8C-923D88916D93}"/>
                </c:ext>
              </c:extLst>
            </c:dLbl>
            <c:dLbl>
              <c:idx val="2"/>
              <c:layout>
                <c:manualLayout>
                  <c:x val="0"/>
                  <c:y val="-4.75059382422802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D1-4F53-9A8C-923D88916D93}"/>
                </c:ext>
              </c:extLst>
            </c:dLbl>
            <c:dLbl>
              <c:idx val="3"/>
              <c:layout>
                <c:manualLayout>
                  <c:x val="0"/>
                  <c:y val="-4.75059382422802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67.8029999999999</c:v>
                </c:pt>
                <c:pt idx="1">
                  <c:v>4684.1639999999998</c:v>
                </c:pt>
                <c:pt idx="2">
                  <c:v>7077.1750000000002</c:v>
                </c:pt>
                <c:pt idx="3">
                  <c:v>7557.2939999999999</c:v>
                </c:pt>
              </c:numCache>
            </c:numRef>
          </c:val>
          <c:extLst>
            <c:ext xmlns:c16="http://schemas.microsoft.com/office/drawing/2014/chart" uri="{C3380CC4-5D6E-409C-BE32-E72D297353CC}">
              <c16:uniqueId val="{00000004-71D1-4F53-9A8C-923D88916D93}"/>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D1-4F53-9A8C-923D88916D93}"/>
                </c:ext>
              </c:extLst>
            </c:dLbl>
            <c:dLbl>
              <c:idx val="1"/>
              <c:layout>
                <c:manualLayout>
                  <c:x val="0"/>
                  <c:y val="-4.75059382422802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D1-4F53-9A8C-923D88916D93}"/>
                </c:ext>
              </c:extLst>
            </c:dLbl>
            <c:dLbl>
              <c:idx val="3"/>
              <c:layout>
                <c:manualLayout>
                  <c:x val="0"/>
                  <c:y val="-4.75059382422802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427.0219999999999</c:v>
                </c:pt>
                <c:pt idx="1">
                  <c:v>3072.96</c:v>
                </c:pt>
                <c:pt idx="2">
                  <c:v>4508.9210000000012</c:v>
                </c:pt>
                <c:pt idx="3">
                  <c:v>4892.9590000000007</c:v>
                </c:pt>
              </c:numCache>
            </c:numRef>
          </c:val>
          <c:extLst>
            <c:ext xmlns:c16="http://schemas.microsoft.com/office/drawing/2014/chart" uri="{C3380CC4-5D6E-409C-BE32-E72D297353CC}">
              <c16:uniqueId val="{00000009-71D1-4F53-9A8C-923D88916D93}"/>
            </c:ext>
          </c:extLst>
        </c:ser>
        <c:ser>
          <c:idx val="2"/>
          <c:order val="2"/>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D1-4F53-9A8C-923D88916D9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D1-4F53-9A8C-923D88916D9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484.7390000000005</c:v>
                </c:pt>
                <c:pt idx="1">
                  <c:v>2787.7569999999996</c:v>
                </c:pt>
                <c:pt idx="2">
                  <c:v>3177.9269999999997</c:v>
                </c:pt>
                <c:pt idx="3">
                  <c:v>3185.0239999999994</c:v>
                </c:pt>
              </c:numCache>
            </c:numRef>
          </c:val>
          <c:extLst>
            <c:ext xmlns:c16="http://schemas.microsoft.com/office/drawing/2014/chart" uri="{C3380CC4-5D6E-409C-BE32-E72D297353CC}">
              <c16:uniqueId val="{0000000E-71D1-4F53-9A8C-923D88916D93}"/>
            </c:ext>
          </c:extLst>
        </c:ser>
        <c:ser>
          <c:idx val="3"/>
          <c:order val="3"/>
          <c:spPr>
            <a:solidFill>
              <a:srgbClr val="80CCE8"/>
            </a:solidFill>
            <a:ln>
              <a:noFill/>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D1-4F53-9A8C-923D88916D9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04.40799999999945</c:v>
                </c:pt>
                <c:pt idx="1">
                  <c:v>1249.6970000000001</c:v>
                </c:pt>
                <c:pt idx="2">
                  <c:v>1836.1660000000011</c:v>
                </c:pt>
                <c:pt idx="3">
                  <c:v>1966.0939999999991</c:v>
                </c:pt>
              </c:numCache>
            </c:numRef>
          </c:val>
          <c:extLst>
            <c:ext xmlns:c16="http://schemas.microsoft.com/office/drawing/2014/chart" uri="{C3380CC4-5D6E-409C-BE32-E72D297353CC}">
              <c16:uniqueId val="{00000012-71D1-4F53-9A8C-923D88916D93}"/>
            </c:ext>
          </c:extLst>
        </c:ser>
        <c:ser>
          <c:idx val="4"/>
          <c:order val="4"/>
          <c:spPr>
            <a:solidFill>
              <a:srgbClr val="C0E6F4"/>
            </a:solidFill>
            <a:ln>
              <a:noFill/>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1D1-4F53-9A8C-923D88916D9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590.125</c:v>
                </c:pt>
                <c:pt idx="1">
                  <c:v>907.14300000000003</c:v>
                </c:pt>
                <c:pt idx="2">
                  <c:v>1300.8159999999989</c:v>
                </c:pt>
                <c:pt idx="3">
                  <c:v>1384.5570000000007</c:v>
                </c:pt>
              </c:numCache>
            </c:numRef>
          </c:val>
          <c:extLst>
            <c:ext xmlns:c16="http://schemas.microsoft.com/office/drawing/2014/chart" uri="{C3380CC4-5D6E-409C-BE32-E72D297353CC}">
              <c16:uniqueId val="{00000016-71D1-4F53-9A8C-923D88916D93}"/>
            </c:ext>
          </c:extLst>
        </c:ser>
        <c:dLbls>
          <c:showLegendKey val="0"/>
          <c:showVal val="0"/>
          <c:showCatName val="0"/>
          <c:showSerName val="0"/>
          <c:showPercent val="0"/>
          <c:showBubbleSize val="0"/>
        </c:dLbls>
        <c:gapWidth val="80"/>
        <c:overlap val="100"/>
        <c:axId val="936505023"/>
        <c:axId val="1"/>
      </c:barChart>
      <c:catAx>
        <c:axId val="936505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8985.928"/>
          <c:min val="0"/>
        </c:scaling>
        <c:delete val="1"/>
        <c:axPos val="l"/>
        <c:numFmt formatCode="General" sourceLinked="1"/>
        <c:majorTickMark val="out"/>
        <c:minorTickMark val="none"/>
        <c:tickLblPos val="nextTo"/>
        <c:crossAx val="93650502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44936835773008E-2"/>
          <c:y val="0.16729182295573894"/>
          <c:w val="0.88750751955083218"/>
          <c:h val="0.7261815453863466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51.85499999999999</c:v>
                </c:pt>
                <c:pt idx="1">
                  <c:v>135.52699999999999</c:v>
                </c:pt>
                <c:pt idx="2">
                  <c:v>129.38499999999999</c:v>
                </c:pt>
                <c:pt idx="3">
                  <c:v>197.017</c:v>
                </c:pt>
                <c:pt idx="4">
                  <c:v>256.18799999999999</c:v>
                </c:pt>
                <c:pt idx="5">
                  <c:v>288.74900000000002</c:v>
                </c:pt>
                <c:pt idx="6">
                  <c:v>304.05500000000001</c:v>
                </c:pt>
                <c:pt idx="7">
                  <c:v>332.65</c:v>
                </c:pt>
                <c:pt idx="8">
                  <c:v>316.49099999999999</c:v>
                </c:pt>
                <c:pt idx="9">
                  <c:v>331.18400000000003</c:v>
                </c:pt>
                <c:pt idx="10">
                  <c:v>417.315</c:v>
                </c:pt>
                <c:pt idx="11">
                  <c:v>458.70800000000003</c:v>
                </c:pt>
                <c:pt idx="12">
                  <c:v>434.4</c:v>
                </c:pt>
                <c:pt idx="13">
                  <c:v>400.87700000000001</c:v>
                </c:pt>
                <c:pt idx="14">
                  <c:v>381.19499999999999</c:v>
                </c:pt>
                <c:pt idx="15">
                  <c:v>346.66300000000001</c:v>
                </c:pt>
                <c:pt idx="16">
                  <c:v>323.49299999999999</c:v>
                </c:pt>
                <c:pt idx="17">
                  <c:v>381.31700000000001</c:v>
                </c:pt>
                <c:pt idx="18">
                  <c:v>405.09300000000002</c:v>
                </c:pt>
                <c:pt idx="19">
                  <c:v>389.245</c:v>
                </c:pt>
                <c:pt idx="20">
                  <c:v>337.87599999999998</c:v>
                </c:pt>
                <c:pt idx="21">
                  <c:v>419.87799999999999</c:v>
                </c:pt>
                <c:pt idx="22">
                  <c:v>407.43</c:v>
                </c:pt>
                <c:pt idx="23">
                  <c:v>381.334</c:v>
                </c:pt>
                <c:pt idx="24">
                  <c:v>401.07600000000002</c:v>
                </c:pt>
              </c:numCache>
            </c:numRef>
          </c:val>
          <c:extLst>
            <c:ext xmlns:c16="http://schemas.microsoft.com/office/drawing/2014/chart" uri="{C3380CC4-5D6E-409C-BE32-E72D297353CC}">
              <c16:uniqueId val="{00000000-C102-4A44-BC12-7BA0446EFC85}"/>
            </c:ext>
          </c:extLst>
        </c:ser>
        <c:dLbls>
          <c:showLegendKey val="0"/>
          <c:showVal val="0"/>
          <c:showCatName val="0"/>
          <c:showSerName val="0"/>
          <c:showPercent val="0"/>
          <c:showBubbleSize val="0"/>
        </c:dLbls>
        <c:gapWidth val="60"/>
        <c:overlap val="100"/>
        <c:axId val="160313583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02-4A44-BC12-7BA0446EFC85}"/>
                </c:ext>
              </c:extLst>
            </c:dLbl>
            <c:dLbl>
              <c:idx val="1"/>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02-4A44-BC12-7BA0446EFC85}"/>
                </c:ext>
              </c:extLst>
            </c:dLbl>
            <c:dLbl>
              <c:idx val="2"/>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02-4A44-BC12-7BA0446EFC85}"/>
                </c:ext>
              </c:extLst>
            </c:dLbl>
            <c:dLbl>
              <c:idx val="3"/>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02-4A44-BC12-7BA0446EFC85}"/>
                </c:ext>
              </c:extLst>
            </c:dLbl>
            <c:dLbl>
              <c:idx val="4"/>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02-4A44-BC12-7BA0446EFC85}"/>
                </c:ext>
              </c:extLst>
            </c:dLbl>
            <c:dLbl>
              <c:idx val="5"/>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02-4A44-BC12-7BA0446EFC85}"/>
                </c:ext>
              </c:extLst>
            </c:dLbl>
            <c:dLbl>
              <c:idx val="6"/>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02-4A44-BC12-7BA0446EFC85}"/>
                </c:ext>
              </c:extLst>
            </c:dLbl>
            <c:dLbl>
              <c:idx val="7"/>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02-4A44-BC12-7BA0446EFC85}"/>
                </c:ext>
              </c:extLst>
            </c:dLbl>
            <c:dLbl>
              <c:idx val="8"/>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02-4A44-BC12-7BA0446EFC85}"/>
                </c:ext>
              </c:extLst>
            </c:dLbl>
            <c:dLbl>
              <c:idx val="10"/>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02-4A44-BC12-7BA0446EFC85}"/>
                </c:ext>
              </c:extLst>
            </c:dLbl>
            <c:dLbl>
              <c:idx val="11"/>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02-4A44-BC12-7BA0446EFC85}"/>
                </c:ext>
              </c:extLst>
            </c:dLbl>
            <c:dLbl>
              <c:idx val="12"/>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02-4A44-BC12-7BA0446EFC85}"/>
                </c:ext>
              </c:extLst>
            </c:dLbl>
            <c:dLbl>
              <c:idx val="13"/>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02-4A44-BC12-7BA0446EFC85}"/>
                </c:ext>
              </c:extLst>
            </c:dLbl>
            <c:dLbl>
              <c:idx val="14"/>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02-4A44-BC12-7BA0446EFC85}"/>
                </c:ext>
              </c:extLst>
            </c:dLbl>
            <c:dLbl>
              <c:idx val="15"/>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02-4A44-BC12-7BA0446EFC85}"/>
                </c:ext>
              </c:extLst>
            </c:dLbl>
            <c:dLbl>
              <c:idx val="16"/>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02-4A44-BC12-7BA0446EFC85}"/>
                </c:ext>
              </c:extLst>
            </c:dLbl>
            <c:dLbl>
              <c:idx val="17"/>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02-4A44-BC12-7BA0446EFC85}"/>
                </c:ext>
              </c:extLst>
            </c:dLbl>
            <c:dLbl>
              <c:idx val="18"/>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02-4A44-BC12-7BA0446EFC85}"/>
                </c:ext>
              </c:extLst>
            </c:dLbl>
            <c:dLbl>
              <c:idx val="19"/>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02-4A44-BC12-7BA0446EFC85}"/>
                </c:ext>
              </c:extLst>
            </c:dLbl>
            <c:dLbl>
              <c:idx val="21"/>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02-4A44-BC12-7BA0446EFC85}"/>
                </c:ext>
              </c:extLst>
            </c:dLbl>
            <c:dLbl>
              <c:idx val="22"/>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102-4A44-BC12-7BA0446EFC85}"/>
                </c:ext>
              </c:extLst>
            </c:dLbl>
            <c:dLbl>
              <c:idx val="23"/>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02-4A44-BC12-7BA0446EFC85}"/>
                </c:ext>
              </c:extLst>
            </c:dLbl>
            <c:dLbl>
              <c:idx val="24"/>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102-4A44-BC12-7BA0446EFC8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2</c:v>
                </c:pt>
                <c:pt idx="1">
                  <c:v>2.7</c:v>
                </c:pt>
                <c:pt idx="2">
                  <c:v>3.7</c:v>
                </c:pt>
                <c:pt idx="3">
                  <c:v>2.9489999999999998</c:v>
                </c:pt>
                <c:pt idx="4">
                  <c:v>4.5549999999999997</c:v>
                </c:pt>
                <c:pt idx="5">
                  <c:v>5.2770000000000001</c:v>
                </c:pt>
                <c:pt idx="6">
                  <c:v>5.6040000000000001</c:v>
                </c:pt>
                <c:pt idx="7">
                  <c:v>5.36</c:v>
                </c:pt>
                <c:pt idx="8">
                  <c:v>3.1909999999999998</c:v>
                </c:pt>
                <c:pt idx="9">
                  <c:v>-1.538</c:v>
                </c:pt>
                <c:pt idx="10">
                  <c:v>3.04</c:v>
                </c:pt>
                <c:pt idx="11">
                  <c:v>3.169</c:v>
                </c:pt>
                <c:pt idx="12">
                  <c:v>2.3959999999999999</c:v>
                </c:pt>
                <c:pt idx="13">
                  <c:v>2.4849999999999999</c:v>
                </c:pt>
                <c:pt idx="14">
                  <c:v>1.4139999999999999</c:v>
                </c:pt>
                <c:pt idx="15">
                  <c:v>1.3220000000000001</c:v>
                </c:pt>
                <c:pt idx="16">
                  <c:v>0.66500000000000004</c:v>
                </c:pt>
                <c:pt idx="17">
                  <c:v>1.1579999999999999</c:v>
                </c:pt>
                <c:pt idx="18">
                  <c:v>1.5569999999999999</c:v>
                </c:pt>
                <c:pt idx="19">
                  <c:v>0.26</c:v>
                </c:pt>
                <c:pt idx="20">
                  <c:v>-6.1689999999999996</c:v>
                </c:pt>
                <c:pt idx="21">
                  <c:v>4.859</c:v>
                </c:pt>
                <c:pt idx="22">
                  <c:v>2.0579999999999998</c:v>
                </c:pt>
                <c:pt idx="23">
                  <c:v>0.80600000000000005</c:v>
                </c:pt>
                <c:pt idx="24">
                  <c:v>0.53500000000000003</c:v>
                </c:pt>
              </c:numCache>
            </c:numRef>
          </c:val>
          <c:smooth val="0"/>
          <c:extLst>
            <c:ext xmlns:c16="http://schemas.microsoft.com/office/drawing/2014/chart" uri="{C3380CC4-5D6E-409C-BE32-E72D297353CC}">
              <c16:uniqueId val="{00000018-C102-4A44-BC12-7BA0446EFC85}"/>
            </c:ext>
          </c:extLst>
        </c:ser>
        <c:dLbls>
          <c:showLegendKey val="0"/>
          <c:showVal val="0"/>
          <c:showCatName val="0"/>
          <c:showSerName val="0"/>
          <c:showPercent val="0"/>
          <c:showBubbleSize val="0"/>
        </c:dLbls>
        <c:marker val="1"/>
        <c:smooth val="0"/>
        <c:axId val="2"/>
        <c:axId val="3"/>
      </c:lineChart>
      <c:catAx>
        <c:axId val="16031358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03135839"/>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8"/>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453201970443349E-2"/>
          <c:y val="0.11059190031152648"/>
          <c:w val="0.90837438423645323"/>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7290640394088666E-3"/>
                  <c:y val="-0.224299065420560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37-431C-A8B7-8EA1AA959850}"/>
                </c:ext>
              </c:extLst>
            </c:dLbl>
            <c:dLbl>
              <c:idx val="1"/>
              <c:layout>
                <c:manualLayout>
                  <c:x val="-5.3201970443349754E-3"/>
                  <c:y val="-0.165887850467289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37-431C-A8B7-8EA1AA959850}"/>
                </c:ext>
              </c:extLst>
            </c:dLbl>
            <c:dLbl>
              <c:idx val="2"/>
              <c:layout>
                <c:manualLayout>
                  <c:x val="0"/>
                  <c:y val="-0.158099688473520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37-431C-A8B7-8EA1AA959850}"/>
                </c:ext>
              </c:extLst>
            </c:dLbl>
            <c:dLbl>
              <c:idx val="3"/>
              <c:layout>
                <c:manualLayout>
                  <c:x val="0"/>
                  <c:y val="-0.212616822429906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37-431C-A8B7-8EA1AA959850}"/>
                </c:ext>
              </c:extLst>
            </c:dLbl>
            <c:dLbl>
              <c:idx val="4"/>
              <c:layout>
                <c:manualLayout>
                  <c:x val="0"/>
                  <c:y val="-0.259345794392523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37-431C-A8B7-8EA1AA959850}"/>
                </c:ext>
              </c:extLst>
            </c:dLbl>
            <c:dLbl>
              <c:idx val="5"/>
              <c:layout>
                <c:manualLayout>
                  <c:x val="5.3201970443349754E-3"/>
                  <c:y val="-0.28348909657320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37-431C-A8B7-8EA1AA959850}"/>
                </c:ext>
              </c:extLst>
            </c:dLbl>
            <c:dLbl>
              <c:idx val="6"/>
              <c:layout>
                <c:manualLayout>
                  <c:x val="-1.3399014778325124E-2"/>
                  <c:y val="-0.34890965732087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37-431C-A8B7-8EA1AA959850}"/>
                </c:ext>
              </c:extLst>
            </c:dLbl>
            <c:dLbl>
              <c:idx val="7"/>
              <c:layout>
                <c:manualLayout>
                  <c:x val="-5.1231527093596055E-3"/>
                  <c:y val="-0.312305295950155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37-431C-A8B7-8EA1AA959850}"/>
                </c:ext>
              </c:extLst>
            </c:dLbl>
            <c:dLbl>
              <c:idx val="8"/>
              <c:layout>
                <c:manualLayout>
                  <c:x val="0"/>
                  <c:y val="-0.296728971962616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737-431C-A8B7-8EA1AA959850}"/>
                </c:ext>
              </c:extLst>
            </c:dLbl>
            <c:dLbl>
              <c:idx val="9"/>
              <c:layout>
                <c:manualLayout>
                  <c:x val="5.3201970443349754E-3"/>
                  <c:y val="-0.30451713395638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737-431C-A8B7-8EA1AA959850}"/>
                </c:ext>
              </c:extLst>
            </c:dLbl>
            <c:dLbl>
              <c:idx val="10"/>
              <c:layout>
                <c:manualLayout>
                  <c:x val="0"/>
                  <c:y val="-0.366043613707165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737-431C-A8B7-8EA1AA959850}"/>
                </c:ext>
              </c:extLst>
            </c:dLbl>
            <c:dLbl>
              <c:idx val="11"/>
              <c:layout>
                <c:manualLayout>
                  <c:x val="-8.2758620689655175E-3"/>
                  <c:y val="-0.415109034267912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737-431C-A8B7-8EA1AA959850}"/>
                </c:ext>
              </c:extLst>
            </c:dLbl>
            <c:dLbl>
              <c:idx val="12"/>
              <c:layout>
                <c:manualLayout>
                  <c:x val="0"/>
                  <c:y val="-0.384735202492211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737-431C-A8B7-8EA1AA959850}"/>
                </c:ext>
              </c:extLst>
            </c:dLbl>
            <c:dLbl>
              <c:idx val="13"/>
              <c:layout>
                <c:manualLayout>
                  <c:x val="-5.3201970443349754E-3"/>
                  <c:y val="-0.338785046728971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737-431C-A8B7-8EA1AA959850}"/>
                </c:ext>
              </c:extLst>
            </c:dLbl>
            <c:dLbl>
              <c:idx val="14"/>
              <c:layout>
                <c:manualLayout>
                  <c:x val="0"/>
                  <c:y val="-0.3380062305295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737-431C-A8B7-8EA1AA959850}"/>
                </c:ext>
              </c:extLst>
            </c:dLbl>
            <c:dLbl>
              <c:idx val="15"/>
              <c:layout>
                <c:manualLayout>
                  <c:x val="-5.1231527093596055E-3"/>
                  <c:y val="-0.292056074766355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737-431C-A8B7-8EA1AA959850}"/>
                </c:ext>
              </c:extLst>
            </c:dLbl>
            <c:dLbl>
              <c:idx val="16"/>
              <c:layout>
                <c:manualLayout>
                  <c:x val="0"/>
                  <c:y val="-0.272585669781931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737-431C-A8B7-8EA1AA959850}"/>
                </c:ext>
              </c:extLst>
            </c:dLbl>
            <c:dLbl>
              <c:idx val="17"/>
              <c:layout>
                <c:manualLayout>
                  <c:x val="0"/>
                  <c:y val="-0.310747663551401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737-431C-A8B7-8EA1AA959850}"/>
                </c:ext>
              </c:extLst>
            </c:dLbl>
            <c:dLbl>
              <c:idx val="18"/>
              <c:layout>
                <c:manualLayout>
                  <c:x val="8.0788177339901485E-3"/>
                  <c:y val="-0.366822429906542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737-431C-A8B7-8EA1AA959850}"/>
                </c:ext>
              </c:extLst>
            </c:dLbl>
            <c:dLbl>
              <c:idx val="19"/>
              <c:layout>
                <c:manualLayout>
                  <c:x val="0"/>
                  <c:y val="-0.30685358255451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737-431C-A8B7-8EA1AA959850}"/>
                </c:ext>
              </c:extLst>
            </c:dLbl>
            <c:dLbl>
              <c:idx val="20"/>
              <c:layout>
                <c:manualLayout>
                  <c:x val="0"/>
                  <c:y val="-0.268691588785046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737-431C-A8B7-8EA1AA959850}"/>
                </c:ext>
              </c:extLst>
            </c:dLbl>
            <c:dLbl>
              <c:idx val="21"/>
              <c:layout>
                <c:manualLayout>
                  <c:x val="-1.3399014778325124E-2"/>
                  <c:y val="-0.31931464174454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737-431C-A8B7-8EA1AA959850}"/>
                </c:ext>
              </c:extLst>
            </c:dLbl>
            <c:dLbl>
              <c:idx val="22"/>
              <c:layout>
                <c:manualLayout>
                  <c:x val="-5.1231527093596055E-3"/>
                  <c:y val="-0.30841121495327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737-431C-A8B7-8EA1AA959850}"/>
                </c:ext>
              </c:extLst>
            </c:dLbl>
            <c:dLbl>
              <c:idx val="23"/>
              <c:layout>
                <c:manualLayout>
                  <c:x val="0"/>
                  <c:y val="-0.288161993769470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737-431C-A8B7-8EA1AA959850}"/>
                </c:ext>
              </c:extLst>
            </c:dLbl>
            <c:dLbl>
              <c:idx val="24"/>
              <c:layout>
                <c:manualLayout>
                  <c:x val="8.2758620689655175E-3"/>
                  <c:y val="-0.298286604361370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737-431C-A8B7-8EA1AA95985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382.0659999999998</c:v>
                </c:pt>
                <c:pt idx="1">
                  <c:v>2964.029</c:v>
                </c:pt>
                <c:pt idx="2">
                  <c:v>2778.1149999999998</c:v>
                </c:pt>
                <c:pt idx="3">
                  <c:v>4191.3999999999996</c:v>
                </c:pt>
                <c:pt idx="4">
                  <c:v>5392.8609999999999</c:v>
                </c:pt>
                <c:pt idx="5">
                  <c:v>6007.9790000000003</c:v>
                </c:pt>
                <c:pt idx="6">
                  <c:v>6250.8829999999998</c:v>
                </c:pt>
                <c:pt idx="7">
                  <c:v>6752.2560000000003</c:v>
                </c:pt>
                <c:pt idx="8">
                  <c:v>6337.933</c:v>
                </c:pt>
                <c:pt idx="9">
                  <c:v>6538.1660000000002</c:v>
                </c:pt>
                <c:pt idx="10">
                  <c:v>8118.1729999999998</c:v>
                </c:pt>
                <c:pt idx="11">
                  <c:v>8784.6479999999992</c:v>
                </c:pt>
                <c:pt idx="12">
                  <c:v>8185.7179999999998</c:v>
                </c:pt>
                <c:pt idx="13">
                  <c:v>7431.9080000000004</c:v>
                </c:pt>
                <c:pt idx="14">
                  <c:v>6952.3140000000003</c:v>
                </c:pt>
                <c:pt idx="15">
                  <c:v>6222.5259999999998</c:v>
                </c:pt>
                <c:pt idx="16">
                  <c:v>5721.1890000000003</c:v>
                </c:pt>
                <c:pt idx="17">
                  <c:v>6647.0929999999998</c:v>
                </c:pt>
                <c:pt idx="18">
                  <c:v>6956.41</c:v>
                </c:pt>
                <c:pt idx="19">
                  <c:v>6582.7569999999996</c:v>
                </c:pt>
                <c:pt idx="20">
                  <c:v>5630.9830000000002</c:v>
                </c:pt>
                <c:pt idx="21">
                  <c:v>6923.875</c:v>
                </c:pt>
                <c:pt idx="22">
                  <c:v>6640.4340000000002</c:v>
                </c:pt>
                <c:pt idx="23">
                  <c:v>6132.74</c:v>
                </c:pt>
                <c:pt idx="24">
                  <c:v>6364.6620000000003</c:v>
                </c:pt>
              </c:numCache>
            </c:numRef>
          </c:val>
          <c:extLst>
            <c:ext xmlns:c16="http://schemas.microsoft.com/office/drawing/2014/chart" uri="{C3380CC4-5D6E-409C-BE32-E72D297353CC}">
              <c16:uniqueId val="{00000019-9737-431C-A8B7-8EA1AA959850}"/>
            </c:ext>
          </c:extLst>
        </c:ser>
        <c:dLbls>
          <c:showLegendKey val="0"/>
          <c:showVal val="0"/>
          <c:showCatName val="0"/>
          <c:showSerName val="0"/>
          <c:showPercent val="0"/>
          <c:showBubbleSize val="0"/>
        </c:dLbls>
        <c:gapWidth val="60"/>
        <c:overlap val="100"/>
        <c:axId val="1202739968"/>
        <c:axId val="1"/>
      </c:barChart>
      <c:catAx>
        <c:axId val="12027399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02739968"/>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50118990956686E-2"/>
          <c:y val="8.1349206349206352E-2"/>
          <c:w val="0.95049976201808661"/>
          <c:h val="0.8928571428571429"/>
        </c:manualLayout>
      </c:layout>
      <c:barChart>
        <c:barDir val="col"/>
        <c:grouping val="stacked"/>
        <c:varyColors val="0"/>
        <c:ser>
          <c:idx val="0"/>
          <c:order val="0"/>
          <c:spPr>
            <a:solidFill>
              <a:schemeClr val="accent1"/>
            </a:solidFill>
            <a:ln>
              <a:noFill/>
            </a:ln>
          </c:spPr>
          <c:invertIfNegative val="0"/>
          <c:dLbls>
            <c:dLbl>
              <c:idx val="0"/>
              <c:layout>
                <c:manualLayout>
                  <c:x val="0"/>
                  <c:y val="-0.4875992063492063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84-4439-A6DA-934D61A0ABF4}"/>
                </c:ext>
              </c:extLst>
            </c:dLbl>
            <c:dLbl>
              <c:idx val="1"/>
              <c:layout>
                <c:manualLayout>
                  <c:x val="0"/>
                  <c:y val="-0.15922619047619047"/>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84-4439-A6DA-934D61A0ABF4}"/>
                </c:ext>
              </c:extLst>
            </c:dLbl>
            <c:dLbl>
              <c:idx val="2"/>
              <c:layout>
                <c:manualLayout>
                  <c:x val="0"/>
                  <c:y val="-0.1686507936507936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84-4439-A6DA-934D61A0ABF4}"/>
                </c:ext>
              </c:extLst>
            </c:dLbl>
            <c:dLbl>
              <c:idx val="3"/>
              <c:layout>
                <c:manualLayout>
                  <c:x val="0"/>
                  <c:y val="-0.2232142857142857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84-4439-A6DA-934D61A0ABF4}"/>
                </c:ext>
              </c:extLst>
            </c:dLbl>
            <c:dLbl>
              <c:idx val="4"/>
              <c:layout>
                <c:manualLayout>
                  <c:x val="0"/>
                  <c:y val="-7.7876984126984128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84-4439-A6DA-934D61A0ABF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c:v>
                </c:pt>
                <c:pt idx="1">
                  <c:v>13</c:v>
                </c:pt>
                <c:pt idx="2">
                  <c:v>14.000000000000002</c:v>
                </c:pt>
                <c:pt idx="3">
                  <c:v>20</c:v>
                </c:pt>
                <c:pt idx="4">
                  <c:v>4</c:v>
                </c:pt>
              </c:numCache>
            </c:numRef>
          </c:val>
          <c:extLst>
            <c:ext xmlns:c16="http://schemas.microsoft.com/office/drawing/2014/chart" uri="{C3380CC4-5D6E-409C-BE32-E72D297353CC}">
              <c16:uniqueId val="{00000005-3E84-4439-A6DA-934D61A0ABF4}"/>
            </c:ext>
          </c:extLst>
        </c:ser>
        <c:dLbls>
          <c:showLegendKey val="0"/>
          <c:showVal val="0"/>
          <c:showCatName val="0"/>
          <c:showSerName val="0"/>
          <c:showPercent val="0"/>
          <c:showBubbleSize val="0"/>
        </c:dLbls>
        <c:gapWidth val="80"/>
        <c:overlap val="100"/>
        <c:axId val="892130160"/>
        <c:axId val="1"/>
      </c:barChart>
      <c:catAx>
        <c:axId val="8921301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8921301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202764976958528"/>
          <c:y val="2.7012987012987013E-2"/>
          <c:w val="0.4359447004608295"/>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36-47FE-9C0D-79BE2F84EE1F}"/>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c:v>
                </c:pt>
                <c:pt idx="1">
                  <c:v>24</c:v>
                </c:pt>
              </c:numCache>
            </c:numRef>
          </c:val>
          <c:extLst>
            <c:ext xmlns:c16="http://schemas.microsoft.com/office/drawing/2014/chart" uri="{C3380CC4-5D6E-409C-BE32-E72D297353CC}">
              <c16:uniqueId val="{00000002-1836-47FE-9C0D-79BE2F84EE1F}"/>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36-47FE-9C0D-79BE2F84EE1F}"/>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c:v>
                </c:pt>
                <c:pt idx="1">
                  <c:v>7</c:v>
                </c:pt>
              </c:numCache>
            </c:numRef>
          </c:val>
          <c:extLst>
            <c:ext xmlns:c16="http://schemas.microsoft.com/office/drawing/2014/chart" uri="{C3380CC4-5D6E-409C-BE32-E72D297353CC}">
              <c16:uniqueId val="{00000005-1836-47FE-9C0D-79BE2F84EE1F}"/>
            </c:ext>
          </c:extLst>
        </c:ser>
        <c:ser>
          <c:idx val="2"/>
          <c:order val="2"/>
          <c:spPr>
            <a:solidFill>
              <a:srgbClr val="F3F3F3"/>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36-47FE-9C0D-79BE2F84EE1F}"/>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1</c:v>
                </c:pt>
                <c:pt idx="1">
                  <c:v>11</c:v>
                </c:pt>
              </c:numCache>
            </c:numRef>
          </c:val>
          <c:extLst>
            <c:ext xmlns:c16="http://schemas.microsoft.com/office/drawing/2014/chart" uri="{C3380CC4-5D6E-409C-BE32-E72D297353CC}">
              <c16:uniqueId val="{00000008-1836-47FE-9C0D-79BE2F84EE1F}"/>
            </c:ext>
          </c:extLst>
        </c:ser>
        <c:ser>
          <c:idx val="3"/>
          <c:order val="3"/>
          <c:spPr>
            <a:solidFill>
              <a:srgbClr val="ECE5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36-47FE-9C0D-79BE2F84EE1F}"/>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5</c:v>
                </c:pt>
                <c:pt idx="1">
                  <c:v>58</c:v>
                </c:pt>
              </c:numCache>
            </c:numRef>
          </c:val>
          <c:extLst>
            <c:ext xmlns:c16="http://schemas.microsoft.com/office/drawing/2014/chart" uri="{C3380CC4-5D6E-409C-BE32-E72D297353CC}">
              <c16:uniqueId val="{0000000B-1836-47FE-9C0D-79BE2F84EE1F}"/>
            </c:ext>
          </c:extLst>
        </c:ser>
        <c:dLbls>
          <c:showLegendKey val="0"/>
          <c:showVal val="0"/>
          <c:showCatName val="0"/>
          <c:showSerName val="0"/>
          <c:showPercent val="0"/>
          <c:showBubbleSize val="0"/>
        </c:dLbls>
        <c:gapWidth val="80"/>
        <c:overlap val="100"/>
        <c:axId val="1171878143"/>
        <c:axId val="1"/>
      </c:barChart>
      <c:catAx>
        <c:axId val="117187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187814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3410138248848"/>
          <c:y val="2.7012987012987013E-2"/>
          <c:w val="0.4433179723502304"/>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CE-4817-B15E-CBF6E409FE89}"/>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CE-4817-B15E-CBF6E409FE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5</c:v>
                </c:pt>
                <c:pt idx="1">
                  <c:v>95</c:v>
                </c:pt>
              </c:numCache>
            </c:numRef>
          </c:val>
          <c:extLst>
            <c:ext xmlns:c16="http://schemas.microsoft.com/office/drawing/2014/chart" uri="{C3380CC4-5D6E-409C-BE32-E72D297353CC}">
              <c16:uniqueId val="{00000002-91CE-4817-B15E-CBF6E409FE89}"/>
            </c:ext>
          </c:extLst>
        </c:ser>
        <c:ser>
          <c:idx val="1"/>
          <c:order val="1"/>
          <c:spPr>
            <a:solidFill>
              <a:srgbClr val="C0E6F4"/>
            </a:solidFill>
            <a:ln>
              <a:noFill/>
            </a:ln>
          </c:spPr>
          <c:invertIfNegative val="0"/>
          <c:val>
            <c:numRef>
              <c:f>Sheet1!$A$2:$B$2</c:f>
              <c:numCache>
                <c:formatCode>General</c:formatCode>
                <c:ptCount val="2"/>
                <c:pt idx="0">
                  <c:v>5</c:v>
                </c:pt>
                <c:pt idx="1">
                  <c:v>5</c:v>
                </c:pt>
              </c:numCache>
            </c:numRef>
          </c:val>
          <c:extLst>
            <c:ext xmlns:c16="http://schemas.microsoft.com/office/drawing/2014/chart" uri="{C3380CC4-5D6E-409C-BE32-E72D297353CC}">
              <c16:uniqueId val="{00000003-91CE-4817-B15E-CBF6E409FE89}"/>
            </c:ext>
          </c:extLst>
        </c:ser>
        <c:dLbls>
          <c:showLegendKey val="0"/>
          <c:showVal val="0"/>
          <c:showCatName val="0"/>
          <c:showSerName val="0"/>
          <c:showPercent val="0"/>
          <c:showBubbleSize val="0"/>
        </c:dLbls>
        <c:gapWidth val="80"/>
        <c:overlap val="100"/>
        <c:axId val="1173379119"/>
        <c:axId val="1"/>
      </c:barChart>
      <c:catAx>
        <c:axId val="11733791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337911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kern="1200" noProof="1">
                <a:solidFill>
                  <a:schemeClr val="tx1"/>
                </a:solidFill>
                <a:latin typeface="+mj-ea"/>
                <a:ea typeface="+mn-ea"/>
                <a:cs typeface="+mn-cs"/>
              </a:rPr>
              <a:t>大統領健康協定</a:t>
            </a:r>
            <a:endParaRPr kumimoji="1" lang="en-US"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j-ea"/>
                <a:ea typeface="+mn-ea"/>
                <a:cs typeface="+mn-cs"/>
              </a:rPr>
              <a:t>https://www.health.gov.za/wp-content/uploads/2024/08/Signed-2nd-Presidentisl-Health-Compact-Document-22-08-2024.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j-ea"/>
                <a:ea typeface="+mn-ea"/>
                <a:cs typeface="+mn-cs"/>
              </a:rPr>
              <a:t>https://www.health.gov.za/wp-content/uploads/2024/08/Second-Presidentisl-Health-Compact-2024-2029.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j-ea"/>
                <a:ea typeface="+mn-ea"/>
                <a:cs typeface="+mn-cs"/>
              </a:rPr>
              <a:t>https://www.health.gov.za/wp-content/uploads/2025/08/NATIONAL-DEPARTMENT-OF-HEALTH-STRATEGIC-PLAN-2025-2030-FINAL.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非感染性疾患の予防と管理のための国家戦略計画</a:t>
            </a:r>
            <a:endParaRPr kumimoji="1" lang="en-IN"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0" kern="1200" noProof="1">
                <a:solidFill>
                  <a:schemeClr val="tx1"/>
                </a:solidFill>
                <a:latin typeface="+mj-ea"/>
                <a:ea typeface="+mn-ea"/>
                <a:cs typeface="+mn-cs"/>
              </a:rPr>
              <a:t>https://www.health.gov.za/wp-content/uploads/2025/05/NCD-NSP-FINAL-VERSION-20-SEPT-22-1.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0" kern="1200" noProof="1">
                <a:solidFill>
                  <a:schemeClr val="tx1"/>
                </a:solidFill>
                <a:latin typeface="+mj-ea"/>
                <a:ea typeface="+mn-ea"/>
                <a:cs typeface="+mn-cs"/>
              </a:rPr>
              <a:t>https://www.health.gov.za/strategic-documents/</a:t>
            </a: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2370153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6</a:t>
            </a:fld>
            <a:endParaRPr lang="ja-JP" altLang="en-US" dirty="0"/>
          </a:p>
        </p:txBody>
      </p:sp>
    </p:spTree>
    <p:extLst>
      <p:ext uri="{BB962C8B-B14F-4D97-AF65-F5344CB8AC3E}">
        <p14:creationId xmlns:p14="http://schemas.microsoft.com/office/powerpoint/2010/main" val="2166979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3777046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https://data.who.int/countries/710</a:t>
            </a:r>
            <a:endParaRPr lang="ja-JP" altLang="en-US" dirty="0"/>
          </a:p>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7</a:t>
            </a:fld>
            <a:endParaRPr lang="ja-JP" altLang="en-US" dirty="0"/>
          </a:p>
        </p:txBody>
      </p:sp>
    </p:spTree>
    <p:extLst>
      <p:ext uri="{BB962C8B-B14F-4D97-AF65-F5344CB8AC3E}">
        <p14:creationId xmlns:p14="http://schemas.microsoft.com/office/powerpoint/2010/main" val="4152780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48894-01DA-C11A-56A2-8586830D91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B590C-4110-D8F1-47C9-37486B74F472}"/>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16DF2269-2423-17FD-0737-F5B46012E6A6}"/>
              </a:ext>
            </a:extLst>
          </p:cNvPr>
          <p:cNvSpPr>
            <a:spLocks noGrp="1"/>
          </p:cNvSpPr>
          <p:nvPr>
            <p:ph type="body" idx="1"/>
          </p:nvPr>
        </p:nvSpPr>
        <p:spPr/>
        <p:txBody>
          <a:bodyPr/>
          <a:lstStyle/>
          <a:p>
            <a:r>
              <a:rPr lang="en-US" altLang="ja-JP" noProof="1"/>
              <a:t>https://www.statssa.gov.za/publications/P03093/P030932022.pdf</a:t>
            </a:r>
            <a:endParaRPr lang="ja-JP" altLang="en-US" dirty="0"/>
          </a:p>
        </p:txBody>
      </p:sp>
      <p:sp>
        <p:nvSpPr>
          <p:cNvPr id="4" name="Slide Number Placeholder 3">
            <a:extLst>
              <a:ext uri="{FF2B5EF4-FFF2-40B4-BE49-F238E27FC236}">
                <a16:creationId xmlns:a16="http://schemas.microsoft.com/office/drawing/2014/main" id="{B9F0A7B3-F386-FA18-DCD1-EA2F6A726106}"/>
              </a:ext>
            </a:extLst>
          </p:cNvPr>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2542149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2170B-3B5A-EC33-2E9A-ED9A2BFFE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FD37B5-2254-A5F2-86D9-5AE3C259D4B5}"/>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4225818F-B54C-F302-4D09-038856385BF9}"/>
              </a:ext>
            </a:extLst>
          </p:cNvPr>
          <p:cNvSpPr>
            <a:spLocks noGrp="1"/>
          </p:cNvSpPr>
          <p:nvPr>
            <p:ph type="body" idx="1"/>
          </p:nvPr>
        </p:nvSpPr>
        <p:spPr/>
        <p:txBody>
          <a:bodyPr/>
          <a:lstStyle/>
          <a:p>
            <a:r>
              <a:rPr lang="en-US" altLang="ja-JP" noProof="1"/>
              <a:t>https://www.statssa.gov.za/publications/P03093/P030932022.pdf</a:t>
            </a:r>
          </a:p>
          <a:p>
            <a:r>
              <a:rPr lang="en-US" altLang="ja-JP" noProof="1"/>
              <a:t>https://www.statssa.gov.za/publications/P03093/P03093.pdf</a:t>
            </a:r>
            <a:endParaRPr lang="ja-JP" altLang="en-US" dirty="0"/>
          </a:p>
        </p:txBody>
      </p:sp>
      <p:sp>
        <p:nvSpPr>
          <p:cNvPr id="4" name="Slide Number Placeholder 3">
            <a:extLst>
              <a:ext uri="{FF2B5EF4-FFF2-40B4-BE49-F238E27FC236}">
                <a16:creationId xmlns:a16="http://schemas.microsoft.com/office/drawing/2014/main" id="{8903A658-9E8C-50E9-9B4A-8012EF86C48B}"/>
              </a:ext>
            </a:extLst>
          </p:cNvPr>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2859956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kern="1200" noProof="1">
                <a:solidFill>
                  <a:schemeClr val="tx1"/>
                </a:solidFill>
                <a:latin typeface="+mj-ea"/>
                <a:ea typeface="+mn-ea"/>
                <a:cs typeface="+mn-cs"/>
              </a:rPr>
              <a:t>国民健康保険法</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nhi/</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gov.za/documents/acts/national-health-insurance-act-20-2023-english-afrikaans-16-may-2024#</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saflii.org/za/legis/consol_act/nhis20o2023261.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knowledgehub.health.gov.za/elibrary/national-health-insurance-strategic-plan-202021-2024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国民健康保険戦略計画</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strategic-docu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knowledgehub.health.gov.za/elibrary/national-health-insurance-strategic-plan-202021-202425</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wp-content/uploads/2025/08/NATIONAL-DEPARTMENT-OF-HEALTH-STRATEGIC-PLAN-2025-2030-FINAL.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中期開発計画</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wp-content/uploads/2025/08/NATIONAL-DEPARTMENT-OF-HEALTH-STRATEGIC-PLAN-2025-2030-FINAL.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1</a:t>
            </a:fld>
            <a:endParaRPr lang="ja-JP" altLang="en-US" dirty="0"/>
          </a:p>
        </p:txBody>
      </p:sp>
    </p:spTree>
    <p:extLst>
      <p:ext uri="{BB962C8B-B14F-4D97-AF65-F5344CB8AC3E}">
        <p14:creationId xmlns:p14="http://schemas.microsoft.com/office/powerpoint/2010/main" val="10242569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78.xml"/><Relationship Id="rId117" Type="http://schemas.openxmlformats.org/officeDocument/2006/relationships/image" Target="../media/image18.emf"/><Relationship Id="rId21" Type="http://schemas.openxmlformats.org/officeDocument/2006/relationships/tags" Target="../tags/tag473.xml"/><Relationship Id="rId42" Type="http://schemas.openxmlformats.org/officeDocument/2006/relationships/tags" Target="../tags/tag494.xml"/><Relationship Id="rId47" Type="http://schemas.openxmlformats.org/officeDocument/2006/relationships/tags" Target="../tags/tag499.xml"/><Relationship Id="rId63" Type="http://schemas.openxmlformats.org/officeDocument/2006/relationships/tags" Target="../tags/tag515.xml"/><Relationship Id="rId68" Type="http://schemas.openxmlformats.org/officeDocument/2006/relationships/tags" Target="../tags/tag520.xml"/><Relationship Id="rId84" Type="http://schemas.openxmlformats.org/officeDocument/2006/relationships/tags" Target="../tags/tag536.xml"/><Relationship Id="rId89" Type="http://schemas.openxmlformats.org/officeDocument/2006/relationships/tags" Target="../tags/tag541.xml"/><Relationship Id="rId112" Type="http://schemas.openxmlformats.org/officeDocument/2006/relationships/tags" Target="../tags/tag564.xml"/><Relationship Id="rId16" Type="http://schemas.openxmlformats.org/officeDocument/2006/relationships/tags" Target="../tags/tag468.xml"/><Relationship Id="rId107" Type="http://schemas.openxmlformats.org/officeDocument/2006/relationships/tags" Target="../tags/tag559.xml"/><Relationship Id="rId11" Type="http://schemas.openxmlformats.org/officeDocument/2006/relationships/tags" Target="../tags/tag463.xml"/><Relationship Id="rId32" Type="http://schemas.openxmlformats.org/officeDocument/2006/relationships/tags" Target="../tags/tag484.xml"/><Relationship Id="rId37" Type="http://schemas.openxmlformats.org/officeDocument/2006/relationships/tags" Target="../tags/tag489.xml"/><Relationship Id="rId53" Type="http://schemas.openxmlformats.org/officeDocument/2006/relationships/tags" Target="../tags/tag505.xml"/><Relationship Id="rId58" Type="http://schemas.openxmlformats.org/officeDocument/2006/relationships/tags" Target="../tags/tag510.xml"/><Relationship Id="rId74" Type="http://schemas.openxmlformats.org/officeDocument/2006/relationships/tags" Target="../tags/tag526.xml"/><Relationship Id="rId79" Type="http://schemas.openxmlformats.org/officeDocument/2006/relationships/tags" Target="../tags/tag531.xml"/><Relationship Id="rId102" Type="http://schemas.openxmlformats.org/officeDocument/2006/relationships/tags" Target="../tags/tag554.xml"/><Relationship Id="rId5" Type="http://schemas.openxmlformats.org/officeDocument/2006/relationships/tags" Target="../tags/tag457.xml"/><Relationship Id="rId90" Type="http://schemas.openxmlformats.org/officeDocument/2006/relationships/tags" Target="../tags/tag542.xml"/><Relationship Id="rId95" Type="http://schemas.openxmlformats.org/officeDocument/2006/relationships/tags" Target="../tags/tag547.xml"/><Relationship Id="rId22" Type="http://schemas.openxmlformats.org/officeDocument/2006/relationships/tags" Target="../tags/tag474.xml"/><Relationship Id="rId27" Type="http://schemas.openxmlformats.org/officeDocument/2006/relationships/tags" Target="../tags/tag479.xml"/><Relationship Id="rId43" Type="http://schemas.openxmlformats.org/officeDocument/2006/relationships/tags" Target="../tags/tag495.xml"/><Relationship Id="rId48" Type="http://schemas.openxmlformats.org/officeDocument/2006/relationships/tags" Target="../tags/tag500.xml"/><Relationship Id="rId64" Type="http://schemas.openxmlformats.org/officeDocument/2006/relationships/tags" Target="../tags/tag516.xml"/><Relationship Id="rId69" Type="http://schemas.openxmlformats.org/officeDocument/2006/relationships/tags" Target="../tags/tag521.xml"/><Relationship Id="rId113" Type="http://schemas.openxmlformats.org/officeDocument/2006/relationships/tags" Target="../tags/tag565.xml"/><Relationship Id="rId118" Type="http://schemas.openxmlformats.org/officeDocument/2006/relationships/chart" Target="../charts/chart13.xml"/><Relationship Id="rId80" Type="http://schemas.openxmlformats.org/officeDocument/2006/relationships/tags" Target="../tags/tag532.xml"/><Relationship Id="rId85" Type="http://schemas.openxmlformats.org/officeDocument/2006/relationships/tags" Target="../tags/tag537.xml"/><Relationship Id="rId12" Type="http://schemas.openxmlformats.org/officeDocument/2006/relationships/tags" Target="../tags/tag464.xml"/><Relationship Id="rId17" Type="http://schemas.openxmlformats.org/officeDocument/2006/relationships/tags" Target="../tags/tag469.xml"/><Relationship Id="rId33" Type="http://schemas.openxmlformats.org/officeDocument/2006/relationships/tags" Target="../tags/tag485.xml"/><Relationship Id="rId38" Type="http://schemas.openxmlformats.org/officeDocument/2006/relationships/tags" Target="../tags/tag490.xml"/><Relationship Id="rId59" Type="http://schemas.openxmlformats.org/officeDocument/2006/relationships/tags" Target="../tags/tag511.xml"/><Relationship Id="rId103" Type="http://schemas.openxmlformats.org/officeDocument/2006/relationships/tags" Target="../tags/tag555.xml"/><Relationship Id="rId108" Type="http://schemas.openxmlformats.org/officeDocument/2006/relationships/tags" Target="../tags/tag560.xml"/><Relationship Id="rId54" Type="http://schemas.openxmlformats.org/officeDocument/2006/relationships/tags" Target="../tags/tag506.xml"/><Relationship Id="rId70" Type="http://schemas.openxmlformats.org/officeDocument/2006/relationships/tags" Target="../tags/tag522.xml"/><Relationship Id="rId75" Type="http://schemas.openxmlformats.org/officeDocument/2006/relationships/tags" Target="../tags/tag527.xml"/><Relationship Id="rId91" Type="http://schemas.openxmlformats.org/officeDocument/2006/relationships/tags" Target="../tags/tag543.xml"/><Relationship Id="rId96" Type="http://schemas.openxmlformats.org/officeDocument/2006/relationships/tags" Target="../tags/tag548.xml"/><Relationship Id="rId1" Type="http://schemas.openxmlformats.org/officeDocument/2006/relationships/tags" Target="../tags/tag453.xml"/><Relationship Id="rId6" Type="http://schemas.openxmlformats.org/officeDocument/2006/relationships/tags" Target="../tags/tag458.xml"/><Relationship Id="rId23" Type="http://schemas.openxmlformats.org/officeDocument/2006/relationships/tags" Target="../tags/tag475.xml"/><Relationship Id="rId28" Type="http://schemas.openxmlformats.org/officeDocument/2006/relationships/tags" Target="../tags/tag480.xml"/><Relationship Id="rId49" Type="http://schemas.openxmlformats.org/officeDocument/2006/relationships/tags" Target="../tags/tag501.xml"/><Relationship Id="rId114" Type="http://schemas.openxmlformats.org/officeDocument/2006/relationships/tags" Target="../tags/tag566.xml"/><Relationship Id="rId119" Type="http://schemas.openxmlformats.org/officeDocument/2006/relationships/chart" Target="../charts/chart14.xml"/><Relationship Id="rId10" Type="http://schemas.openxmlformats.org/officeDocument/2006/relationships/tags" Target="../tags/tag462.xml"/><Relationship Id="rId31" Type="http://schemas.openxmlformats.org/officeDocument/2006/relationships/tags" Target="../tags/tag483.xml"/><Relationship Id="rId44" Type="http://schemas.openxmlformats.org/officeDocument/2006/relationships/tags" Target="../tags/tag496.xml"/><Relationship Id="rId52" Type="http://schemas.openxmlformats.org/officeDocument/2006/relationships/tags" Target="../tags/tag504.xml"/><Relationship Id="rId60" Type="http://schemas.openxmlformats.org/officeDocument/2006/relationships/tags" Target="../tags/tag512.xml"/><Relationship Id="rId65" Type="http://schemas.openxmlformats.org/officeDocument/2006/relationships/tags" Target="../tags/tag517.xml"/><Relationship Id="rId73" Type="http://schemas.openxmlformats.org/officeDocument/2006/relationships/tags" Target="../tags/tag525.xml"/><Relationship Id="rId78" Type="http://schemas.openxmlformats.org/officeDocument/2006/relationships/tags" Target="../tags/tag530.xml"/><Relationship Id="rId81" Type="http://schemas.openxmlformats.org/officeDocument/2006/relationships/tags" Target="../tags/tag533.xml"/><Relationship Id="rId86" Type="http://schemas.openxmlformats.org/officeDocument/2006/relationships/tags" Target="../tags/tag538.xml"/><Relationship Id="rId94" Type="http://schemas.openxmlformats.org/officeDocument/2006/relationships/tags" Target="../tags/tag546.xml"/><Relationship Id="rId99" Type="http://schemas.openxmlformats.org/officeDocument/2006/relationships/tags" Target="../tags/tag551.xml"/><Relationship Id="rId101" Type="http://schemas.openxmlformats.org/officeDocument/2006/relationships/tags" Target="../tags/tag553.xml"/><Relationship Id="rId4" Type="http://schemas.openxmlformats.org/officeDocument/2006/relationships/tags" Target="../tags/tag456.xml"/><Relationship Id="rId9" Type="http://schemas.openxmlformats.org/officeDocument/2006/relationships/tags" Target="../tags/tag461.xml"/><Relationship Id="rId13" Type="http://schemas.openxmlformats.org/officeDocument/2006/relationships/tags" Target="../tags/tag465.xml"/><Relationship Id="rId18" Type="http://schemas.openxmlformats.org/officeDocument/2006/relationships/tags" Target="../tags/tag470.xml"/><Relationship Id="rId39" Type="http://schemas.openxmlformats.org/officeDocument/2006/relationships/tags" Target="../tags/tag491.xml"/><Relationship Id="rId109" Type="http://schemas.openxmlformats.org/officeDocument/2006/relationships/tags" Target="../tags/tag561.xml"/><Relationship Id="rId34" Type="http://schemas.openxmlformats.org/officeDocument/2006/relationships/tags" Target="../tags/tag486.xml"/><Relationship Id="rId50" Type="http://schemas.openxmlformats.org/officeDocument/2006/relationships/tags" Target="../tags/tag502.xml"/><Relationship Id="rId55" Type="http://schemas.openxmlformats.org/officeDocument/2006/relationships/tags" Target="../tags/tag507.xml"/><Relationship Id="rId76" Type="http://schemas.openxmlformats.org/officeDocument/2006/relationships/tags" Target="../tags/tag528.xml"/><Relationship Id="rId97" Type="http://schemas.openxmlformats.org/officeDocument/2006/relationships/tags" Target="../tags/tag549.xml"/><Relationship Id="rId104" Type="http://schemas.openxmlformats.org/officeDocument/2006/relationships/tags" Target="../tags/tag556.xml"/><Relationship Id="rId7" Type="http://schemas.openxmlformats.org/officeDocument/2006/relationships/tags" Target="../tags/tag459.xml"/><Relationship Id="rId71" Type="http://schemas.openxmlformats.org/officeDocument/2006/relationships/tags" Target="../tags/tag523.xml"/><Relationship Id="rId92" Type="http://schemas.openxmlformats.org/officeDocument/2006/relationships/tags" Target="../tags/tag544.xml"/><Relationship Id="rId2" Type="http://schemas.openxmlformats.org/officeDocument/2006/relationships/tags" Target="../tags/tag454.xml"/><Relationship Id="rId29" Type="http://schemas.openxmlformats.org/officeDocument/2006/relationships/tags" Target="../tags/tag481.xml"/><Relationship Id="rId24" Type="http://schemas.openxmlformats.org/officeDocument/2006/relationships/tags" Target="../tags/tag476.xml"/><Relationship Id="rId40" Type="http://schemas.openxmlformats.org/officeDocument/2006/relationships/tags" Target="../tags/tag492.xml"/><Relationship Id="rId45" Type="http://schemas.openxmlformats.org/officeDocument/2006/relationships/tags" Target="../tags/tag497.xml"/><Relationship Id="rId66" Type="http://schemas.openxmlformats.org/officeDocument/2006/relationships/tags" Target="../tags/tag518.xml"/><Relationship Id="rId87" Type="http://schemas.openxmlformats.org/officeDocument/2006/relationships/tags" Target="../tags/tag539.xml"/><Relationship Id="rId110" Type="http://schemas.openxmlformats.org/officeDocument/2006/relationships/tags" Target="../tags/tag562.xml"/><Relationship Id="rId115" Type="http://schemas.openxmlformats.org/officeDocument/2006/relationships/slideLayout" Target="../slideLayouts/slideLayout3.xml"/><Relationship Id="rId61" Type="http://schemas.openxmlformats.org/officeDocument/2006/relationships/tags" Target="../tags/tag513.xml"/><Relationship Id="rId82" Type="http://schemas.openxmlformats.org/officeDocument/2006/relationships/tags" Target="../tags/tag534.xml"/><Relationship Id="rId19" Type="http://schemas.openxmlformats.org/officeDocument/2006/relationships/tags" Target="../tags/tag471.xml"/><Relationship Id="rId14" Type="http://schemas.openxmlformats.org/officeDocument/2006/relationships/tags" Target="../tags/tag466.xml"/><Relationship Id="rId30" Type="http://schemas.openxmlformats.org/officeDocument/2006/relationships/tags" Target="../tags/tag482.xml"/><Relationship Id="rId35" Type="http://schemas.openxmlformats.org/officeDocument/2006/relationships/tags" Target="../tags/tag487.xml"/><Relationship Id="rId56" Type="http://schemas.openxmlformats.org/officeDocument/2006/relationships/tags" Target="../tags/tag508.xml"/><Relationship Id="rId77" Type="http://schemas.openxmlformats.org/officeDocument/2006/relationships/tags" Target="../tags/tag529.xml"/><Relationship Id="rId100" Type="http://schemas.openxmlformats.org/officeDocument/2006/relationships/tags" Target="../tags/tag552.xml"/><Relationship Id="rId105" Type="http://schemas.openxmlformats.org/officeDocument/2006/relationships/tags" Target="../tags/tag557.xml"/><Relationship Id="rId8" Type="http://schemas.openxmlformats.org/officeDocument/2006/relationships/tags" Target="../tags/tag460.xml"/><Relationship Id="rId51" Type="http://schemas.openxmlformats.org/officeDocument/2006/relationships/tags" Target="../tags/tag503.xml"/><Relationship Id="rId72" Type="http://schemas.openxmlformats.org/officeDocument/2006/relationships/tags" Target="../tags/tag524.xml"/><Relationship Id="rId93" Type="http://schemas.openxmlformats.org/officeDocument/2006/relationships/tags" Target="../tags/tag545.xml"/><Relationship Id="rId98" Type="http://schemas.openxmlformats.org/officeDocument/2006/relationships/tags" Target="../tags/tag550.xml"/><Relationship Id="rId3" Type="http://schemas.openxmlformats.org/officeDocument/2006/relationships/tags" Target="../tags/tag455.xml"/><Relationship Id="rId25" Type="http://schemas.openxmlformats.org/officeDocument/2006/relationships/tags" Target="../tags/tag477.xml"/><Relationship Id="rId46" Type="http://schemas.openxmlformats.org/officeDocument/2006/relationships/tags" Target="../tags/tag498.xml"/><Relationship Id="rId67" Type="http://schemas.openxmlformats.org/officeDocument/2006/relationships/tags" Target="../tags/tag519.xml"/><Relationship Id="rId116" Type="http://schemas.openxmlformats.org/officeDocument/2006/relationships/oleObject" Target="../embeddings/oleObject10.bin"/><Relationship Id="rId20" Type="http://schemas.openxmlformats.org/officeDocument/2006/relationships/tags" Target="../tags/tag472.xml"/><Relationship Id="rId41" Type="http://schemas.openxmlformats.org/officeDocument/2006/relationships/tags" Target="../tags/tag493.xml"/><Relationship Id="rId62" Type="http://schemas.openxmlformats.org/officeDocument/2006/relationships/tags" Target="../tags/tag514.xml"/><Relationship Id="rId83" Type="http://schemas.openxmlformats.org/officeDocument/2006/relationships/tags" Target="../tags/tag535.xml"/><Relationship Id="rId88" Type="http://schemas.openxmlformats.org/officeDocument/2006/relationships/tags" Target="../tags/tag540.xml"/><Relationship Id="rId111" Type="http://schemas.openxmlformats.org/officeDocument/2006/relationships/tags" Target="../tags/tag563.xml"/><Relationship Id="rId15" Type="http://schemas.openxmlformats.org/officeDocument/2006/relationships/tags" Target="../tags/tag467.xml"/><Relationship Id="rId36" Type="http://schemas.openxmlformats.org/officeDocument/2006/relationships/tags" Target="../tags/tag488.xml"/><Relationship Id="rId57" Type="http://schemas.openxmlformats.org/officeDocument/2006/relationships/tags" Target="../tags/tag509.xml"/><Relationship Id="rId106" Type="http://schemas.openxmlformats.org/officeDocument/2006/relationships/tags" Target="../tags/tag558.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567.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568.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0.xml"/><Relationship Id="rId1" Type="http://schemas.openxmlformats.org/officeDocument/2006/relationships/tags" Target="../tags/tag569.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emf"/><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oleObject" Target="../embeddings/oleObject14.bin"/><Relationship Id="rId9" Type="http://schemas.openxmlformats.org/officeDocument/2006/relationships/image" Target="../media/image24.png"/><Relationship Id="rId14" Type="http://schemas.openxmlformats.org/officeDocument/2006/relationships/image" Target="../media/image2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573.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117" Type="http://schemas.openxmlformats.org/officeDocument/2006/relationships/tags" Target="../tags/tag690.xml"/><Relationship Id="rId21" Type="http://schemas.openxmlformats.org/officeDocument/2006/relationships/tags" Target="../tags/tag594.xml"/><Relationship Id="rId42" Type="http://schemas.openxmlformats.org/officeDocument/2006/relationships/tags" Target="../tags/tag615.xml"/><Relationship Id="rId63" Type="http://schemas.openxmlformats.org/officeDocument/2006/relationships/tags" Target="../tags/tag636.xml"/><Relationship Id="rId84" Type="http://schemas.openxmlformats.org/officeDocument/2006/relationships/tags" Target="../tags/tag657.xml"/><Relationship Id="rId138" Type="http://schemas.openxmlformats.org/officeDocument/2006/relationships/tags" Target="../tags/tag711.xml"/><Relationship Id="rId107" Type="http://schemas.openxmlformats.org/officeDocument/2006/relationships/tags" Target="../tags/tag680.xml"/><Relationship Id="rId11" Type="http://schemas.openxmlformats.org/officeDocument/2006/relationships/tags" Target="../tags/tag584.xml"/><Relationship Id="rId32" Type="http://schemas.openxmlformats.org/officeDocument/2006/relationships/tags" Target="../tags/tag605.xml"/><Relationship Id="rId53" Type="http://schemas.openxmlformats.org/officeDocument/2006/relationships/tags" Target="../tags/tag626.xml"/><Relationship Id="rId74" Type="http://schemas.openxmlformats.org/officeDocument/2006/relationships/tags" Target="../tags/tag647.xml"/><Relationship Id="rId128" Type="http://schemas.openxmlformats.org/officeDocument/2006/relationships/tags" Target="../tags/tag701.xml"/><Relationship Id="rId149" Type="http://schemas.openxmlformats.org/officeDocument/2006/relationships/tags" Target="../tags/tag722.xml"/><Relationship Id="rId5" Type="http://schemas.openxmlformats.org/officeDocument/2006/relationships/tags" Target="../tags/tag578.xml"/><Relationship Id="rId95" Type="http://schemas.openxmlformats.org/officeDocument/2006/relationships/tags" Target="../tags/tag668.xml"/><Relationship Id="rId22" Type="http://schemas.openxmlformats.org/officeDocument/2006/relationships/tags" Target="../tags/tag595.xml"/><Relationship Id="rId27" Type="http://schemas.openxmlformats.org/officeDocument/2006/relationships/tags" Target="../tags/tag600.xml"/><Relationship Id="rId43" Type="http://schemas.openxmlformats.org/officeDocument/2006/relationships/tags" Target="../tags/tag616.xml"/><Relationship Id="rId48" Type="http://schemas.openxmlformats.org/officeDocument/2006/relationships/tags" Target="../tags/tag621.xml"/><Relationship Id="rId64" Type="http://schemas.openxmlformats.org/officeDocument/2006/relationships/tags" Target="../tags/tag637.xml"/><Relationship Id="rId69" Type="http://schemas.openxmlformats.org/officeDocument/2006/relationships/tags" Target="../tags/tag642.xml"/><Relationship Id="rId113" Type="http://schemas.openxmlformats.org/officeDocument/2006/relationships/tags" Target="../tags/tag686.xml"/><Relationship Id="rId118" Type="http://schemas.openxmlformats.org/officeDocument/2006/relationships/tags" Target="../tags/tag691.xml"/><Relationship Id="rId134" Type="http://schemas.openxmlformats.org/officeDocument/2006/relationships/tags" Target="../tags/tag707.xml"/><Relationship Id="rId139" Type="http://schemas.openxmlformats.org/officeDocument/2006/relationships/tags" Target="../tags/tag712.xml"/><Relationship Id="rId80" Type="http://schemas.openxmlformats.org/officeDocument/2006/relationships/tags" Target="../tags/tag653.xml"/><Relationship Id="rId85" Type="http://schemas.openxmlformats.org/officeDocument/2006/relationships/tags" Target="../tags/tag658.xml"/><Relationship Id="rId150" Type="http://schemas.openxmlformats.org/officeDocument/2006/relationships/slideLayout" Target="../slideLayouts/slideLayout3.xml"/><Relationship Id="rId155" Type="http://schemas.openxmlformats.org/officeDocument/2006/relationships/chart" Target="../charts/chart16.xml"/><Relationship Id="rId12" Type="http://schemas.openxmlformats.org/officeDocument/2006/relationships/tags" Target="../tags/tag585.xml"/><Relationship Id="rId17" Type="http://schemas.openxmlformats.org/officeDocument/2006/relationships/tags" Target="../tags/tag590.xml"/><Relationship Id="rId33" Type="http://schemas.openxmlformats.org/officeDocument/2006/relationships/tags" Target="../tags/tag606.xml"/><Relationship Id="rId38" Type="http://schemas.openxmlformats.org/officeDocument/2006/relationships/tags" Target="../tags/tag611.xml"/><Relationship Id="rId59" Type="http://schemas.openxmlformats.org/officeDocument/2006/relationships/tags" Target="../tags/tag632.xml"/><Relationship Id="rId103" Type="http://schemas.openxmlformats.org/officeDocument/2006/relationships/tags" Target="../tags/tag676.xml"/><Relationship Id="rId108" Type="http://schemas.openxmlformats.org/officeDocument/2006/relationships/tags" Target="../tags/tag681.xml"/><Relationship Id="rId124" Type="http://schemas.openxmlformats.org/officeDocument/2006/relationships/tags" Target="../tags/tag697.xml"/><Relationship Id="rId129" Type="http://schemas.openxmlformats.org/officeDocument/2006/relationships/tags" Target="../tags/tag702.xml"/><Relationship Id="rId54" Type="http://schemas.openxmlformats.org/officeDocument/2006/relationships/tags" Target="../tags/tag627.xml"/><Relationship Id="rId70" Type="http://schemas.openxmlformats.org/officeDocument/2006/relationships/tags" Target="../tags/tag643.xml"/><Relationship Id="rId75" Type="http://schemas.openxmlformats.org/officeDocument/2006/relationships/tags" Target="../tags/tag648.xml"/><Relationship Id="rId91" Type="http://schemas.openxmlformats.org/officeDocument/2006/relationships/tags" Target="../tags/tag664.xml"/><Relationship Id="rId96" Type="http://schemas.openxmlformats.org/officeDocument/2006/relationships/tags" Target="../tags/tag669.xml"/><Relationship Id="rId140" Type="http://schemas.openxmlformats.org/officeDocument/2006/relationships/tags" Target="../tags/tag713.xml"/><Relationship Id="rId145" Type="http://schemas.openxmlformats.org/officeDocument/2006/relationships/tags" Target="../tags/tag718.xml"/><Relationship Id="rId1" Type="http://schemas.openxmlformats.org/officeDocument/2006/relationships/tags" Target="../tags/tag574.xml"/><Relationship Id="rId6" Type="http://schemas.openxmlformats.org/officeDocument/2006/relationships/tags" Target="../tags/tag579.xml"/><Relationship Id="rId23" Type="http://schemas.openxmlformats.org/officeDocument/2006/relationships/tags" Target="../tags/tag596.xml"/><Relationship Id="rId28" Type="http://schemas.openxmlformats.org/officeDocument/2006/relationships/tags" Target="../tags/tag601.xml"/><Relationship Id="rId49" Type="http://schemas.openxmlformats.org/officeDocument/2006/relationships/tags" Target="../tags/tag622.xml"/><Relationship Id="rId114" Type="http://schemas.openxmlformats.org/officeDocument/2006/relationships/tags" Target="../tags/tag687.xml"/><Relationship Id="rId119" Type="http://schemas.openxmlformats.org/officeDocument/2006/relationships/tags" Target="../tags/tag692.xml"/><Relationship Id="rId44" Type="http://schemas.openxmlformats.org/officeDocument/2006/relationships/tags" Target="../tags/tag617.xml"/><Relationship Id="rId60" Type="http://schemas.openxmlformats.org/officeDocument/2006/relationships/tags" Target="../tags/tag633.xml"/><Relationship Id="rId65" Type="http://schemas.openxmlformats.org/officeDocument/2006/relationships/tags" Target="../tags/tag638.xml"/><Relationship Id="rId81" Type="http://schemas.openxmlformats.org/officeDocument/2006/relationships/tags" Target="../tags/tag654.xml"/><Relationship Id="rId86" Type="http://schemas.openxmlformats.org/officeDocument/2006/relationships/tags" Target="../tags/tag659.xml"/><Relationship Id="rId130" Type="http://schemas.openxmlformats.org/officeDocument/2006/relationships/tags" Target="../tags/tag703.xml"/><Relationship Id="rId135" Type="http://schemas.openxmlformats.org/officeDocument/2006/relationships/tags" Target="../tags/tag708.xml"/><Relationship Id="rId151" Type="http://schemas.openxmlformats.org/officeDocument/2006/relationships/notesSlide" Target="../notesSlides/notesSlide5.xml"/><Relationship Id="rId156" Type="http://schemas.openxmlformats.org/officeDocument/2006/relationships/chart" Target="../charts/chart17.xml"/><Relationship Id="rId13" Type="http://schemas.openxmlformats.org/officeDocument/2006/relationships/tags" Target="../tags/tag586.xml"/><Relationship Id="rId18" Type="http://schemas.openxmlformats.org/officeDocument/2006/relationships/tags" Target="../tags/tag591.xml"/><Relationship Id="rId39" Type="http://schemas.openxmlformats.org/officeDocument/2006/relationships/tags" Target="../tags/tag612.xml"/><Relationship Id="rId109" Type="http://schemas.openxmlformats.org/officeDocument/2006/relationships/tags" Target="../tags/tag682.xml"/><Relationship Id="rId34" Type="http://schemas.openxmlformats.org/officeDocument/2006/relationships/tags" Target="../tags/tag607.xml"/><Relationship Id="rId50" Type="http://schemas.openxmlformats.org/officeDocument/2006/relationships/tags" Target="../tags/tag623.xml"/><Relationship Id="rId55" Type="http://schemas.openxmlformats.org/officeDocument/2006/relationships/tags" Target="../tags/tag628.xml"/><Relationship Id="rId76" Type="http://schemas.openxmlformats.org/officeDocument/2006/relationships/tags" Target="../tags/tag649.xml"/><Relationship Id="rId97" Type="http://schemas.openxmlformats.org/officeDocument/2006/relationships/tags" Target="../tags/tag670.xml"/><Relationship Id="rId104" Type="http://schemas.openxmlformats.org/officeDocument/2006/relationships/tags" Target="../tags/tag677.xml"/><Relationship Id="rId120" Type="http://schemas.openxmlformats.org/officeDocument/2006/relationships/tags" Target="../tags/tag693.xml"/><Relationship Id="rId125" Type="http://schemas.openxmlformats.org/officeDocument/2006/relationships/tags" Target="../tags/tag698.xml"/><Relationship Id="rId141" Type="http://schemas.openxmlformats.org/officeDocument/2006/relationships/tags" Target="../tags/tag714.xml"/><Relationship Id="rId146" Type="http://schemas.openxmlformats.org/officeDocument/2006/relationships/tags" Target="../tags/tag719.xml"/><Relationship Id="rId7" Type="http://schemas.openxmlformats.org/officeDocument/2006/relationships/tags" Target="../tags/tag580.xml"/><Relationship Id="rId71" Type="http://schemas.openxmlformats.org/officeDocument/2006/relationships/tags" Target="../tags/tag644.xml"/><Relationship Id="rId92" Type="http://schemas.openxmlformats.org/officeDocument/2006/relationships/tags" Target="../tags/tag665.xml"/><Relationship Id="rId2" Type="http://schemas.openxmlformats.org/officeDocument/2006/relationships/tags" Target="../tags/tag575.xml"/><Relationship Id="rId29" Type="http://schemas.openxmlformats.org/officeDocument/2006/relationships/tags" Target="../tags/tag602.xml"/><Relationship Id="rId24" Type="http://schemas.openxmlformats.org/officeDocument/2006/relationships/tags" Target="../tags/tag597.xml"/><Relationship Id="rId40" Type="http://schemas.openxmlformats.org/officeDocument/2006/relationships/tags" Target="../tags/tag613.xml"/><Relationship Id="rId45" Type="http://schemas.openxmlformats.org/officeDocument/2006/relationships/tags" Target="../tags/tag618.xml"/><Relationship Id="rId66" Type="http://schemas.openxmlformats.org/officeDocument/2006/relationships/tags" Target="../tags/tag639.xml"/><Relationship Id="rId87" Type="http://schemas.openxmlformats.org/officeDocument/2006/relationships/tags" Target="../tags/tag660.xml"/><Relationship Id="rId110" Type="http://schemas.openxmlformats.org/officeDocument/2006/relationships/tags" Target="../tags/tag683.xml"/><Relationship Id="rId115" Type="http://schemas.openxmlformats.org/officeDocument/2006/relationships/tags" Target="../tags/tag688.xml"/><Relationship Id="rId131" Type="http://schemas.openxmlformats.org/officeDocument/2006/relationships/tags" Target="../tags/tag704.xml"/><Relationship Id="rId136" Type="http://schemas.openxmlformats.org/officeDocument/2006/relationships/tags" Target="../tags/tag709.xml"/><Relationship Id="rId61" Type="http://schemas.openxmlformats.org/officeDocument/2006/relationships/tags" Target="../tags/tag634.xml"/><Relationship Id="rId82" Type="http://schemas.openxmlformats.org/officeDocument/2006/relationships/tags" Target="../tags/tag655.xml"/><Relationship Id="rId152" Type="http://schemas.openxmlformats.org/officeDocument/2006/relationships/oleObject" Target="../embeddings/oleObject16.bin"/><Relationship Id="rId19" Type="http://schemas.openxmlformats.org/officeDocument/2006/relationships/tags" Target="../tags/tag592.xml"/><Relationship Id="rId14" Type="http://schemas.openxmlformats.org/officeDocument/2006/relationships/tags" Target="../tags/tag587.xml"/><Relationship Id="rId30" Type="http://schemas.openxmlformats.org/officeDocument/2006/relationships/tags" Target="../tags/tag603.xml"/><Relationship Id="rId35" Type="http://schemas.openxmlformats.org/officeDocument/2006/relationships/tags" Target="../tags/tag608.xml"/><Relationship Id="rId56" Type="http://schemas.openxmlformats.org/officeDocument/2006/relationships/tags" Target="../tags/tag629.xml"/><Relationship Id="rId77" Type="http://schemas.openxmlformats.org/officeDocument/2006/relationships/tags" Target="../tags/tag650.xml"/><Relationship Id="rId100" Type="http://schemas.openxmlformats.org/officeDocument/2006/relationships/tags" Target="../tags/tag673.xml"/><Relationship Id="rId105" Type="http://schemas.openxmlformats.org/officeDocument/2006/relationships/tags" Target="../tags/tag678.xml"/><Relationship Id="rId126" Type="http://schemas.openxmlformats.org/officeDocument/2006/relationships/tags" Target="../tags/tag699.xml"/><Relationship Id="rId147" Type="http://schemas.openxmlformats.org/officeDocument/2006/relationships/tags" Target="../tags/tag720.xml"/><Relationship Id="rId8" Type="http://schemas.openxmlformats.org/officeDocument/2006/relationships/tags" Target="../tags/tag581.xml"/><Relationship Id="rId51" Type="http://schemas.openxmlformats.org/officeDocument/2006/relationships/tags" Target="../tags/tag624.xml"/><Relationship Id="rId72" Type="http://schemas.openxmlformats.org/officeDocument/2006/relationships/tags" Target="../tags/tag645.xml"/><Relationship Id="rId93" Type="http://schemas.openxmlformats.org/officeDocument/2006/relationships/tags" Target="../tags/tag666.xml"/><Relationship Id="rId98" Type="http://schemas.openxmlformats.org/officeDocument/2006/relationships/tags" Target="../tags/tag671.xml"/><Relationship Id="rId121" Type="http://schemas.openxmlformats.org/officeDocument/2006/relationships/tags" Target="../tags/tag694.xml"/><Relationship Id="rId142" Type="http://schemas.openxmlformats.org/officeDocument/2006/relationships/tags" Target="../tags/tag715.xml"/><Relationship Id="rId3" Type="http://schemas.openxmlformats.org/officeDocument/2006/relationships/tags" Target="../tags/tag576.xml"/><Relationship Id="rId25" Type="http://schemas.openxmlformats.org/officeDocument/2006/relationships/tags" Target="../tags/tag598.xml"/><Relationship Id="rId46" Type="http://schemas.openxmlformats.org/officeDocument/2006/relationships/tags" Target="../tags/tag619.xml"/><Relationship Id="rId67" Type="http://schemas.openxmlformats.org/officeDocument/2006/relationships/tags" Target="../tags/tag640.xml"/><Relationship Id="rId116" Type="http://schemas.openxmlformats.org/officeDocument/2006/relationships/tags" Target="../tags/tag689.xml"/><Relationship Id="rId137" Type="http://schemas.openxmlformats.org/officeDocument/2006/relationships/tags" Target="../tags/tag710.xml"/><Relationship Id="rId20" Type="http://schemas.openxmlformats.org/officeDocument/2006/relationships/tags" Target="../tags/tag593.xml"/><Relationship Id="rId41" Type="http://schemas.openxmlformats.org/officeDocument/2006/relationships/tags" Target="../tags/tag614.xml"/><Relationship Id="rId62" Type="http://schemas.openxmlformats.org/officeDocument/2006/relationships/tags" Target="../tags/tag635.xml"/><Relationship Id="rId83" Type="http://schemas.openxmlformats.org/officeDocument/2006/relationships/tags" Target="../tags/tag656.xml"/><Relationship Id="rId88" Type="http://schemas.openxmlformats.org/officeDocument/2006/relationships/tags" Target="../tags/tag661.xml"/><Relationship Id="rId111" Type="http://schemas.openxmlformats.org/officeDocument/2006/relationships/tags" Target="../tags/tag684.xml"/><Relationship Id="rId132" Type="http://schemas.openxmlformats.org/officeDocument/2006/relationships/tags" Target="../tags/tag705.xml"/><Relationship Id="rId153" Type="http://schemas.openxmlformats.org/officeDocument/2006/relationships/image" Target="../media/image1.emf"/><Relationship Id="rId15" Type="http://schemas.openxmlformats.org/officeDocument/2006/relationships/tags" Target="../tags/tag588.xml"/><Relationship Id="rId36" Type="http://schemas.openxmlformats.org/officeDocument/2006/relationships/tags" Target="../tags/tag609.xml"/><Relationship Id="rId57" Type="http://schemas.openxmlformats.org/officeDocument/2006/relationships/tags" Target="../tags/tag630.xml"/><Relationship Id="rId106" Type="http://schemas.openxmlformats.org/officeDocument/2006/relationships/tags" Target="../tags/tag679.xml"/><Relationship Id="rId127" Type="http://schemas.openxmlformats.org/officeDocument/2006/relationships/tags" Target="../tags/tag700.xml"/><Relationship Id="rId10" Type="http://schemas.openxmlformats.org/officeDocument/2006/relationships/tags" Target="../tags/tag583.xml"/><Relationship Id="rId31" Type="http://schemas.openxmlformats.org/officeDocument/2006/relationships/tags" Target="../tags/tag604.xml"/><Relationship Id="rId52" Type="http://schemas.openxmlformats.org/officeDocument/2006/relationships/tags" Target="../tags/tag625.xml"/><Relationship Id="rId73" Type="http://schemas.openxmlformats.org/officeDocument/2006/relationships/tags" Target="../tags/tag646.xml"/><Relationship Id="rId78" Type="http://schemas.openxmlformats.org/officeDocument/2006/relationships/tags" Target="../tags/tag651.xml"/><Relationship Id="rId94" Type="http://schemas.openxmlformats.org/officeDocument/2006/relationships/tags" Target="../tags/tag667.xml"/><Relationship Id="rId99" Type="http://schemas.openxmlformats.org/officeDocument/2006/relationships/tags" Target="../tags/tag672.xml"/><Relationship Id="rId101" Type="http://schemas.openxmlformats.org/officeDocument/2006/relationships/tags" Target="../tags/tag674.xml"/><Relationship Id="rId122" Type="http://schemas.openxmlformats.org/officeDocument/2006/relationships/tags" Target="../tags/tag695.xml"/><Relationship Id="rId143" Type="http://schemas.openxmlformats.org/officeDocument/2006/relationships/tags" Target="../tags/tag716.xml"/><Relationship Id="rId148" Type="http://schemas.openxmlformats.org/officeDocument/2006/relationships/tags" Target="../tags/tag721.xml"/><Relationship Id="rId4" Type="http://schemas.openxmlformats.org/officeDocument/2006/relationships/tags" Target="../tags/tag577.xml"/><Relationship Id="rId9" Type="http://schemas.openxmlformats.org/officeDocument/2006/relationships/tags" Target="../tags/tag582.xml"/><Relationship Id="rId26" Type="http://schemas.openxmlformats.org/officeDocument/2006/relationships/tags" Target="../tags/tag599.xml"/><Relationship Id="rId47" Type="http://schemas.openxmlformats.org/officeDocument/2006/relationships/tags" Target="../tags/tag620.xml"/><Relationship Id="rId68" Type="http://schemas.openxmlformats.org/officeDocument/2006/relationships/tags" Target="../tags/tag641.xml"/><Relationship Id="rId89" Type="http://schemas.openxmlformats.org/officeDocument/2006/relationships/tags" Target="../tags/tag662.xml"/><Relationship Id="rId112" Type="http://schemas.openxmlformats.org/officeDocument/2006/relationships/tags" Target="../tags/tag685.xml"/><Relationship Id="rId133" Type="http://schemas.openxmlformats.org/officeDocument/2006/relationships/tags" Target="../tags/tag706.xml"/><Relationship Id="rId154" Type="http://schemas.openxmlformats.org/officeDocument/2006/relationships/chart" Target="../charts/chart15.xml"/><Relationship Id="rId16" Type="http://schemas.openxmlformats.org/officeDocument/2006/relationships/tags" Target="../tags/tag589.xml"/><Relationship Id="rId37" Type="http://schemas.openxmlformats.org/officeDocument/2006/relationships/tags" Target="../tags/tag610.xml"/><Relationship Id="rId58" Type="http://schemas.openxmlformats.org/officeDocument/2006/relationships/tags" Target="../tags/tag631.xml"/><Relationship Id="rId79" Type="http://schemas.openxmlformats.org/officeDocument/2006/relationships/tags" Target="../tags/tag652.xml"/><Relationship Id="rId102" Type="http://schemas.openxmlformats.org/officeDocument/2006/relationships/tags" Target="../tags/tag675.xml"/><Relationship Id="rId123" Type="http://schemas.openxmlformats.org/officeDocument/2006/relationships/tags" Target="../tags/tag696.xml"/><Relationship Id="rId144" Type="http://schemas.openxmlformats.org/officeDocument/2006/relationships/tags" Target="../tags/tag717.xml"/><Relationship Id="rId90" Type="http://schemas.openxmlformats.org/officeDocument/2006/relationships/tags" Target="../tags/tag663.xml"/></Relationships>
</file>

<file path=ppt/slides/_rels/slide18.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tags" Target="../tags/tag735.xml"/><Relationship Id="rId18" Type="http://schemas.openxmlformats.org/officeDocument/2006/relationships/slideLayout" Target="../slideLayouts/slideLayout3.xml"/><Relationship Id="rId3" Type="http://schemas.openxmlformats.org/officeDocument/2006/relationships/tags" Target="../tags/tag725.xml"/><Relationship Id="rId21" Type="http://schemas.openxmlformats.org/officeDocument/2006/relationships/image" Target="../media/image18.emf"/><Relationship Id="rId7" Type="http://schemas.openxmlformats.org/officeDocument/2006/relationships/tags" Target="../tags/tag729.xml"/><Relationship Id="rId12" Type="http://schemas.openxmlformats.org/officeDocument/2006/relationships/tags" Target="../tags/tag734.xml"/><Relationship Id="rId17" Type="http://schemas.openxmlformats.org/officeDocument/2006/relationships/tags" Target="../tags/tag739.xml"/><Relationship Id="rId2" Type="http://schemas.openxmlformats.org/officeDocument/2006/relationships/tags" Target="../tags/tag724.xml"/><Relationship Id="rId16" Type="http://schemas.openxmlformats.org/officeDocument/2006/relationships/tags" Target="../tags/tag738.xml"/><Relationship Id="rId20" Type="http://schemas.openxmlformats.org/officeDocument/2006/relationships/oleObject" Target="../embeddings/oleObject17.bin"/><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5" Type="http://schemas.openxmlformats.org/officeDocument/2006/relationships/tags" Target="../tags/tag727.xml"/><Relationship Id="rId15" Type="http://schemas.openxmlformats.org/officeDocument/2006/relationships/tags" Target="../tags/tag737.xml"/><Relationship Id="rId23" Type="http://schemas.openxmlformats.org/officeDocument/2006/relationships/chart" Target="../charts/chart19.xml"/><Relationship Id="rId10" Type="http://schemas.openxmlformats.org/officeDocument/2006/relationships/tags" Target="../tags/tag732.xml"/><Relationship Id="rId19" Type="http://schemas.openxmlformats.org/officeDocument/2006/relationships/notesSlide" Target="../notesSlides/notesSlide6.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tags" Target="../tags/tag736.xml"/><Relationship Id="rId22"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1.xml"/><Relationship Id="rId1" Type="http://schemas.openxmlformats.org/officeDocument/2006/relationships/tags" Target="../tags/tag740.xml"/><Relationship Id="rId6" Type="http://schemas.openxmlformats.org/officeDocument/2006/relationships/image" Target="../media/image18.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744.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8" Type="http://schemas.openxmlformats.org/officeDocument/2006/relationships/hyperlink" Target="https://www.westerncape.gov.za/assets/departments/health/tygerberg_hospital_information_pamphlet_-_2016.pdf" TargetMode="External"/><Relationship Id="rId3" Type="http://schemas.openxmlformats.org/officeDocument/2006/relationships/oleObject" Target="../embeddings/oleObject20.bin"/><Relationship Id="rId7" Type="http://schemas.openxmlformats.org/officeDocument/2006/relationships/hyperlink" Target="https://www.cput.ac.za/about/visit/tygerberg-hospital" TargetMode="External"/><Relationship Id="rId2" Type="http://schemas.openxmlformats.org/officeDocument/2006/relationships/slideLayout" Target="../slideLayouts/slideLayout3.xml"/><Relationship Id="rId1" Type="http://schemas.openxmlformats.org/officeDocument/2006/relationships/tags" Target="../tags/tag745.xml"/><Relationship Id="rId6" Type="http://schemas.openxmlformats.org/officeDocument/2006/relationships/hyperlink" Target="https://www.up.ac.za/psychiatry/article/1949330/weskoppies-hospital" TargetMode="External"/><Relationship Id="rId5" Type="http://schemas.openxmlformats.org/officeDocument/2006/relationships/hyperlink" Target="https://www.chrishanibaragwanathhospital.co.za/" TargetMode="External"/><Relationship Id="rId10" Type="http://schemas.openxmlformats.org/officeDocument/2006/relationships/hyperlink" Target="http://www.ecdoh.gov.za/hospitals/71/Nelson_Mandela_Academic_Hospital" TargetMode="External"/><Relationship Id="rId4" Type="http://schemas.openxmlformats.org/officeDocument/2006/relationships/image" Target="../media/image20.emf"/><Relationship Id="rId9" Type="http://schemas.openxmlformats.org/officeDocument/2006/relationships/hyperlink" Target="https://sbah.org.za/"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746.xml"/><Relationship Id="rId4" Type="http://schemas.openxmlformats.org/officeDocument/2006/relationships/image" Target="../media/image20.emf"/></Relationships>
</file>

<file path=ppt/slides/_rels/slide24.xml.rels><?xml version="1.0" encoding="UTF-8" standalone="yes"?>
<Relationships xmlns="http://schemas.openxmlformats.org/package/2006/relationships"><Relationship Id="rId117" Type="http://schemas.openxmlformats.org/officeDocument/2006/relationships/tags" Target="../tags/tag863.xml"/><Relationship Id="rId21" Type="http://schemas.openxmlformats.org/officeDocument/2006/relationships/tags" Target="../tags/tag767.xml"/><Relationship Id="rId42" Type="http://schemas.openxmlformats.org/officeDocument/2006/relationships/tags" Target="../tags/tag788.xml"/><Relationship Id="rId63" Type="http://schemas.openxmlformats.org/officeDocument/2006/relationships/tags" Target="../tags/tag809.xml"/><Relationship Id="rId84" Type="http://schemas.openxmlformats.org/officeDocument/2006/relationships/tags" Target="../tags/tag830.xml"/><Relationship Id="rId138" Type="http://schemas.openxmlformats.org/officeDocument/2006/relationships/tags" Target="../tags/tag884.xml"/><Relationship Id="rId159" Type="http://schemas.openxmlformats.org/officeDocument/2006/relationships/tags" Target="../tags/tag905.xml"/><Relationship Id="rId107" Type="http://schemas.openxmlformats.org/officeDocument/2006/relationships/tags" Target="../tags/tag853.xml"/><Relationship Id="rId11" Type="http://schemas.openxmlformats.org/officeDocument/2006/relationships/tags" Target="../tags/tag757.xml"/><Relationship Id="rId32" Type="http://schemas.openxmlformats.org/officeDocument/2006/relationships/tags" Target="../tags/tag778.xml"/><Relationship Id="rId53" Type="http://schemas.openxmlformats.org/officeDocument/2006/relationships/tags" Target="../tags/tag799.xml"/><Relationship Id="rId74" Type="http://schemas.openxmlformats.org/officeDocument/2006/relationships/tags" Target="../tags/tag820.xml"/><Relationship Id="rId128" Type="http://schemas.openxmlformats.org/officeDocument/2006/relationships/tags" Target="../tags/tag874.xml"/><Relationship Id="rId149" Type="http://schemas.openxmlformats.org/officeDocument/2006/relationships/tags" Target="../tags/tag895.xml"/><Relationship Id="rId5" Type="http://schemas.openxmlformats.org/officeDocument/2006/relationships/tags" Target="../tags/tag751.xml"/><Relationship Id="rId95" Type="http://schemas.openxmlformats.org/officeDocument/2006/relationships/tags" Target="../tags/tag841.xml"/><Relationship Id="rId160" Type="http://schemas.openxmlformats.org/officeDocument/2006/relationships/tags" Target="../tags/tag906.xml"/><Relationship Id="rId22" Type="http://schemas.openxmlformats.org/officeDocument/2006/relationships/tags" Target="../tags/tag768.xml"/><Relationship Id="rId43" Type="http://schemas.openxmlformats.org/officeDocument/2006/relationships/tags" Target="../tags/tag789.xml"/><Relationship Id="rId64" Type="http://schemas.openxmlformats.org/officeDocument/2006/relationships/tags" Target="../tags/tag810.xml"/><Relationship Id="rId118" Type="http://schemas.openxmlformats.org/officeDocument/2006/relationships/tags" Target="../tags/tag864.xml"/><Relationship Id="rId139" Type="http://schemas.openxmlformats.org/officeDocument/2006/relationships/tags" Target="../tags/tag885.xml"/><Relationship Id="rId85" Type="http://schemas.openxmlformats.org/officeDocument/2006/relationships/tags" Target="../tags/tag831.xml"/><Relationship Id="rId150" Type="http://schemas.openxmlformats.org/officeDocument/2006/relationships/tags" Target="../tags/tag896.xml"/><Relationship Id="rId12" Type="http://schemas.openxmlformats.org/officeDocument/2006/relationships/tags" Target="../tags/tag758.xml"/><Relationship Id="rId17" Type="http://schemas.openxmlformats.org/officeDocument/2006/relationships/tags" Target="../tags/tag763.xml"/><Relationship Id="rId33" Type="http://schemas.openxmlformats.org/officeDocument/2006/relationships/tags" Target="../tags/tag779.xml"/><Relationship Id="rId38" Type="http://schemas.openxmlformats.org/officeDocument/2006/relationships/tags" Target="../tags/tag784.xml"/><Relationship Id="rId59" Type="http://schemas.openxmlformats.org/officeDocument/2006/relationships/tags" Target="../tags/tag805.xml"/><Relationship Id="rId103" Type="http://schemas.openxmlformats.org/officeDocument/2006/relationships/tags" Target="../tags/tag849.xml"/><Relationship Id="rId108" Type="http://schemas.openxmlformats.org/officeDocument/2006/relationships/tags" Target="../tags/tag854.xml"/><Relationship Id="rId124" Type="http://schemas.openxmlformats.org/officeDocument/2006/relationships/tags" Target="../tags/tag870.xml"/><Relationship Id="rId129" Type="http://schemas.openxmlformats.org/officeDocument/2006/relationships/tags" Target="../tags/tag875.xml"/><Relationship Id="rId54" Type="http://schemas.openxmlformats.org/officeDocument/2006/relationships/tags" Target="../tags/tag800.xml"/><Relationship Id="rId70" Type="http://schemas.openxmlformats.org/officeDocument/2006/relationships/tags" Target="../tags/tag816.xml"/><Relationship Id="rId75" Type="http://schemas.openxmlformats.org/officeDocument/2006/relationships/tags" Target="../tags/tag821.xml"/><Relationship Id="rId91" Type="http://schemas.openxmlformats.org/officeDocument/2006/relationships/tags" Target="../tags/tag837.xml"/><Relationship Id="rId96" Type="http://schemas.openxmlformats.org/officeDocument/2006/relationships/tags" Target="../tags/tag842.xml"/><Relationship Id="rId140" Type="http://schemas.openxmlformats.org/officeDocument/2006/relationships/tags" Target="../tags/tag886.xml"/><Relationship Id="rId145" Type="http://schemas.openxmlformats.org/officeDocument/2006/relationships/tags" Target="../tags/tag891.xml"/><Relationship Id="rId161" Type="http://schemas.openxmlformats.org/officeDocument/2006/relationships/tags" Target="../tags/tag907.xml"/><Relationship Id="rId166" Type="http://schemas.openxmlformats.org/officeDocument/2006/relationships/chart" Target="../charts/chart20.xml"/><Relationship Id="rId1" Type="http://schemas.openxmlformats.org/officeDocument/2006/relationships/tags" Target="../tags/tag747.xml"/><Relationship Id="rId6" Type="http://schemas.openxmlformats.org/officeDocument/2006/relationships/tags" Target="../tags/tag752.xml"/><Relationship Id="rId23" Type="http://schemas.openxmlformats.org/officeDocument/2006/relationships/tags" Target="../tags/tag769.xml"/><Relationship Id="rId28" Type="http://schemas.openxmlformats.org/officeDocument/2006/relationships/tags" Target="../tags/tag774.xml"/><Relationship Id="rId49" Type="http://schemas.openxmlformats.org/officeDocument/2006/relationships/tags" Target="../tags/tag795.xml"/><Relationship Id="rId114" Type="http://schemas.openxmlformats.org/officeDocument/2006/relationships/tags" Target="../tags/tag860.xml"/><Relationship Id="rId119" Type="http://schemas.openxmlformats.org/officeDocument/2006/relationships/tags" Target="../tags/tag865.xml"/><Relationship Id="rId44" Type="http://schemas.openxmlformats.org/officeDocument/2006/relationships/tags" Target="../tags/tag790.xml"/><Relationship Id="rId60" Type="http://schemas.openxmlformats.org/officeDocument/2006/relationships/tags" Target="../tags/tag806.xml"/><Relationship Id="rId65" Type="http://schemas.openxmlformats.org/officeDocument/2006/relationships/tags" Target="../tags/tag811.xml"/><Relationship Id="rId81" Type="http://schemas.openxmlformats.org/officeDocument/2006/relationships/tags" Target="../tags/tag827.xml"/><Relationship Id="rId86" Type="http://schemas.openxmlformats.org/officeDocument/2006/relationships/tags" Target="../tags/tag832.xml"/><Relationship Id="rId130" Type="http://schemas.openxmlformats.org/officeDocument/2006/relationships/tags" Target="../tags/tag876.xml"/><Relationship Id="rId135" Type="http://schemas.openxmlformats.org/officeDocument/2006/relationships/tags" Target="../tags/tag881.xml"/><Relationship Id="rId151" Type="http://schemas.openxmlformats.org/officeDocument/2006/relationships/tags" Target="../tags/tag897.xml"/><Relationship Id="rId156" Type="http://schemas.openxmlformats.org/officeDocument/2006/relationships/tags" Target="../tags/tag902.xml"/><Relationship Id="rId13" Type="http://schemas.openxmlformats.org/officeDocument/2006/relationships/tags" Target="../tags/tag759.xml"/><Relationship Id="rId18" Type="http://schemas.openxmlformats.org/officeDocument/2006/relationships/tags" Target="../tags/tag764.xml"/><Relationship Id="rId39" Type="http://schemas.openxmlformats.org/officeDocument/2006/relationships/tags" Target="../tags/tag785.xml"/><Relationship Id="rId109" Type="http://schemas.openxmlformats.org/officeDocument/2006/relationships/tags" Target="../tags/tag855.xml"/><Relationship Id="rId34" Type="http://schemas.openxmlformats.org/officeDocument/2006/relationships/tags" Target="../tags/tag780.xml"/><Relationship Id="rId50" Type="http://schemas.openxmlformats.org/officeDocument/2006/relationships/tags" Target="../tags/tag796.xml"/><Relationship Id="rId55" Type="http://schemas.openxmlformats.org/officeDocument/2006/relationships/tags" Target="../tags/tag801.xml"/><Relationship Id="rId76" Type="http://schemas.openxmlformats.org/officeDocument/2006/relationships/tags" Target="../tags/tag822.xml"/><Relationship Id="rId97" Type="http://schemas.openxmlformats.org/officeDocument/2006/relationships/tags" Target="../tags/tag843.xml"/><Relationship Id="rId104" Type="http://schemas.openxmlformats.org/officeDocument/2006/relationships/tags" Target="../tags/tag850.xml"/><Relationship Id="rId120" Type="http://schemas.openxmlformats.org/officeDocument/2006/relationships/tags" Target="../tags/tag866.xml"/><Relationship Id="rId125" Type="http://schemas.openxmlformats.org/officeDocument/2006/relationships/tags" Target="../tags/tag871.xml"/><Relationship Id="rId141" Type="http://schemas.openxmlformats.org/officeDocument/2006/relationships/tags" Target="../tags/tag887.xml"/><Relationship Id="rId146" Type="http://schemas.openxmlformats.org/officeDocument/2006/relationships/tags" Target="../tags/tag892.xml"/><Relationship Id="rId167" Type="http://schemas.openxmlformats.org/officeDocument/2006/relationships/chart" Target="../charts/chart21.xml"/><Relationship Id="rId7" Type="http://schemas.openxmlformats.org/officeDocument/2006/relationships/tags" Target="../tags/tag753.xml"/><Relationship Id="rId71" Type="http://schemas.openxmlformats.org/officeDocument/2006/relationships/tags" Target="../tags/tag817.xml"/><Relationship Id="rId92" Type="http://schemas.openxmlformats.org/officeDocument/2006/relationships/tags" Target="../tags/tag838.xml"/><Relationship Id="rId162" Type="http://schemas.openxmlformats.org/officeDocument/2006/relationships/slideLayout" Target="../slideLayouts/slideLayout3.xml"/><Relationship Id="rId2" Type="http://schemas.openxmlformats.org/officeDocument/2006/relationships/tags" Target="../tags/tag748.xml"/><Relationship Id="rId29" Type="http://schemas.openxmlformats.org/officeDocument/2006/relationships/tags" Target="../tags/tag775.xml"/><Relationship Id="rId24" Type="http://schemas.openxmlformats.org/officeDocument/2006/relationships/tags" Target="../tags/tag770.xml"/><Relationship Id="rId40" Type="http://schemas.openxmlformats.org/officeDocument/2006/relationships/tags" Target="../tags/tag786.xml"/><Relationship Id="rId45" Type="http://schemas.openxmlformats.org/officeDocument/2006/relationships/tags" Target="../tags/tag791.xml"/><Relationship Id="rId66" Type="http://schemas.openxmlformats.org/officeDocument/2006/relationships/tags" Target="../tags/tag812.xml"/><Relationship Id="rId87" Type="http://schemas.openxmlformats.org/officeDocument/2006/relationships/tags" Target="../tags/tag833.xml"/><Relationship Id="rId110" Type="http://schemas.openxmlformats.org/officeDocument/2006/relationships/tags" Target="../tags/tag856.xml"/><Relationship Id="rId115" Type="http://schemas.openxmlformats.org/officeDocument/2006/relationships/tags" Target="../tags/tag861.xml"/><Relationship Id="rId131" Type="http://schemas.openxmlformats.org/officeDocument/2006/relationships/tags" Target="../tags/tag877.xml"/><Relationship Id="rId136" Type="http://schemas.openxmlformats.org/officeDocument/2006/relationships/tags" Target="../tags/tag882.xml"/><Relationship Id="rId157" Type="http://schemas.openxmlformats.org/officeDocument/2006/relationships/tags" Target="../tags/tag903.xml"/><Relationship Id="rId61" Type="http://schemas.openxmlformats.org/officeDocument/2006/relationships/tags" Target="../tags/tag807.xml"/><Relationship Id="rId82" Type="http://schemas.openxmlformats.org/officeDocument/2006/relationships/tags" Target="../tags/tag828.xml"/><Relationship Id="rId152" Type="http://schemas.openxmlformats.org/officeDocument/2006/relationships/tags" Target="../tags/tag898.xml"/><Relationship Id="rId19" Type="http://schemas.openxmlformats.org/officeDocument/2006/relationships/tags" Target="../tags/tag765.xml"/><Relationship Id="rId14" Type="http://schemas.openxmlformats.org/officeDocument/2006/relationships/tags" Target="../tags/tag760.xml"/><Relationship Id="rId30" Type="http://schemas.openxmlformats.org/officeDocument/2006/relationships/tags" Target="../tags/tag776.xml"/><Relationship Id="rId35" Type="http://schemas.openxmlformats.org/officeDocument/2006/relationships/tags" Target="../tags/tag781.xml"/><Relationship Id="rId56" Type="http://schemas.openxmlformats.org/officeDocument/2006/relationships/tags" Target="../tags/tag802.xml"/><Relationship Id="rId77" Type="http://schemas.openxmlformats.org/officeDocument/2006/relationships/tags" Target="../tags/tag823.xml"/><Relationship Id="rId100" Type="http://schemas.openxmlformats.org/officeDocument/2006/relationships/tags" Target="../tags/tag846.xml"/><Relationship Id="rId105" Type="http://schemas.openxmlformats.org/officeDocument/2006/relationships/tags" Target="../tags/tag851.xml"/><Relationship Id="rId126" Type="http://schemas.openxmlformats.org/officeDocument/2006/relationships/tags" Target="../tags/tag872.xml"/><Relationship Id="rId147" Type="http://schemas.openxmlformats.org/officeDocument/2006/relationships/tags" Target="../tags/tag893.xml"/><Relationship Id="rId8" Type="http://schemas.openxmlformats.org/officeDocument/2006/relationships/tags" Target="../tags/tag754.xml"/><Relationship Id="rId51" Type="http://schemas.openxmlformats.org/officeDocument/2006/relationships/tags" Target="../tags/tag797.xml"/><Relationship Id="rId72" Type="http://schemas.openxmlformats.org/officeDocument/2006/relationships/tags" Target="../tags/tag818.xml"/><Relationship Id="rId93" Type="http://schemas.openxmlformats.org/officeDocument/2006/relationships/tags" Target="../tags/tag839.xml"/><Relationship Id="rId98" Type="http://schemas.openxmlformats.org/officeDocument/2006/relationships/tags" Target="../tags/tag844.xml"/><Relationship Id="rId121" Type="http://schemas.openxmlformats.org/officeDocument/2006/relationships/tags" Target="../tags/tag867.xml"/><Relationship Id="rId142" Type="http://schemas.openxmlformats.org/officeDocument/2006/relationships/tags" Target="../tags/tag888.xml"/><Relationship Id="rId163" Type="http://schemas.openxmlformats.org/officeDocument/2006/relationships/oleObject" Target="../embeddings/oleObject21.bin"/><Relationship Id="rId3" Type="http://schemas.openxmlformats.org/officeDocument/2006/relationships/tags" Target="../tags/tag749.xml"/><Relationship Id="rId25" Type="http://schemas.openxmlformats.org/officeDocument/2006/relationships/tags" Target="../tags/tag771.xml"/><Relationship Id="rId46" Type="http://schemas.openxmlformats.org/officeDocument/2006/relationships/tags" Target="../tags/tag792.xml"/><Relationship Id="rId67" Type="http://schemas.openxmlformats.org/officeDocument/2006/relationships/tags" Target="../tags/tag813.xml"/><Relationship Id="rId116" Type="http://schemas.openxmlformats.org/officeDocument/2006/relationships/tags" Target="../tags/tag862.xml"/><Relationship Id="rId137" Type="http://schemas.openxmlformats.org/officeDocument/2006/relationships/tags" Target="../tags/tag883.xml"/><Relationship Id="rId158" Type="http://schemas.openxmlformats.org/officeDocument/2006/relationships/tags" Target="../tags/tag904.xml"/><Relationship Id="rId20" Type="http://schemas.openxmlformats.org/officeDocument/2006/relationships/tags" Target="../tags/tag766.xml"/><Relationship Id="rId41" Type="http://schemas.openxmlformats.org/officeDocument/2006/relationships/tags" Target="../tags/tag787.xml"/><Relationship Id="rId62" Type="http://schemas.openxmlformats.org/officeDocument/2006/relationships/tags" Target="../tags/tag808.xml"/><Relationship Id="rId83" Type="http://schemas.openxmlformats.org/officeDocument/2006/relationships/tags" Target="../tags/tag829.xml"/><Relationship Id="rId88" Type="http://schemas.openxmlformats.org/officeDocument/2006/relationships/tags" Target="../tags/tag834.xml"/><Relationship Id="rId111" Type="http://schemas.openxmlformats.org/officeDocument/2006/relationships/tags" Target="../tags/tag857.xml"/><Relationship Id="rId132" Type="http://schemas.openxmlformats.org/officeDocument/2006/relationships/tags" Target="../tags/tag878.xml"/><Relationship Id="rId153" Type="http://schemas.openxmlformats.org/officeDocument/2006/relationships/tags" Target="../tags/tag899.xml"/><Relationship Id="rId15" Type="http://schemas.openxmlformats.org/officeDocument/2006/relationships/tags" Target="../tags/tag761.xml"/><Relationship Id="rId36" Type="http://schemas.openxmlformats.org/officeDocument/2006/relationships/tags" Target="../tags/tag782.xml"/><Relationship Id="rId57" Type="http://schemas.openxmlformats.org/officeDocument/2006/relationships/tags" Target="../tags/tag803.xml"/><Relationship Id="rId106" Type="http://schemas.openxmlformats.org/officeDocument/2006/relationships/tags" Target="../tags/tag852.xml"/><Relationship Id="rId127" Type="http://schemas.openxmlformats.org/officeDocument/2006/relationships/tags" Target="../tags/tag873.xml"/><Relationship Id="rId10" Type="http://schemas.openxmlformats.org/officeDocument/2006/relationships/tags" Target="../tags/tag756.xml"/><Relationship Id="rId31" Type="http://schemas.openxmlformats.org/officeDocument/2006/relationships/tags" Target="../tags/tag777.xml"/><Relationship Id="rId52" Type="http://schemas.openxmlformats.org/officeDocument/2006/relationships/tags" Target="../tags/tag798.xml"/><Relationship Id="rId73" Type="http://schemas.openxmlformats.org/officeDocument/2006/relationships/tags" Target="../tags/tag819.xml"/><Relationship Id="rId78" Type="http://schemas.openxmlformats.org/officeDocument/2006/relationships/tags" Target="../tags/tag824.xml"/><Relationship Id="rId94" Type="http://schemas.openxmlformats.org/officeDocument/2006/relationships/tags" Target="../tags/tag840.xml"/><Relationship Id="rId99" Type="http://schemas.openxmlformats.org/officeDocument/2006/relationships/tags" Target="../tags/tag845.xml"/><Relationship Id="rId101" Type="http://schemas.openxmlformats.org/officeDocument/2006/relationships/tags" Target="../tags/tag847.xml"/><Relationship Id="rId122" Type="http://schemas.openxmlformats.org/officeDocument/2006/relationships/tags" Target="../tags/tag868.xml"/><Relationship Id="rId143" Type="http://schemas.openxmlformats.org/officeDocument/2006/relationships/tags" Target="../tags/tag889.xml"/><Relationship Id="rId148" Type="http://schemas.openxmlformats.org/officeDocument/2006/relationships/tags" Target="../tags/tag894.xml"/><Relationship Id="rId164" Type="http://schemas.openxmlformats.org/officeDocument/2006/relationships/image" Target="../media/image18.emf"/><Relationship Id="rId4" Type="http://schemas.openxmlformats.org/officeDocument/2006/relationships/tags" Target="../tags/tag750.xml"/><Relationship Id="rId9" Type="http://schemas.openxmlformats.org/officeDocument/2006/relationships/tags" Target="../tags/tag755.xml"/><Relationship Id="rId26" Type="http://schemas.openxmlformats.org/officeDocument/2006/relationships/tags" Target="../tags/tag772.xml"/><Relationship Id="rId47" Type="http://schemas.openxmlformats.org/officeDocument/2006/relationships/tags" Target="../tags/tag793.xml"/><Relationship Id="rId68" Type="http://schemas.openxmlformats.org/officeDocument/2006/relationships/tags" Target="../tags/tag814.xml"/><Relationship Id="rId89" Type="http://schemas.openxmlformats.org/officeDocument/2006/relationships/tags" Target="../tags/tag835.xml"/><Relationship Id="rId112" Type="http://schemas.openxmlformats.org/officeDocument/2006/relationships/tags" Target="../tags/tag858.xml"/><Relationship Id="rId133" Type="http://schemas.openxmlformats.org/officeDocument/2006/relationships/tags" Target="../tags/tag879.xml"/><Relationship Id="rId154" Type="http://schemas.openxmlformats.org/officeDocument/2006/relationships/tags" Target="../tags/tag900.xml"/><Relationship Id="rId16" Type="http://schemas.openxmlformats.org/officeDocument/2006/relationships/tags" Target="../tags/tag762.xml"/><Relationship Id="rId37" Type="http://schemas.openxmlformats.org/officeDocument/2006/relationships/tags" Target="../tags/tag783.xml"/><Relationship Id="rId58" Type="http://schemas.openxmlformats.org/officeDocument/2006/relationships/tags" Target="../tags/tag804.xml"/><Relationship Id="rId79" Type="http://schemas.openxmlformats.org/officeDocument/2006/relationships/tags" Target="../tags/tag825.xml"/><Relationship Id="rId102" Type="http://schemas.openxmlformats.org/officeDocument/2006/relationships/tags" Target="../tags/tag848.xml"/><Relationship Id="rId123" Type="http://schemas.openxmlformats.org/officeDocument/2006/relationships/tags" Target="../tags/tag869.xml"/><Relationship Id="rId144" Type="http://schemas.openxmlformats.org/officeDocument/2006/relationships/tags" Target="../tags/tag890.xml"/><Relationship Id="rId90" Type="http://schemas.openxmlformats.org/officeDocument/2006/relationships/tags" Target="../tags/tag836.xml"/><Relationship Id="rId165" Type="http://schemas.openxmlformats.org/officeDocument/2006/relationships/hyperlink" Target="https://www.who.int/data/gho/data/themes/topics/health-workforce)&#12289;" TargetMode="External"/><Relationship Id="rId27" Type="http://schemas.openxmlformats.org/officeDocument/2006/relationships/tags" Target="../tags/tag773.xml"/><Relationship Id="rId48" Type="http://schemas.openxmlformats.org/officeDocument/2006/relationships/tags" Target="../tags/tag794.xml"/><Relationship Id="rId69" Type="http://schemas.openxmlformats.org/officeDocument/2006/relationships/tags" Target="../tags/tag815.xml"/><Relationship Id="rId113" Type="http://schemas.openxmlformats.org/officeDocument/2006/relationships/tags" Target="../tags/tag859.xml"/><Relationship Id="rId134" Type="http://schemas.openxmlformats.org/officeDocument/2006/relationships/tags" Target="../tags/tag880.xml"/><Relationship Id="rId80" Type="http://schemas.openxmlformats.org/officeDocument/2006/relationships/tags" Target="../tags/tag826.xml"/><Relationship Id="rId155" Type="http://schemas.openxmlformats.org/officeDocument/2006/relationships/tags" Target="../tags/tag90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908.xml"/><Relationship Id="rId4" Type="http://schemas.openxmlformats.org/officeDocument/2006/relationships/image" Target="../media/image20.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909.xml"/><Relationship Id="rId5" Type="http://schemas.openxmlformats.org/officeDocument/2006/relationships/hyperlink" Target="https://www.simekahealth.co.za/south-africas-national-health-insurance-act-paving-the-way-for-universal-healthcare-and-equity/" TargetMode="External"/><Relationship Id="rId4" Type="http://schemas.openxmlformats.org/officeDocument/2006/relationships/image" Target="../media/image20.emf"/></Relationships>
</file>

<file path=ppt/slides/_rels/slide27.xml.rels><?xml version="1.0" encoding="UTF-8" standalone="yes"?>
<Relationships xmlns="http://schemas.openxmlformats.org/package/2006/relationships"><Relationship Id="rId8" Type="http://schemas.openxmlformats.org/officeDocument/2006/relationships/tags" Target="../tags/tag917.xml"/><Relationship Id="rId13" Type="http://schemas.openxmlformats.org/officeDocument/2006/relationships/tags" Target="../tags/tag922.xml"/><Relationship Id="rId18" Type="http://schemas.openxmlformats.org/officeDocument/2006/relationships/tags" Target="../tags/tag927.xml"/><Relationship Id="rId26" Type="http://schemas.openxmlformats.org/officeDocument/2006/relationships/slideLayout" Target="../slideLayouts/slideLayout3.xml"/><Relationship Id="rId3" Type="http://schemas.openxmlformats.org/officeDocument/2006/relationships/tags" Target="../tags/tag912.xml"/><Relationship Id="rId21" Type="http://schemas.openxmlformats.org/officeDocument/2006/relationships/tags" Target="../tags/tag930.xml"/><Relationship Id="rId7" Type="http://schemas.openxmlformats.org/officeDocument/2006/relationships/tags" Target="../tags/tag916.xml"/><Relationship Id="rId12" Type="http://schemas.openxmlformats.org/officeDocument/2006/relationships/tags" Target="../tags/tag921.xml"/><Relationship Id="rId17" Type="http://schemas.openxmlformats.org/officeDocument/2006/relationships/tags" Target="../tags/tag926.xml"/><Relationship Id="rId25" Type="http://schemas.openxmlformats.org/officeDocument/2006/relationships/tags" Target="../tags/tag934.xml"/><Relationship Id="rId2" Type="http://schemas.openxmlformats.org/officeDocument/2006/relationships/tags" Target="../tags/tag911.xml"/><Relationship Id="rId16" Type="http://schemas.openxmlformats.org/officeDocument/2006/relationships/tags" Target="../tags/tag925.xml"/><Relationship Id="rId20" Type="http://schemas.openxmlformats.org/officeDocument/2006/relationships/tags" Target="../tags/tag929.xml"/><Relationship Id="rId29" Type="http://schemas.openxmlformats.org/officeDocument/2006/relationships/hyperlink" Target="https://www.statssa.gov.za/publications/P0318/P03182021.pdf" TargetMode="External"/><Relationship Id="rId1" Type="http://schemas.openxmlformats.org/officeDocument/2006/relationships/tags" Target="../tags/tag910.xml"/><Relationship Id="rId6" Type="http://schemas.openxmlformats.org/officeDocument/2006/relationships/tags" Target="../tags/tag915.xml"/><Relationship Id="rId11" Type="http://schemas.openxmlformats.org/officeDocument/2006/relationships/tags" Target="../tags/tag920.xml"/><Relationship Id="rId24" Type="http://schemas.openxmlformats.org/officeDocument/2006/relationships/tags" Target="../tags/tag933.xml"/><Relationship Id="rId5" Type="http://schemas.openxmlformats.org/officeDocument/2006/relationships/tags" Target="../tags/tag914.xml"/><Relationship Id="rId15" Type="http://schemas.openxmlformats.org/officeDocument/2006/relationships/tags" Target="../tags/tag924.xml"/><Relationship Id="rId23" Type="http://schemas.openxmlformats.org/officeDocument/2006/relationships/tags" Target="../tags/tag932.xml"/><Relationship Id="rId28" Type="http://schemas.openxmlformats.org/officeDocument/2006/relationships/image" Target="../media/image20.emf"/><Relationship Id="rId10" Type="http://schemas.openxmlformats.org/officeDocument/2006/relationships/tags" Target="../tags/tag919.xml"/><Relationship Id="rId19" Type="http://schemas.openxmlformats.org/officeDocument/2006/relationships/tags" Target="../tags/tag928.xml"/><Relationship Id="rId31" Type="http://schemas.openxmlformats.org/officeDocument/2006/relationships/chart" Target="../charts/chart23.xml"/><Relationship Id="rId4" Type="http://schemas.openxmlformats.org/officeDocument/2006/relationships/tags" Target="../tags/tag913.xml"/><Relationship Id="rId9" Type="http://schemas.openxmlformats.org/officeDocument/2006/relationships/tags" Target="../tags/tag918.xml"/><Relationship Id="rId14" Type="http://schemas.openxmlformats.org/officeDocument/2006/relationships/tags" Target="../tags/tag923.xml"/><Relationship Id="rId22" Type="http://schemas.openxmlformats.org/officeDocument/2006/relationships/tags" Target="../tags/tag931.xml"/><Relationship Id="rId27" Type="http://schemas.openxmlformats.org/officeDocument/2006/relationships/oleObject" Target="../embeddings/oleObject24.bin"/><Relationship Id="rId30" Type="http://schemas.openxmlformats.org/officeDocument/2006/relationships/chart" Target="../charts/chart2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935.xml"/><Relationship Id="rId5" Type="http://schemas.openxmlformats.org/officeDocument/2006/relationships/image" Target="../media/image31.png"/><Relationship Id="rId4" Type="http://schemas.openxmlformats.org/officeDocument/2006/relationships/image" Target="../media/image2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936.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937.xml"/><Relationship Id="rId4"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938.xml"/><Relationship Id="rId4" Type="http://schemas.openxmlformats.org/officeDocument/2006/relationships/image" Target="../media/image20.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939.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940.xml"/><Relationship Id="rId4" Type="http://schemas.openxmlformats.org/officeDocument/2006/relationships/image" Target="../media/image2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941.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942.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943.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13" Type="http://schemas.openxmlformats.org/officeDocument/2006/relationships/tags" Target="../tags/tag956.xml"/><Relationship Id="rId18" Type="http://schemas.openxmlformats.org/officeDocument/2006/relationships/tags" Target="../tags/tag961.xml"/><Relationship Id="rId26" Type="http://schemas.openxmlformats.org/officeDocument/2006/relationships/tags" Target="../tags/tag969.xml"/><Relationship Id="rId39" Type="http://schemas.openxmlformats.org/officeDocument/2006/relationships/tags" Target="../tags/tag982.xml"/><Relationship Id="rId21" Type="http://schemas.openxmlformats.org/officeDocument/2006/relationships/tags" Target="../tags/tag964.xml"/><Relationship Id="rId34" Type="http://schemas.openxmlformats.org/officeDocument/2006/relationships/tags" Target="../tags/tag977.xml"/><Relationship Id="rId42" Type="http://schemas.openxmlformats.org/officeDocument/2006/relationships/tags" Target="../tags/tag985.xml"/><Relationship Id="rId47" Type="http://schemas.openxmlformats.org/officeDocument/2006/relationships/tags" Target="../tags/tag990.xml"/><Relationship Id="rId50" Type="http://schemas.openxmlformats.org/officeDocument/2006/relationships/tags" Target="../tags/tag993.xml"/><Relationship Id="rId55" Type="http://schemas.openxmlformats.org/officeDocument/2006/relationships/chart" Target="../charts/chart24.xml"/><Relationship Id="rId7" Type="http://schemas.openxmlformats.org/officeDocument/2006/relationships/tags" Target="../tags/tag950.xml"/><Relationship Id="rId2" Type="http://schemas.openxmlformats.org/officeDocument/2006/relationships/tags" Target="../tags/tag945.xml"/><Relationship Id="rId16" Type="http://schemas.openxmlformats.org/officeDocument/2006/relationships/tags" Target="../tags/tag959.xml"/><Relationship Id="rId29" Type="http://schemas.openxmlformats.org/officeDocument/2006/relationships/tags" Target="../tags/tag972.xml"/><Relationship Id="rId11" Type="http://schemas.openxmlformats.org/officeDocument/2006/relationships/tags" Target="../tags/tag954.xml"/><Relationship Id="rId24" Type="http://schemas.openxmlformats.org/officeDocument/2006/relationships/tags" Target="../tags/tag967.xml"/><Relationship Id="rId32" Type="http://schemas.openxmlformats.org/officeDocument/2006/relationships/tags" Target="../tags/tag975.xml"/><Relationship Id="rId37" Type="http://schemas.openxmlformats.org/officeDocument/2006/relationships/tags" Target="../tags/tag980.xml"/><Relationship Id="rId40" Type="http://schemas.openxmlformats.org/officeDocument/2006/relationships/tags" Target="../tags/tag983.xml"/><Relationship Id="rId45" Type="http://schemas.openxmlformats.org/officeDocument/2006/relationships/tags" Target="../tags/tag988.xml"/><Relationship Id="rId53" Type="http://schemas.openxmlformats.org/officeDocument/2006/relationships/oleObject" Target="../embeddings/oleObject34.bin"/><Relationship Id="rId5" Type="http://schemas.openxmlformats.org/officeDocument/2006/relationships/tags" Target="../tags/tag948.xml"/><Relationship Id="rId10" Type="http://schemas.openxmlformats.org/officeDocument/2006/relationships/tags" Target="../tags/tag953.xml"/><Relationship Id="rId19" Type="http://schemas.openxmlformats.org/officeDocument/2006/relationships/tags" Target="../tags/tag962.xml"/><Relationship Id="rId31" Type="http://schemas.openxmlformats.org/officeDocument/2006/relationships/tags" Target="../tags/tag974.xml"/><Relationship Id="rId44" Type="http://schemas.openxmlformats.org/officeDocument/2006/relationships/tags" Target="../tags/tag987.xml"/><Relationship Id="rId52" Type="http://schemas.openxmlformats.org/officeDocument/2006/relationships/slideLayout" Target="../slideLayouts/slideLayout3.xml"/><Relationship Id="rId4" Type="http://schemas.openxmlformats.org/officeDocument/2006/relationships/tags" Target="../tags/tag947.xml"/><Relationship Id="rId9" Type="http://schemas.openxmlformats.org/officeDocument/2006/relationships/tags" Target="../tags/tag952.xml"/><Relationship Id="rId14" Type="http://schemas.openxmlformats.org/officeDocument/2006/relationships/tags" Target="../tags/tag957.xml"/><Relationship Id="rId22" Type="http://schemas.openxmlformats.org/officeDocument/2006/relationships/tags" Target="../tags/tag965.xml"/><Relationship Id="rId27" Type="http://schemas.openxmlformats.org/officeDocument/2006/relationships/tags" Target="../tags/tag970.xml"/><Relationship Id="rId30" Type="http://schemas.openxmlformats.org/officeDocument/2006/relationships/tags" Target="../tags/tag973.xml"/><Relationship Id="rId35" Type="http://schemas.openxmlformats.org/officeDocument/2006/relationships/tags" Target="../tags/tag978.xml"/><Relationship Id="rId43" Type="http://schemas.openxmlformats.org/officeDocument/2006/relationships/tags" Target="../tags/tag986.xml"/><Relationship Id="rId48" Type="http://schemas.openxmlformats.org/officeDocument/2006/relationships/tags" Target="../tags/tag991.xml"/><Relationship Id="rId8" Type="http://schemas.openxmlformats.org/officeDocument/2006/relationships/tags" Target="../tags/tag951.xml"/><Relationship Id="rId51" Type="http://schemas.openxmlformats.org/officeDocument/2006/relationships/tags" Target="../tags/tag994.xml"/><Relationship Id="rId3" Type="http://schemas.openxmlformats.org/officeDocument/2006/relationships/tags" Target="../tags/tag946.xml"/><Relationship Id="rId12" Type="http://schemas.openxmlformats.org/officeDocument/2006/relationships/tags" Target="../tags/tag955.xml"/><Relationship Id="rId17" Type="http://schemas.openxmlformats.org/officeDocument/2006/relationships/tags" Target="../tags/tag960.xml"/><Relationship Id="rId25" Type="http://schemas.openxmlformats.org/officeDocument/2006/relationships/tags" Target="../tags/tag968.xml"/><Relationship Id="rId33" Type="http://schemas.openxmlformats.org/officeDocument/2006/relationships/tags" Target="../tags/tag976.xml"/><Relationship Id="rId38" Type="http://schemas.openxmlformats.org/officeDocument/2006/relationships/tags" Target="../tags/tag981.xml"/><Relationship Id="rId46" Type="http://schemas.openxmlformats.org/officeDocument/2006/relationships/tags" Target="../tags/tag989.xml"/><Relationship Id="rId20" Type="http://schemas.openxmlformats.org/officeDocument/2006/relationships/tags" Target="../tags/tag963.xml"/><Relationship Id="rId41" Type="http://schemas.openxmlformats.org/officeDocument/2006/relationships/tags" Target="../tags/tag984.xml"/><Relationship Id="rId54" Type="http://schemas.openxmlformats.org/officeDocument/2006/relationships/image" Target="../media/image18.emf"/><Relationship Id="rId1" Type="http://schemas.openxmlformats.org/officeDocument/2006/relationships/tags" Target="../tags/tag944.xml"/><Relationship Id="rId6" Type="http://schemas.openxmlformats.org/officeDocument/2006/relationships/tags" Target="../tags/tag949.xml"/><Relationship Id="rId15" Type="http://schemas.openxmlformats.org/officeDocument/2006/relationships/tags" Target="../tags/tag958.xml"/><Relationship Id="rId23" Type="http://schemas.openxmlformats.org/officeDocument/2006/relationships/tags" Target="../tags/tag966.xml"/><Relationship Id="rId28" Type="http://schemas.openxmlformats.org/officeDocument/2006/relationships/tags" Target="../tags/tag971.xml"/><Relationship Id="rId36" Type="http://schemas.openxmlformats.org/officeDocument/2006/relationships/tags" Target="../tags/tag979.xml"/><Relationship Id="rId49" Type="http://schemas.openxmlformats.org/officeDocument/2006/relationships/tags" Target="../tags/tag992.xml"/></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97.xml"/><Relationship Id="rId7" Type="http://schemas.openxmlformats.org/officeDocument/2006/relationships/tags" Target="../tags/tag1001.xml"/><Relationship Id="rId2" Type="http://schemas.openxmlformats.org/officeDocument/2006/relationships/tags" Target="../tags/tag996.xml"/><Relationship Id="rId1" Type="http://schemas.openxmlformats.org/officeDocument/2006/relationships/tags" Target="../tags/tag995.xml"/><Relationship Id="rId6" Type="http://schemas.openxmlformats.org/officeDocument/2006/relationships/tags" Target="../tags/tag1000.xml"/><Relationship Id="rId11" Type="http://schemas.openxmlformats.org/officeDocument/2006/relationships/chart" Target="../charts/chart25.xml"/><Relationship Id="rId5" Type="http://schemas.openxmlformats.org/officeDocument/2006/relationships/tags" Target="../tags/tag999.xml"/><Relationship Id="rId10" Type="http://schemas.openxmlformats.org/officeDocument/2006/relationships/image" Target="../media/image1.emf"/><Relationship Id="rId4" Type="http://schemas.openxmlformats.org/officeDocument/2006/relationships/tags" Target="../tags/tag998.xml"/><Relationship Id="rId9" Type="http://schemas.openxmlformats.org/officeDocument/2006/relationships/oleObject" Target="../embeddings/oleObject35.bin"/></Relationships>
</file>

<file path=ppt/slides/_rels/slide39.xml.rels><?xml version="1.0" encoding="UTF-8" standalone="yes"?>
<Relationships xmlns="http://schemas.openxmlformats.org/package/2006/relationships"><Relationship Id="rId8" Type="http://schemas.openxmlformats.org/officeDocument/2006/relationships/tags" Target="../tags/tag1009.xml"/><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chart" Target="../charts/chart26.xml"/><Relationship Id="rId3" Type="http://schemas.openxmlformats.org/officeDocument/2006/relationships/tags" Target="../tags/tag1004.xml"/><Relationship Id="rId21" Type="http://schemas.openxmlformats.org/officeDocument/2006/relationships/tags" Target="../tags/tag1022.xml"/><Relationship Id="rId7" Type="http://schemas.openxmlformats.org/officeDocument/2006/relationships/tags" Target="../tags/tag1008.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image" Target="../media/image18.emf"/><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oleObject" Target="../embeddings/oleObject36.bin"/><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slideLayout" Target="../slideLayouts/slideLayout3.xml"/><Relationship Id="rId10" Type="http://schemas.openxmlformats.org/officeDocument/2006/relationships/tags" Target="../tags/tag1011.xml"/><Relationship Id="rId19" Type="http://schemas.openxmlformats.org/officeDocument/2006/relationships/tags" Target="../tags/tag1020.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chart" Target="../charts/char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1024.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1025.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1026.xml"/><Relationship Id="rId4" Type="http://schemas.openxmlformats.org/officeDocument/2006/relationships/image" Target="../media/image2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1027.xml"/><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hyperlink" Target="https://www.kantei.go.jp/jp/singi/kenkouiryou/siryou/pdf/r02_africa_moc.pdf" TargetMode="External"/><Relationship Id="rId5" Type="http://schemas.openxmlformats.org/officeDocument/2006/relationships/image" Target="../media/image20.emf"/><Relationship Id="rId4" Type="http://schemas.openxmlformats.org/officeDocument/2006/relationships/oleObject" Target="../embeddings/oleObject41.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1030.xml"/><Relationship Id="rId4" Type="http://schemas.openxmlformats.org/officeDocument/2006/relationships/image" Target="../media/image20.emf"/></Relationships>
</file>

<file path=ppt/slides/_rels/slide46.xml.rels><?xml version="1.0" encoding="UTF-8" standalone="yes"?>
<Relationships xmlns="http://schemas.openxmlformats.org/package/2006/relationships"><Relationship Id="rId8" Type="http://schemas.openxmlformats.org/officeDocument/2006/relationships/tags" Target="../tags/tag1038.xml"/><Relationship Id="rId13" Type="http://schemas.openxmlformats.org/officeDocument/2006/relationships/tags" Target="../tags/tag1043.xml"/><Relationship Id="rId18" Type="http://schemas.openxmlformats.org/officeDocument/2006/relationships/tags" Target="../tags/tag1048.xml"/><Relationship Id="rId26" Type="http://schemas.openxmlformats.org/officeDocument/2006/relationships/image" Target="../media/image18.emf"/><Relationship Id="rId3" Type="http://schemas.openxmlformats.org/officeDocument/2006/relationships/tags" Target="../tags/tag1033.xml"/><Relationship Id="rId21" Type="http://schemas.openxmlformats.org/officeDocument/2006/relationships/tags" Target="../tags/tag1051.xml"/><Relationship Id="rId7" Type="http://schemas.openxmlformats.org/officeDocument/2006/relationships/tags" Target="../tags/tag1037.xml"/><Relationship Id="rId12" Type="http://schemas.openxmlformats.org/officeDocument/2006/relationships/tags" Target="../tags/tag1042.xml"/><Relationship Id="rId17" Type="http://schemas.openxmlformats.org/officeDocument/2006/relationships/tags" Target="../tags/tag1047.xml"/><Relationship Id="rId25" Type="http://schemas.openxmlformats.org/officeDocument/2006/relationships/oleObject" Target="../embeddings/oleObject43.bin"/><Relationship Id="rId2" Type="http://schemas.openxmlformats.org/officeDocument/2006/relationships/tags" Target="../tags/tag1032.xml"/><Relationship Id="rId16" Type="http://schemas.openxmlformats.org/officeDocument/2006/relationships/tags" Target="../tags/tag1046.xml"/><Relationship Id="rId20" Type="http://schemas.openxmlformats.org/officeDocument/2006/relationships/tags" Target="../tags/tag1050.xml"/><Relationship Id="rId1" Type="http://schemas.openxmlformats.org/officeDocument/2006/relationships/tags" Target="../tags/tag1031.xml"/><Relationship Id="rId6" Type="http://schemas.openxmlformats.org/officeDocument/2006/relationships/tags" Target="../tags/tag1036.xml"/><Relationship Id="rId11" Type="http://schemas.openxmlformats.org/officeDocument/2006/relationships/tags" Target="../tags/tag1041.xml"/><Relationship Id="rId24" Type="http://schemas.openxmlformats.org/officeDocument/2006/relationships/slideLayout" Target="../slideLayouts/slideLayout3.xml"/><Relationship Id="rId5" Type="http://schemas.openxmlformats.org/officeDocument/2006/relationships/tags" Target="../tags/tag1035.xml"/><Relationship Id="rId15" Type="http://schemas.openxmlformats.org/officeDocument/2006/relationships/tags" Target="../tags/tag1045.xml"/><Relationship Id="rId23" Type="http://schemas.openxmlformats.org/officeDocument/2006/relationships/tags" Target="../tags/tag1053.xml"/><Relationship Id="rId10" Type="http://schemas.openxmlformats.org/officeDocument/2006/relationships/tags" Target="../tags/tag1040.xml"/><Relationship Id="rId19" Type="http://schemas.openxmlformats.org/officeDocument/2006/relationships/tags" Target="../tags/tag1049.xml"/><Relationship Id="rId4" Type="http://schemas.openxmlformats.org/officeDocument/2006/relationships/tags" Target="../tags/tag1034.xml"/><Relationship Id="rId9" Type="http://schemas.openxmlformats.org/officeDocument/2006/relationships/tags" Target="../tags/tag1039.xml"/><Relationship Id="rId14" Type="http://schemas.openxmlformats.org/officeDocument/2006/relationships/tags" Target="../tags/tag1044.xml"/><Relationship Id="rId22" Type="http://schemas.openxmlformats.org/officeDocument/2006/relationships/tags" Target="../tags/tag1052.xml"/><Relationship Id="rId27" Type="http://schemas.openxmlformats.org/officeDocument/2006/relationships/chart" Target="../charts/chart28.xml"/></Relationships>
</file>

<file path=ppt/slides/_rels/slide47.xml.rels><?xml version="1.0" encoding="UTF-8" standalone="yes"?>
<Relationships xmlns="http://schemas.openxmlformats.org/package/2006/relationships"><Relationship Id="rId13" Type="http://schemas.openxmlformats.org/officeDocument/2006/relationships/tags" Target="../tags/tag1066.xml"/><Relationship Id="rId18" Type="http://schemas.openxmlformats.org/officeDocument/2006/relationships/tags" Target="../tags/tag1071.xml"/><Relationship Id="rId26" Type="http://schemas.openxmlformats.org/officeDocument/2006/relationships/tags" Target="../tags/tag1079.xml"/><Relationship Id="rId39" Type="http://schemas.openxmlformats.org/officeDocument/2006/relationships/slideLayout" Target="../slideLayouts/slideLayout3.xml"/><Relationship Id="rId21" Type="http://schemas.openxmlformats.org/officeDocument/2006/relationships/tags" Target="../tags/tag1074.xml"/><Relationship Id="rId34" Type="http://schemas.openxmlformats.org/officeDocument/2006/relationships/tags" Target="../tags/tag1087.xml"/><Relationship Id="rId42" Type="http://schemas.openxmlformats.org/officeDocument/2006/relationships/chart" Target="../charts/chart29.xml"/><Relationship Id="rId7" Type="http://schemas.openxmlformats.org/officeDocument/2006/relationships/tags" Target="../tags/tag1060.xml"/><Relationship Id="rId2" Type="http://schemas.openxmlformats.org/officeDocument/2006/relationships/tags" Target="../tags/tag1055.xml"/><Relationship Id="rId16" Type="http://schemas.openxmlformats.org/officeDocument/2006/relationships/tags" Target="../tags/tag1069.xml"/><Relationship Id="rId20" Type="http://schemas.openxmlformats.org/officeDocument/2006/relationships/tags" Target="../tags/tag1073.xml"/><Relationship Id="rId29" Type="http://schemas.openxmlformats.org/officeDocument/2006/relationships/tags" Target="../tags/tag1082.xml"/><Relationship Id="rId41" Type="http://schemas.openxmlformats.org/officeDocument/2006/relationships/image" Target="../media/image18.emf"/><Relationship Id="rId1" Type="http://schemas.openxmlformats.org/officeDocument/2006/relationships/tags" Target="../tags/tag1054.xml"/><Relationship Id="rId6" Type="http://schemas.openxmlformats.org/officeDocument/2006/relationships/tags" Target="../tags/tag1059.xml"/><Relationship Id="rId11" Type="http://schemas.openxmlformats.org/officeDocument/2006/relationships/tags" Target="../tags/tag1064.xml"/><Relationship Id="rId24" Type="http://schemas.openxmlformats.org/officeDocument/2006/relationships/tags" Target="../tags/tag1077.xml"/><Relationship Id="rId32" Type="http://schemas.openxmlformats.org/officeDocument/2006/relationships/tags" Target="../tags/tag1085.xml"/><Relationship Id="rId37" Type="http://schemas.openxmlformats.org/officeDocument/2006/relationships/tags" Target="../tags/tag1090.xml"/><Relationship Id="rId40" Type="http://schemas.openxmlformats.org/officeDocument/2006/relationships/oleObject" Target="../embeddings/oleObject44.bin"/><Relationship Id="rId5" Type="http://schemas.openxmlformats.org/officeDocument/2006/relationships/tags" Target="../tags/tag1058.xml"/><Relationship Id="rId15" Type="http://schemas.openxmlformats.org/officeDocument/2006/relationships/tags" Target="../tags/tag1068.xml"/><Relationship Id="rId23" Type="http://schemas.openxmlformats.org/officeDocument/2006/relationships/tags" Target="../tags/tag1076.xml"/><Relationship Id="rId28" Type="http://schemas.openxmlformats.org/officeDocument/2006/relationships/tags" Target="../tags/tag1081.xml"/><Relationship Id="rId36" Type="http://schemas.openxmlformats.org/officeDocument/2006/relationships/tags" Target="../tags/tag1089.xml"/><Relationship Id="rId10" Type="http://schemas.openxmlformats.org/officeDocument/2006/relationships/tags" Target="../tags/tag1063.xml"/><Relationship Id="rId19" Type="http://schemas.openxmlformats.org/officeDocument/2006/relationships/tags" Target="../tags/tag1072.xml"/><Relationship Id="rId31" Type="http://schemas.openxmlformats.org/officeDocument/2006/relationships/tags" Target="../tags/tag1084.xml"/><Relationship Id="rId4" Type="http://schemas.openxmlformats.org/officeDocument/2006/relationships/tags" Target="../tags/tag1057.xml"/><Relationship Id="rId9" Type="http://schemas.openxmlformats.org/officeDocument/2006/relationships/tags" Target="../tags/tag1062.xml"/><Relationship Id="rId14" Type="http://schemas.openxmlformats.org/officeDocument/2006/relationships/tags" Target="../tags/tag1067.xml"/><Relationship Id="rId22" Type="http://schemas.openxmlformats.org/officeDocument/2006/relationships/tags" Target="../tags/tag1075.xml"/><Relationship Id="rId27" Type="http://schemas.openxmlformats.org/officeDocument/2006/relationships/tags" Target="../tags/tag1080.xml"/><Relationship Id="rId30" Type="http://schemas.openxmlformats.org/officeDocument/2006/relationships/tags" Target="../tags/tag1083.xml"/><Relationship Id="rId35" Type="http://schemas.openxmlformats.org/officeDocument/2006/relationships/tags" Target="../tags/tag1088.xml"/><Relationship Id="rId43" Type="http://schemas.openxmlformats.org/officeDocument/2006/relationships/chart" Target="../charts/chart30.xml"/><Relationship Id="rId8" Type="http://schemas.openxmlformats.org/officeDocument/2006/relationships/tags" Target="../tags/tag1061.xml"/><Relationship Id="rId3" Type="http://schemas.openxmlformats.org/officeDocument/2006/relationships/tags" Target="../tags/tag1056.xml"/><Relationship Id="rId12" Type="http://schemas.openxmlformats.org/officeDocument/2006/relationships/tags" Target="../tags/tag1065.xml"/><Relationship Id="rId17" Type="http://schemas.openxmlformats.org/officeDocument/2006/relationships/tags" Target="../tags/tag1070.xml"/><Relationship Id="rId25" Type="http://schemas.openxmlformats.org/officeDocument/2006/relationships/tags" Target="../tags/tag1078.xml"/><Relationship Id="rId33" Type="http://schemas.openxmlformats.org/officeDocument/2006/relationships/tags" Target="../tags/tag1086.xml"/><Relationship Id="rId38" Type="http://schemas.openxmlformats.org/officeDocument/2006/relationships/tags" Target="../tags/tag1091.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1092.xml"/><Relationship Id="rId4" Type="http://schemas.openxmlformats.org/officeDocument/2006/relationships/image" Target="../media/image2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1093.xml"/><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5.xml"/><Relationship Id="rId1" Type="http://schemas.openxmlformats.org/officeDocument/2006/relationships/tags" Target="../tags/tag1094.xml"/><Relationship Id="rId5" Type="http://schemas.openxmlformats.org/officeDocument/2006/relationships/image" Target="../media/image20.emf"/><Relationship Id="rId4" Type="http://schemas.openxmlformats.org/officeDocument/2006/relationships/oleObject" Target="../embeddings/oleObject47.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7.xml"/><Relationship Id="rId1" Type="http://schemas.openxmlformats.org/officeDocument/2006/relationships/tags" Target="../tags/tag1096.xml"/><Relationship Id="rId5" Type="http://schemas.openxmlformats.org/officeDocument/2006/relationships/image" Target="../media/image20.emf"/><Relationship Id="rId4" Type="http://schemas.openxmlformats.org/officeDocument/2006/relationships/oleObject" Target="../embeddings/oleObject48.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1098.xml"/><Relationship Id="rId4" Type="http://schemas.openxmlformats.org/officeDocument/2006/relationships/image" Target="../media/image20.emf"/></Relationships>
</file>

<file path=ppt/slides/_rels/slide53.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tags" Target="../tags/tag1101.xml"/><Relationship Id="rId7" Type="http://schemas.openxmlformats.org/officeDocument/2006/relationships/image" Target="../media/image32.emf"/><Relationship Id="rId2" Type="http://schemas.openxmlformats.org/officeDocument/2006/relationships/tags" Target="../tags/tag1100.xml"/><Relationship Id="rId1" Type="http://schemas.openxmlformats.org/officeDocument/2006/relationships/tags" Target="../tags/tag1099.xml"/><Relationship Id="rId6" Type="http://schemas.openxmlformats.org/officeDocument/2006/relationships/oleObject" Target="../embeddings/oleObject50.bin"/><Relationship Id="rId5" Type="http://schemas.openxmlformats.org/officeDocument/2006/relationships/slideLayout" Target="../slideLayouts/slideLayout3.xml"/><Relationship Id="rId4" Type="http://schemas.openxmlformats.org/officeDocument/2006/relationships/tags" Target="../tags/tag110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04.xml"/><Relationship Id="rId1" Type="http://schemas.openxmlformats.org/officeDocument/2006/relationships/tags" Target="../tags/tag1103.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1105.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106.xml"/><Relationship Id="rId4" Type="http://schemas.openxmlformats.org/officeDocument/2006/relationships/image" Target="../media/image2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107.xml"/><Relationship Id="rId4" Type="http://schemas.openxmlformats.org/officeDocument/2006/relationships/image" Target="../media/image2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108.xml"/><Relationship Id="rId4" Type="http://schemas.openxmlformats.org/officeDocument/2006/relationships/image" Target="../media/image20.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09.xml"/><Relationship Id="rId5" Type="http://schemas.openxmlformats.org/officeDocument/2006/relationships/hyperlink" Target="https://www.africahealthexhibition.com/en/home.html" TargetMode="Externa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63" Type="http://schemas.openxmlformats.org/officeDocument/2006/relationships/tags" Target="../tags/tag70.xml"/><Relationship Id="rId159" Type="http://schemas.openxmlformats.org/officeDocument/2006/relationships/tags" Target="../tags/tag166.xml"/><Relationship Id="rId170" Type="http://schemas.openxmlformats.org/officeDocument/2006/relationships/tags" Target="../tags/tag177.xml"/><Relationship Id="rId226" Type="http://schemas.openxmlformats.org/officeDocument/2006/relationships/tags" Target="../tags/tag233.xml"/><Relationship Id="rId268" Type="http://schemas.openxmlformats.org/officeDocument/2006/relationships/tags" Target="../tags/tag275.xml"/><Relationship Id="rId32" Type="http://schemas.openxmlformats.org/officeDocument/2006/relationships/tags" Target="../tags/tag39.xml"/><Relationship Id="rId74" Type="http://schemas.openxmlformats.org/officeDocument/2006/relationships/tags" Target="../tags/tag81.xml"/><Relationship Id="rId128" Type="http://schemas.openxmlformats.org/officeDocument/2006/relationships/tags" Target="../tags/tag135.xml"/><Relationship Id="rId5" Type="http://schemas.openxmlformats.org/officeDocument/2006/relationships/tags" Target="../tags/tag12.xml"/><Relationship Id="rId181" Type="http://schemas.openxmlformats.org/officeDocument/2006/relationships/tags" Target="../tags/tag188.xml"/><Relationship Id="rId237" Type="http://schemas.openxmlformats.org/officeDocument/2006/relationships/tags" Target="../tags/tag244.xml"/><Relationship Id="rId279" Type="http://schemas.openxmlformats.org/officeDocument/2006/relationships/tags" Target="../tags/tag286.xml"/><Relationship Id="rId43" Type="http://schemas.openxmlformats.org/officeDocument/2006/relationships/tags" Target="../tags/tag50.xml"/><Relationship Id="rId139" Type="http://schemas.openxmlformats.org/officeDocument/2006/relationships/tags" Target="../tags/tag146.xml"/><Relationship Id="rId85" Type="http://schemas.openxmlformats.org/officeDocument/2006/relationships/tags" Target="../tags/tag92.xml"/><Relationship Id="rId150" Type="http://schemas.openxmlformats.org/officeDocument/2006/relationships/tags" Target="../tags/tag157.xml"/><Relationship Id="rId171" Type="http://schemas.openxmlformats.org/officeDocument/2006/relationships/tags" Target="../tags/tag178.xml"/><Relationship Id="rId192" Type="http://schemas.openxmlformats.org/officeDocument/2006/relationships/tags" Target="../tags/tag199.xml"/><Relationship Id="rId206" Type="http://schemas.openxmlformats.org/officeDocument/2006/relationships/tags" Target="../tags/tag213.xml"/><Relationship Id="rId227" Type="http://schemas.openxmlformats.org/officeDocument/2006/relationships/tags" Target="../tags/tag234.xml"/><Relationship Id="rId248" Type="http://schemas.openxmlformats.org/officeDocument/2006/relationships/tags" Target="../tags/tag255.xml"/><Relationship Id="rId269" Type="http://schemas.openxmlformats.org/officeDocument/2006/relationships/tags" Target="../tags/tag276.xml"/><Relationship Id="rId12" Type="http://schemas.openxmlformats.org/officeDocument/2006/relationships/tags" Target="../tags/tag19.xml"/><Relationship Id="rId33" Type="http://schemas.openxmlformats.org/officeDocument/2006/relationships/tags" Target="../tags/tag40.xml"/><Relationship Id="rId108" Type="http://schemas.openxmlformats.org/officeDocument/2006/relationships/tags" Target="../tags/tag115.xml"/><Relationship Id="rId129" Type="http://schemas.openxmlformats.org/officeDocument/2006/relationships/tags" Target="../tags/tag136.xml"/><Relationship Id="rId280" Type="http://schemas.openxmlformats.org/officeDocument/2006/relationships/tags" Target="../tags/tag287.xml"/><Relationship Id="rId54" Type="http://schemas.openxmlformats.org/officeDocument/2006/relationships/tags" Target="../tags/tag61.xml"/><Relationship Id="rId75" Type="http://schemas.openxmlformats.org/officeDocument/2006/relationships/tags" Target="../tags/tag82.xml"/><Relationship Id="rId96" Type="http://schemas.openxmlformats.org/officeDocument/2006/relationships/tags" Target="../tags/tag103.xml"/><Relationship Id="rId140" Type="http://schemas.openxmlformats.org/officeDocument/2006/relationships/tags" Target="../tags/tag147.xml"/><Relationship Id="rId161" Type="http://schemas.openxmlformats.org/officeDocument/2006/relationships/tags" Target="../tags/tag168.xml"/><Relationship Id="rId182" Type="http://schemas.openxmlformats.org/officeDocument/2006/relationships/tags" Target="../tags/tag189.xml"/><Relationship Id="rId217" Type="http://schemas.openxmlformats.org/officeDocument/2006/relationships/tags" Target="../tags/tag224.xml"/><Relationship Id="rId6" Type="http://schemas.openxmlformats.org/officeDocument/2006/relationships/tags" Target="../tags/tag13.xml"/><Relationship Id="rId238" Type="http://schemas.openxmlformats.org/officeDocument/2006/relationships/tags" Target="../tags/tag245.xml"/><Relationship Id="rId259" Type="http://schemas.openxmlformats.org/officeDocument/2006/relationships/tags" Target="../tags/tag266.xml"/><Relationship Id="rId23" Type="http://schemas.openxmlformats.org/officeDocument/2006/relationships/tags" Target="../tags/tag30.xml"/><Relationship Id="rId119" Type="http://schemas.openxmlformats.org/officeDocument/2006/relationships/tags" Target="../tags/tag126.xml"/><Relationship Id="rId270" Type="http://schemas.openxmlformats.org/officeDocument/2006/relationships/tags" Target="../tags/tag277.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228" Type="http://schemas.openxmlformats.org/officeDocument/2006/relationships/tags" Target="../tags/tag235.xml"/><Relationship Id="rId249" Type="http://schemas.openxmlformats.org/officeDocument/2006/relationships/tags" Target="../tags/tag256.xml"/><Relationship Id="rId13" Type="http://schemas.openxmlformats.org/officeDocument/2006/relationships/tags" Target="../tags/tag20.xml"/><Relationship Id="rId109" Type="http://schemas.openxmlformats.org/officeDocument/2006/relationships/tags" Target="../tags/tag116.xml"/><Relationship Id="rId260" Type="http://schemas.openxmlformats.org/officeDocument/2006/relationships/tags" Target="../tags/tag267.xml"/><Relationship Id="rId281" Type="http://schemas.openxmlformats.org/officeDocument/2006/relationships/slideLayout" Target="../slideLayouts/slideLayout3.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39" Type="http://schemas.openxmlformats.org/officeDocument/2006/relationships/tags" Target="../tags/tag246.xml"/><Relationship Id="rId250" Type="http://schemas.openxmlformats.org/officeDocument/2006/relationships/tags" Target="../tags/tag257.xml"/><Relationship Id="rId271" Type="http://schemas.openxmlformats.org/officeDocument/2006/relationships/tags" Target="../tags/tag278.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229" Type="http://schemas.openxmlformats.org/officeDocument/2006/relationships/tags" Target="../tags/tag236.xml"/><Relationship Id="rId240" Type="http://schemas.openxmlformats.org/officeDocument/2006/relationships/tags" Target="../tags/tag247.xml"/><Relationship Id="rId261" Type="http://schemas.openxmlformats.org/officeDocument/2006/relationships/tags" Target="../tags/tag268.xml"/><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282" Type="http://schemas.openxmlformats.org/officeDocument/2006/relationships/oleObject" Target="../embeddings/oleObject6.bin"/><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230" Type="http://schemas.openxmlformats.org/officeDocument/2006/relationships/tags" Target="../tags/tag237.xml"/><Relationship Id="rId251" Type="http://schemas.openxmlformats.org/officeDocument/2006/relationships/tags" Target="../tags/tag258.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272" Type="http://schemas.openxmlformats.org/officeDocument/2006/relationships/tags" Target="../tags/tag279.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95" Type="http://schemas.openxmlformats.org/officeDocument/2006/relationships/tags" Target="../tags/tag202.xml"/><Relationship Id="rId209" Type="http://schemas.openxmlformats.org/officeDocument/2006/relationships/tags" Target="../tags/tag216.xml"/><Relationship Id="rId220" Type="http://schemas.openxmlformats.org/officeDocument/2006/relationships/tags" Target="../tags/tag227.xml"/><Relationship Id="rId241" Type="http://schemas.openxmlformats.org/officeDocument/2006/relationships/tags" Target="../tags/tag248.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262" Type="http://schemas.openxmlformats.org/officeDocument/2006/relationships/tags" Target="../tags/tag269.xml"/><Relationship Id="rId283" Type="http://schemas.openxmlformats.org/officeDocument/2006/relationships/image" Target="../media/image1.emf"/><Relationship Id="rId78" Type="http://schemas.openxmlformats.org/officeDocument/2006/relationships/tags" Target="../tags/tag85.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64" Type="http://schemas.openxmlformats.org/officeDocument/2006/relationships/tags" Target="../tags/tag171.xml"/><Relationship Id="rId185" Type="http://schemas.openxmlformats.org/officeDocument/2006/relationships/tags" Target="../tags/tag192.xml"/><Relationship Id="rId9" Type="http://schemas.openxmlformats.org/officeDocument/2006/relationships/tags" Target="../tags/tag16.xml"/><Relationship Id="rId210" Type="http://schemas.openxmlformats.org/officeDocument/2006/relationships/tags" Target="../tags/tag217.xml"/><Relationship Id="rId26" Type="http://schemas.openxmlformats.org/officeDocument/2006/relationships/tags" Target="../tags/tag33.xml"/><Relationship Id="rId231" Type="http://schemas.openxmlformats.org/officeDocument/2006/relationships/tags" Target="../tags/tag238.xml"/><Relationship Id="rId252" Type="http://schemas.openxmlformats.org/officeDocument/2006/relationships/tags" Target="../tags/tag259.xml"/><Relationship Id="rId273" Type="http://schemas.openxmlformats.org/officeDocument/2006/relationships/tags" Target="../tags/tag280.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242" Type="http://schemas.openxmlformats.org/officeDocument/2006/relationships/tags" Target="../tags/tag249.xml"/><Relationship Id="rId263" Type="http://schemas.openxmlformats.org/officeDocument/2006/relationships/tags" Target="../tags/tag270.xml"/><Relationship Id="rId284" Type="http://schemas.openxmlformats.org/officeDocument/2006/relationships/chart" Target="../charts/chart1.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32" Type="http://schemas.openxmlformats.org/officeDocument/2006/relationships/tags" Target="../tags/tag239.xml"/><Relationship Id="rId253" Type="http://schemas.openxmlformats.org/officeDocument/2006/relationships/tags" Target="../tags/tag260.xml"/><Relationship Id="rId274" Type="http://schemas.openxmlformats.org/officeDocument/2006/relationships/tags" Target="../tags/tag281.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tags" Target="../tags/tag229.xml"/><Relationship Id="rId243" Type="http://schemas.openxmlformats.org/officeDocument/2006/relationships/tags" Target="../tags/tag250.xml"/><Relationship Id="rId264" Type="http://schemas.openxmlformats.org/officeDocument/2006/relationships/tags" Target="../tags/tag271.xml"/><Relationship Id="rId285" Type="http://schemas.openxmlformats.org/officeDocument/2006/relationships/chart" Target="../charts/chart2.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tags" Target="../tags/tag8.xml"/><Relationship Id="rId212" Type="http://schemas.openxmlformats.org/officeDocument/2006/relationships/tags" Target="../tags/tag219.xml"/><Relationship Id="rId233" Type="http://schemas.openxmlformats.org/officeDocument/2006/relationships/tags" Target="../tags/tag240.xml"/><Relationship Id="rId254" Type="http://schemas.openxmlformats.org/officeDocument/2006/relationships/tags" Target="../tags/tag261.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275" Type="http://schemas.openxmlformats.org/officeDocument/2006/relationships/tags" Target="../tags/tag282.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tags" Target="../tags/tag230.xml"/><Relationship Id="rId244" Type="http://schemas.openxmlformats.org/officeDocument/2006/relationships/tags" Target="../tags/tag251.xml"/><Relationship Id="rId18" Type="http://schemas.openxmlformats.org/officeDocument/2006/relationships/tags" Target="../tags/tag25.xml"/><Relationship Id="rId39" Type="http://schemas.openxmlformats.org/officeDocument/2006/relationships/tags" Target="../tags/tag46.xml"/><Relationship Id="rId265" Type="http://schemas.openxmlformats.org/officeDocument/2006/relationships/tags" Target="../tags/tag272.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34" Type="http://schemas.openxmlformats.org/officeDocument/2006/relationships/tags" Target="../tags/tag241.xml"/><Relationship Id="rId2" Type="http://schemas.openxmlformats.org/officeDocument/2006/relationships/tags" Target="../tags/tag9.xml"/><Relationship Id="rId29" Type="http://schemas.openxmlformats.org/officeDocument/2006/relationships/tags" Target="../tags/tag36.xml"/><Relationship Id="rId255" Type="http://schemas.openxmlformats.org/officeDocument/2006/relationships/tags" Target="../tags/tag262.xml"/><Relationship Id="rId276" Type="http://schemas.openxmlformats.org/officeDocument/2006/relationships/tags" Target="../tags/tag283.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tags" Target="../tags/tag231.xml"/><Relationship Id="rId245" Type="http://schemas.openxmlformats.org/officeDocument/2006/relationships/tags" Target="../tags/tag252.xml"/><Relationship Id="rId266" Type="http://schemas.openxmlformats.org/officeDocument/2006/relationships/tags" Target="../tags/tag273.xml"/><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 Id="rId3" Type="http://schemas.openxmlformats.org/officeDocument/2006/relationships/tags" Target="../tags/tag10.xml"/><Relationship Id="rId214" Type="http://schemas.openxmlformats.org/officeDocument/2006/relationships/tags" Target="../tags/tag221.xml"/><Relationship Id="rId235" Type="http://schemas.openxmlformats.org/officeDocument/2006/relationships/tags" Target="../tags/tag242.xml"/><Relationship Id="rId256" Type="http://schemas.openxmlformats.org/officeDocument/2006/relationships/tags" Target="../tags/tag263.xml"/><Relationship Id="rId277" Type="http://schemas.openxmlformats.org/officeDocument/2006/relationships/tags" Target="../tags/tag284.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179" Type="http://schemas.openxmlformats.org/officeDocument/2006/relationships/tags" Target="../tags/tag186.xml"/><Relationship Id="rId190" Type="http://schemas.openxmlformats.org/officeDocument/2006/relationships/tags" Target="../tags/tag197.xml"/><Relationship Id="rId204" Type="http://schemas.openxmlformats.org/officeDocument/2006/relationships/tags" Target="../tags/tag211.xml"/><Relationship Id="rId225" Type="http://schemas.openxmlformats.org/officeDocument/2006/relationships/tags" Target="../tags/tag232.xml"/><Relationship Id="rId246" Type="http://schemas.openxmlformats.org/officeDocument/2006/relationships/tags" Target="../tags/tag253.xml"/><Relationship Id="rId267" Type="http://schemas.openxmlformats.org/officeDocument/2006/relationships/tags" Target="../tags/tag27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94" Type="http://schemas.openxmlformats.org/officeDocument/2006/relationships/tags" Target="../tags/tag101.xml"/><Relationship Id="rId148" Type="http://schemas.openxmlformats.org/officeDocument/2006/relationships/tags" Target="../tags/tag155.xml"/><Relationship Id="rId169" Type="http://schemas.openxmlformats.org/officeDocument/2006/relationships/tags" Target="../tags/tag176.xml"/><Relationship Id="rId4" Type="http://schemas.openxmlformats.org/officeDocument/2006/relationships/tags" Target="../tags/tag11.xml"/><Relationship Id="rId180" Type="http://schemas.openxmlformats.org/officeDocument/2006/relationships/tags" Target="../tags/tag187.xml"/><Relationship Id="rId215" Type="http://schemas.openxmlformats.org/officeDocument/2006/relationships/tags" Target="../tags/tag222.xml"/><Relationship Id="rId236" Type="http://schemas.openxmlformats.org/officeDocument/2006/relationships/tags" Target="../tags/tag243.xml"/><Relationship Id="rId257" Type="http://schemas.openxmlformats.org/officeDocument/2006/relationships/tags" Target="../tags/tag264.xml"/><Relationship Id="rId278" Type="http://schemas.openxmlformats.org/officeDocument/2006/relationships/tags" Target="../tags/tag285.xml"/><Relationship Id="rId42" Type="http://schemas.openxmlformats.org/officeDocument/2006/relationships/tags" Target="../tags/tag49.xml"/><Relationship Id="rId84" Type="http://schemas.openxmlformats.org/officeDocument/2006/relationships/tags" Target="../tags/tag91.xml"/><Relationship Id="rId138" Type="http://schemas.openxmlformats.org/officeDocument/2006/relationships/tags" Target="../tags/tag145.xml"/><Relationship Id="rId191" Type="http://schemas.openxmlformats.org/officeDocument/2006/relationships/tags" Target="../tags/tag198.xml"/><Relationship Id="rId205" Type="http://schemas.openxmlformats.org/officeDocument/2006/relationships/tags" Target="../tags/tag212.xml"/><Relationship Id="rId247" Type="http://schemas.openxmlformats.org/officeDocument/2006/relationships/tags" Target="../tags/tag254.xml"/><Relationship Id="rId107" Type="http://schemas.openxmlformats.org/officeDocument/2006/relationships/tags" Target="../tags/tag114.xml"/><Relationship Id="rId11" Type="http://schemas.openxmlformats.org/officeDocument/2006/relationships/tags" Target="../tags/tag18.xml"/><Relationship Id="rId53" Type="http://schemas.openxmlformats.org/officeDocument/2006/relationships/tags" Target="../tags/tag60.xml"/><Relationship Id="rId149" Type="http://schemas.openxmlformats.org/officeDocument/2006/relationships/tags" Target="../tags/tag156.xml"/><Relationship Id="rId95" Type="http://schemas.openxmlformats.org/officeDocument/2006/relationships/tags" Target="../tags/tag102.xml"/><Relationship Id="rId160" Type="http://schemas.openxmlformats.org/officeDocument/2006/relationships/tags" Target="../tags/tag167.xml"/><Relationship Id="rId216" Type="http://schemas.openxmlformats.org/officeDocument/2006/relationships/tags" Target="../tags/tag223.xml"/><Relationship Id="rId258" Type="http://schemas.openxmlformats.org/officeDocument/2006/relationships/tags" Target="../tags/tag265.xml"/><Relationship Id="rId22" Type="http://schemas.openxmlformats.org/officeDocument/2006/relationships/tags" Target="../tags/tag29.xml"/><Relationship Id="rId64" Type="http://schemas.openxmlformats.org/officeDocument/2006/relationships/tags" Target="../tags/tag71.xml"/><Relationship Id="rId118" Type="http://schemas.openxmlformats.org/officeDocument/2006/relationships/tags" Target="../tags/tag1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110.xml"/><Relationship Id="rId4" Type="http://schemas.openxmlformats.org/officeDocument/2006/relationships/image" Target="../media/image20.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11.xml"/><Relationship Id="rId5" Type="http://schemas.openxmlformats.org/officeDocument/2006/relationships/image" Target="../media/image33.emf"/><Relationship Id="rId4" Type="http://schemas.openxmlformats.org/officeDocument/2006/relationships/oleObject" Target="../embeddings/oleObject5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12.xml"/><Relationship Id="rId5" Type="http://schemas.openxmlformats.org/officeDocument/2006/relationships/image" Target="../media/image33.emf"/><Relationship Id="rId4" Type="http://schemas.openxmlformats.org/officeDocument/2006/relationships/oleObject" Target="../embeddings/oleObject59.bin"/></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113.xml"/><Relationship Id="rId4" Type="http://schemas.openxmlformats.org/officeDocument/2006/relationships/image" Target="../media/image2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114.xml"/><Relationship Id="rId4" Type="http://schemas.openxmlformats.org/officeDocument/2006/relationships/image" Target="../media/image20.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1115.xml"/><Relationship Id="rId4" Type="http://schemas.openxmlformats.org/officeDocument/2006/relationships/image" Target="../media/image2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1116.xml"/><Relationship Id="rId4" Type="http://schemas.openxmlformats.org/officeDocument/2006/relationships/image" Target="../media/image2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117.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tags" Target="../tags/tag326.xml"/><Relationship Id="rId21" Type="http://schemas.openxmlformats.org/officeDocument/2006/relationships/tags" Target="../tags/tag308.xml"/><Relationship Id="rId34" Type="http://schemas.openxmlformats.org/officeDocument/2006/relationships/tags" Target="../tags/tag321.xml"/><Relationship Id="rId42" Type="http://schemas.openxmlformats.org/officeDocument/2006/relationships/image" Target="../media/image18.emf"/><Relationship Id="rId7" Type="http://schemas.openxmlformats.org/officeDocument/2006/relationships/tags" Target="../tags/tag294.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tags" Target="../tags/tag316.xml"/><Relationship Id="rId41" Type="http://schemas.openxmlformats.org/officeDocument/2006/relationships/oleObject" Target="../embeddings/oleObject7.bin"/><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tags" Target="../tags/tag324.xml"/><Relationship Id="rId40" Type="http://schemas.openxmlformats.org/officeDocument/2006/relationships/slideLayout" Target="../slideLayouts/slideLayout3.xml"/><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4" Type="http://schemas.openxmlformats.org/officeDocument/2006/relationships/chart" Target="../charts/chart4.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43" Type="http://schemas.openxmlformats.org/officeDocument/2006/relationships/chart" Target="../charts/chart3.xml"/><Relationship Id="rId8" Type="http://schemas.openxmlformats.org/officeDocument/2006/relationships/tags" Target="../tags/tag295.xml"/><Relationship Id="rId3" Type="http://schemas.openxmlformats.org/officeDocument/2006/relationships/tags" Target="../tags/tag290.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tags" Target="../tags/tag325.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18.xml"/><Relationship Id="rId4" Type="http://schemas.openxmlformats.org/officeDocument/2006/relationships/image" Target="../media/image20.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119.xml"/><Relationship Id="rId4" Type="http://schemas.openxmlformats.org/officeDocument/2006/relationships/image" Target="../media/image20.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120.xml"/><Relationship Id="rId4" Type="http://schemas.openxmlformats.org/officeDocument/2006/relationships/image" Target="../media/image20.emf"/></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2.xml"/><Relationship Id="rId1" Type="http://schemas.openxmlformats.org/officeDocument/2006/relationships/tags" Target="../tags/tag1121.x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4.xml"/><Relationship Id="rId1" Type="http://schemas.openxmlformats.org/officeDocument/2006/relationships/tags" Target="../tags/tag1123.x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125.xml"/><Relationship Id="rId4" Type="http://schemas.openxmlformats.org/officeDocument/2006/relationships/image" Target="../media/image34.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126.xml"/><Relationship Id="rId4" Type="http://schemas.openxmlformats.org/officeDocument/2006/relationships/image" Target="../media/image34.emf"/></Relationships>
</file>

<file path=ppt/slides/_rels/slide77.xml.rels><?xml version="1.0" encoding="UTF-8" standalone="yes"?>
<Relationships xmlns="http://schemas.openxmlformats.org/package/2006/relationships"><Relationship Id="rId8" Type="http://schemas.openxmlformats.org/officeDocument/2006/relationships/hyperlink" Target="https://www.jetro.go.jp/ext_images/_Reports/02/2021/a817acb6070d228b/202107.pdf" TargetMode="External"/><Relationship Id="rId3" Type="http://schemas.openxmlformats.org/officeDocument/2006/relationships/notesSlide" Target="../notesSlides/notesSlide11.xml"/><Relationship Id="rId7" Type="http://schemas.openxmlformats.org/officeDocument/2006/relationships/hyperlink" Target="https://www.jetro.go.jp/ext_images/_Reports/02/2021/9b33dc8a948ba799/202105.pdf" TargetMode="External"/><Relationship Id="rId12" Type="http://schemas.openxmlformats.org/officeDocument/2006/relationships/hyperlink" Target="https://www.jetro.go.jp/ext_images/_Reports/02/d93c38ed7c9df588/report_za_me_industry201503r.pdf" TargetMode="External"/><Relationship Id="rId2" Type="http://schemas.openxmlformats.org/officeDocument/2006/relationships/slideLayout" Target="../slideLayouts/slideLayout3.xml"/><Relationship Id="rId1" Type="http://schemas.openxmlformats.org/officeDocument/2006/relationships/tags" Target="../tags/tag1127.xml"/><Relationship Id="rId6" Type="http://schemas.openxmlformats.org/officeDocument/2006/relationships/hyperlink" Target="https://www.jetro.go.jp/ext_images/_Reports/01/0f1ffd8ff84e2dda/20220006_01.pdf" TargetMode="External"/><Relationship Id="rId11" Type="http://schemas.openxmlformats.org/officeDocument/2006/relationships/hyperlink" Target="https://www.jetro.go.jp/ext_images/_Reports/01/dc6281dfc43c889b/20180018.pdf" TargetMode="External"/><Relationship Id="rId5" Type="http://schemas.openxmlformats.org/officeDocument/2006/relationships/image" Target="../media/image20.emf"/><Relationship Id="rId10" Type="http://schemas.openxmlformats.org/officeDocument/2006/relationships/hyperlink" Target="https://www.jetro.go.jp/ext_images/_Reports/02/2021/75ad7bb9bf7910a9/rpza202103.pdf" TargetMode="External"/><Relationship Id="rId4" Type="http://schemas.openxmlformats.org/officeDocument/2006/relationships/oleObject" Target="../embeddings/oleObject69.bin"/><Relationship Id="rId9" Type="http://schemas.openxmlformats.org/officeDocument/2006/relationships/hyperlink" Target="https://www.jetro.go.jp/ext_images/_Reports/01/9999cffa9b473f42/20210005.pdf"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352.xml"/><Relationship Id="rId21" Type="http://schemas.openxmlformats.org/officeDocument/2006/relationships/tags" Target="../tags/tag347.xml"/><Relationship Id="rId42" Type="http://schemas.openxmlformats.org/officeDocument/2006/relationships/tags" Target="../tags/tag368.xml"/><Relationship Id="rId47" Type="http://schemas.openxmlformats.org/officeDocument/2006/relationships/tags" Target="../tags/tag373.xml"/><Relationship Id="rId63" Type="http://schemas.openxmlformats.org/officeDocument/2006/relationships/tags" Target="../tags/tag389.xml"/><Relationship Id="rId68" Type="http://schemas.openxmlformats.org/officeDocument/2006/relationships/tags" Target="../tags/tag394.xml"/><Relationship Id="rId84" Type="http://schemas.openxmlformats.org/officeDocument/2006/relationships/tags" Target="../tags/tag410.xml"/><Relationship Id="rId89" Type="http://schemas.openxmlformats.org/officeDocument/2006/relationships/tags" Target="../tags/tag415.xml"/><Relationship Id="rId16" Type="http://schemas.openxmlformats.org/officeDocument/2006/relationships/tags" Target="../tags/tag342.xml"/><Relationship Id="rId11" Type="http://schemas.openxmlformats.org/officeDocument/2006/relationships/tags" Target="../tags/tag337.xml"/><Relationship Id="rId32" Type="http://schemas.openxmlformats.org/officeDocument/2006/relationships/tags" Target="../tags/tag358.xml"/><Relationship Id="rId37" Type="http://schemas.openxmlformats.org/officeDocument/2006/relationships/tags" Target="../tags/tag363.xml"/><Relationship Id="rId53" Type="http://schemas.openxmlformats.org/officeDocument/2006/relationships/tags" Target="../tags/tag379.xml"/><Relationship Id="rId58" Type="http://schemas.openxmlformats.org/officeDocument/2006/relationships/tags" Target="../tags/tag384.xml"/><Relationship Id="rId74" Type="http://schemas.openxmlformats.org/officeDocument/2006/relationships/tags" Target="../tags/tag400.xml"/><Relationship Id="rId79" Type="http://schemas.openxmlformats.org/officeDocument/2006/relationships/tags" Target="../tags/tag405.xml"/><Relationship Id="rId5" Type="http://schemas.openxmlformats.org/officeDocument/2006/relationships/tags" Target="../tags/tag331.xml"/><Relationship Id="rId90" Type="http://schemas.openxmlformats.org/officeDocument/2006/relationships/tags" Target="../tags/tag416.xml"/><Relationship Id="rId95" Type="http://schemas.openxmlformats.org/officeDocument/2006/relationships/chart" Target="../charts/chart6.xml"/><Relationship Id="rId22" Type="http://schemas.openxmlformats.org/officeDocument/2006/relationships/tags" Target="../tags/tag348.xml"/><Relationship Id="rId27" Type="http://schemas.openxmlformats.org/officeDocument/2006/relationships/tags" Target="../tags/tag353.xml"/><Relationship Id="rId43" Type="http://schemas.openxmlformats.org/officeDocument/2006/relationships/tags" Target="../tags/tag369.xml"/><Relationship Id="rId48" Type="http://schemas.openxmlformats.org/officeDocument/2006/relationships/tags" Target="../tags/tag374.xml"/><Relationship Id="rId64" Type="http://schemas.openxmlformats.org/officeDocument/2006/relationships/tags" Target="../tags/tag390.xml"/><Relationship Id="rId69" Type="http://schemas.openxmlformats.org/officeDocument/2006/relationships/tags" Target="../tags/tag395.xml"/><Relationship Id="rId8" Type="http://schemas.openxmlformats.org/officeDocument/2006/relationships/tags" Target="../tags/tag334.xml"/><Relationship Id="rId51" Type="http://schemas.openxmlformats.org/officeDocument/2006/relationships/tags" Target="../tags/tag377.xml"/><Relationship Id="rId72" Type="http://schemas.openxmlformats.org/officeDocument/2006/relationships/tags" Target="../tags/tag398.xml"/><Relationship Id="rId80" Type="http://schemas.openxmlformats.org/officeDocument/2006/relationships/tags" Target="../tags/tag406.xml"/><Relationship Id="rId85" Type="http://schemas.openxmlformats.org/officeDocument/2006/relationships/tags" Target="../tags/tag411.xml"/><Relationship Id="rId93" Type="http://schemas.openxmlformats.org/officeDocument/2006/relationships/image" Target="../media/image18.emf"/><Relationship Id="rId3" Type="http://schemas.openxmlformats.org/officeDocument/2006/relationships/tags" Target="../tags/tag329.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33" Type="http://schemas.openxmlformats.org/officeDocument/2006/relationships/tags" Target="../tags/tag359.xml"/><Relationship Id="rId38" Type="http://schemas.openxmlformats.org/officeDocument/2006/relationships/tags" Target="../tags/tag364.xml"/><Relationship Id="rId46" Type="http://schemas.openxmlformats.org/officeDocument/2006/relationships/tags" Target="../tags/tag372.xml"/><Relationship Id="rId59" Type="http://schemas.openxmlformats.org/officeDocument/2006/relationships/tags" Target="../tags/tag385.xml"/><Relationship Id="rId67" Type="http://schemas.openxmlformats.org/officeDocument/2006/relationships/tags" Target="../tags/tag393.xml"/><Relationship Id="rId20" Type="http://schemas.openxmlformats.org/officeDocument/2006/relationships/tags" Target="../tags/tag346.xml"/><Relationship Id="rId41" Type="http://schemas.openxmlformats.org/officeDocument/2006/relationships/tags" Target="../tags/tag367.xml"/><Relationship Id="rId54" Type="http://schemas.openxmlformats.org/officeDocument/2006/relationships/tags" Target="../tags/tag380.xml"/><Relationship Id="rId62" Type="http://schemas.openxmlformats.org/officeDocument/2006/relationships/tags" Target="../tags/tag388.xml"/><Relationship Id="rId70" Type="http://schemas.openxmlformats.org/officeDocument/2006/relationships/tags" Target="../tags/tag396.xml"/><Relationship Id="rId75" Type="http://schemas.openxmlformats.org/officeDocument/2006/relationships/tags" Target="../tags/tag401.xml"/><Relationship Id="rId83" Type="http://schemas.openxmlformats.org/officeDocument/2006/relationships/tags" Target="../tags/tag409.xml"/><Relationship Id="rId88" Type="http://schemas.openxmlformats.org/officeDocument/2006/relationships/tags" Target="../tags/tag414.xml"/><Relationship Id="rId91" Type="http://schemas.openxmlformats.org/officeDocument/2006/relationships/slideLayout" Target="../slideLayouts/slideLayout3.xml"/><Relationship Id="rId1" Type="http://schemas.openxmlformats.org/officeDocument/2006/relationships/tags" Target="../tags/tag327.xml"/><Relationship Id="rId6" Type="http://schemas.openxmlformats.org/officeDocument/2006/relationships/tags" Target="../tags/tag332.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tags" Target="../tags/tag354.xml"/><Relationship Id="rId36" Type="http://schemas.openxmlformats.org/officeDocument/2006/relationships/tags" Target="../tags/tag362.xml"/><Relationship Id="rId49" Type="http://schemas.openxmlformats.org/officeDocument/2006/relationships/tags" Target="../tags/tag375.xml"/><Relationship Id="rId57" Type="http://schemas.openxmlformats.org/officeDocument/2006/relationships/tags" Target="../tags/tag383.xml"/><Relationship Id="rId10" Type="http://schemas.openxmlformats.org/officeDocument/2006/relationships/tags" Target="../tags/tag336.xml"/><Relationship Id="rId31" Type="http://schemas.openxmlformats.org/officeDocument/2006/relationships/tags" Target="../tags/tag357.xml"/><Relationship Id="rId44" Type="http://schemas.openxmlformats.org/officeDocument/2006/relationships/tags" Target="../tags/tag370.xml"/><Relationship Id="rId52" Type="http://schemas.openxmlformats.org/officeDocument/2006/relationships/tags" Target="../tags/tag378.xml"/><Relationship Id="rId60" Type="http://schemas.openxmlformats.org/officeDocument/2006/relationships/tags" Target="../tags/tag386.xml"/><Relationship Id="rId65" Type="http://schemas.openxmlformats.org/officeDocument/2006/relationships/tags" Target="../tags/tag391.xml"/><Relationship Id="rId73" Type="http://schemas.openxmlformats.org/officeDocument/2006/relationships/tags" Target="../tags/tag399.xml"/><Relationship Id="rId78" Type="http://schemas.openxmlformats.org/officeDocument/2006/relationships/tags" Target="../tags/tag404.xml"/><Relationship Id="rId81" Type="http://schemas.openxmlformats.org/officeDocument/2006/relationships/tags" Target="../tags/tag407.xml"/><Relationship Id="rId86" Type="http://schemas.openxmlformats.org/officeDocument/2006/relationships/tags" Target="../tags/tag412.xml"/><Relationship Id="rId94" Type="http://schemas.openxmlformats.org/officeDocument/2006/relationships/chart" Target="../charts/chart5.xml"/><Relationship Id="rId4" Type="http://schemas.openxmlformats.org/officeDocument/2006/relationships/tags" Target="../tags/tag330.xml"/><Relationship Id="rId9" Type="http://schemas.openxmlformats.org/officeDocument/2006/relationships/tags" Target="../tags/tag335.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 Id="rId34" Type="http://schemas.openxmlformats.org/officeDocument/2006/relationships/tags" Target="../tags/tag360.xml"/><Relationship Id="rId50" Type="http://schemas.openxmlformats.org/officeDocument/2006/relationships/tags" Target="../tags/tag376.xml"/><Relationship Id="rId55" Type="http://schemas.openxmlformats.org/officeDocument/2006/relationships/tags" Target="../tags/tag381.xml"/><Relationship Id="rId76" Type="http://schemas.openxmlformats.org/officeDocument/2006/relationships/tags" Target="../tags/tag402.xml"/><Relationship Id="rId7" Type="http://schemas.openxmlformats.org/officeDocument/2006/relationships/tags" Target="../tags/tag333.xml"/><Relationship Id="rId71" Type="http://schemas.openxmlformats.org/officeDocument/2006/relationships/tags" Target="../tags/tag397.xml"/><Relationship Id="rId92" Type="http://schemas.openxmlformats.org/officeDocument/2006/relationships/oleObject" Target="../embeddings/oleObject8.bin"/><Relationship Id="rId2" Type="http://schemas.openxmlformats.org/officeDocument/2006/relationships/tags" Target="../tags/tag328.xml"/><Relationship Id="rId29" Type="http://schemas.openxmlformats.org/officeDocument/2006/relationships/tags" Target="../tags/tag355.xml"/><Relationship Id="rId24" Type="http://schemas.openxmlformats.org/officeDocument/2006/relationships/tags" Target="../tags/tag350.xml"/><Relationship Id="rId40" Type="http://schemas.openxmlformats.org/officeDocument/2006/relationships/tags" Target="../tags/tag366.xml"/><Relationship Id="rId45" Type="http://schemas.openxmlformats.org/officeDocument/2006/relationships/tags" Target="../tags/tag371.xml"/><Relationship Id="rId66" Type="http://schemas.openxmlformats.org/officeDocument/2006/relationships/tags" Target="../tags/tag392.xml"/><Relationship Id="rId87" Type="http://schemas.openxmlformats.org/officeDocument/2006/relationships/tags" Target="../tags/tag413.xml"/><Relationship Id="rId61" Type="http://schemas.openxmlformats.org/officeDocument/2006/relationships/tags" Target="../tags/tag387.xml"/><Relationship Id="rId82" Type="http://schemas.openxmlformats.org/officeDocument/2006/relationships/tags" Target="../tags/tag408.xml"/><Relationship Id="rId19" Type="http://schemas.openxmlformats.org/officeDocument/2006/relationships/tags" Target="../tags/tag345.xml"/><Relationship Id="rId14" Type="http://schemas.openxmlformats.org/officeDocument/2006/relationships/tags" Target="../tags/tag340.xml"/><Relationship Id="rId30" Type="http://schemas.openxmlformats.org/officeDocument/2006/relationships/tags" Target="../tags/tag356.xml"/><Relationship Id="rId35" Type="http://schemas.openxmlformats.org/officeDocument/2006/relationships/tags" Target="../tags/tag361.xml"/><Relationship Id="rId56" Type="http://schemas.openxmlformats.org/officeDocument/2006/relationships/tags" Target="../tags/tag382.xml"/><Relationship Id="rId77" Type="http://schemas.openxmlformats.org/officeDocument/2006/relationships/tags" Target="../tags/tag403.xml"/></Relationships>
</file>

<file path=ppt/slides/_rels/slide9.xml.rels><?xml version="1.0" encoding="UTF-8" standalone="yes"?>
<Relationships xmlns="http://schemas.openxmlformats.org/package/2006/relationships"><Relationship Id="rId13" Type="http://schemas.openxmlformats.org/officeDocument/2006/relationships/tags" Target="../tags/tag429.xml"/><Relationship Id="rId18" Type="http://schemas.openxmlformats.org/officeDocument/2006/relationships/tags" Target="../tags/tag434.xml"/><Relationship Id="rId26" Type="http://schemas.openxmlformats.org/officeDocument/2006/relationships/tags" Target="../tags/tag442.xml"/><Relationship Id="rId39" Type="http://schemas.openxmlformats.org/officeDocument/2006/relationships/oleObject" Target="../embeddings/oleObject9.bin"/><Relationship Id="rId21" Type="http://schemas.openxmlformats.org/officeDocument/2006/relationships/tags" Target="../tags/tag437.xml"/><Relationship Id="rId34" Type="http://schemas.openxmlformats.org/officeDocument/2006/relationships/tags" Target="../tags/tag450.xml"/><Relationship Id="rId42" Type="http://schemas.openxmlformats.org/officeDocument/2006/relationships/chart" Target="../charts/chart8.xml"/><Relationship Id="rId7" Type="http://schemas.openxmlformats.org/officeDocument/2006/relationships/tags" Target="../tags/tag423.xml"/><Relationship Id="rId2" Type="http://schemas.openxmlformats.org/officeDocument/2006/relationships/tags" Target="../tags/tag418.xml"/><Relationship Id="rId16" Type="http://schemas.openxmlformats.org/officeDocument/2006/relationships/tags" Target="../tags/tag432.xml"/><Relationship Id="rId29" Type="http://schemas.openxmlformats.org/officeDocument/2006/relationships/tags" Target="../tags/tag445.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tags" Target="../tags/tag440.xml"/><Relationship Id="rId32" Type="http://schemas.openxmlformats.org/officeDocument/2006/relationships/tags" Target="../tags/tag448.xml"/><Relationship Id="rId37" Type="http://schemas.openxmlformats.org/officeDocument/2006/relationships/slideLayout" Target="../slideLayouts/slideLayout3.xml"/><Relationship Id="rId40" Type="http://schemas.openxmlformats.org/officeDocument/2006/relationships/image" Target="../media/image18.emf"/><Relationship Id="rId45" Type="http://schemas.openxmlformats.org/officeDocument/2006/relationships/chart" Target="../charts/chart11.xml"/><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tags" Target="../tags/tag439.xml"/><Relationship Id="rId28" Type="http://schemas.openxmlformats.org/officeDocument/2006/relationships/tags" Target="../tags/tag444.xml"/><Relationship Id="rId36" Type="http://schemas.openxmlformats.org/officeDocument/2006/relationships/tags" Target="../tags/tag452.xml"/><Relationship Id="rId10" Type="http://schemas.openxmlformats.org/officeDocument/2006/relationships/tags" Target="../tags/tag426.xml"/><Relationship Id="rId19" Type="http://schemas.openxmlformats.org/officeDocument/2006/relationships/tags" Target="../tags/tag435.xml"/><Relationship Id="rId31" Type="http://schemas.openxmlformats.org/officeDocument/2006/relationships/tags" Target="../tags/tag447.xml"/><Relationship Id="rId44" Type="http://schemas.openxmlformats.org/officeDocument/2006/relationships/chart" Target="../charts/chart10.xml"/><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tags" Target="../tags/tag438.xml"/><Relationship Id="rId27" Type="http://schemas.openxmlformats.org/officeDocument/2006/relationships/tags" Target="../tags/tag443.xml"/><Relationship Id="rId30" Type="http://schemas.openxmlformats.org/officeDocument/2006/relationships/tags" Target="../tags/tag446.xml"/><Relationship Id="rId35" Type="http://schemas.openxmlformats.org/officeDocument/2006/relationships/tags" Target="../tags/tag451.xml"/><Relationship Id="rId43" Type="http://schemas.openxmlformats.org/officeDocument/2006/relationships/chart" Target="../charts/chart9.xml"/><Relationship Id="rId8" Type="http://schemas.openxmlformats.org/officeDocument/2006/relationships/tags" Target="../tags/tag424.xml"/><Relationship Id="rId3" Type="http://schemas.openxmlformats.org/officeDocument/2006/relationships/tags" Target="../tags/tag419.xml"/><Relationship Id="rId12" Type="http://schemas.openxmlformats.org/officeDocument/2006/relationships/tags" Target="../tags/tag428.xml"/><Relationship Id="rId17" Type="http://schemas.openxmlformats.org/officeDocument/2006/relationships/tags" Target="../tags/tag433.xml"/><Relationship Id="rId25" Type="http://schemas.openxmlformats.org/officeDocument/2006/relationships/tags" Target="../tags/tag441.xml"/><Relationship Id="rId33" Type="http://schemas.openxmlformats.org/officeDocument/2006/relationships/tags" Target="../tags/tag449.xml"/><Relationship Id="rId38" Type="http://schemas.openxmlformats.org/officeDocument/2006/relationships/notesSlide" Target="../notesSlides/notesSlide4.xml"/><Relationship Id="rId46" Type="http://schemas.openxmlformats.org/officeDocument/2006/relationships/chart" Target="../charts/chart12.xml"/><Relationship Id="rId20" Type="http://schemas.openxmlformats.org/officeDocument/2006/relationships/tags" Target="../tags/tag436.xml"/><Relationship Id="rId41"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南アフリカ共和国</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786290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6" imgW="360" imgH="360" progId="TCLayout.ActiveDocument.1">
                  <p:embed/>
                </p:oleObj>
              </mc:Choice>
              <mc:Fallback>
                <p:oleObj name="think-cellスライド" r:id="rId116" imgW="360" imgH="360" progId="TCLayout.ActiveDocument.1">
                  <p:embed/>
                  <p:pic>
                    <p:nvPicPr>
                      <p:cNvPr id="7" name="Object 6" hidden="1"/>
                      <p:cNvPicPr>
                        <a:picLocks noChangeAspect="1" noChangeArrowheads="1"/>
                      </p:cNvPicPr>
                      <p:nvPr/>
                    </p:nvPicPr>
                    <p:blipFill>
                      <a:blip r:embed="rId1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200471" y="6525344"/>
            <a:ext cx="6516241"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 Google Finance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低下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上昇に転じる見込みである。</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円為替レー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上昇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260927" y="2359665"/>
            <a:ext cx="1152133" cy="4165679"/>
            <a:chOff x="6342490" y="-215875"/>
            <a:chExt cx="1484520"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0" y="3773413"/>
              <a:ext cx="1287481"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82" name="Chart 81">
            <a:extLst>
              <a:ext uri="{FF2B5EF4-FFF2-40B4-BE49-F238E27FC236}">
                <a16:creationId xmlns:a16="http://schemas.microsoft.com/office/drawing/2014/main" id="{147F05AA-85F4-EF4F-0AC3-D9FED21FAEA7}"/>
              </a:ext>
            </a:extLst>
          </p:cNvPr>
          <p:cNvGraphicFramePr/>
          <p:nvPr>
            <p:custDataLst>
              <p:tags r:id="rId3"/>
            </p:custDataLst>
            <p:extLst>
              <p:ext uri="{D42A27DB-BD31-4B8C-83A1-F6EECF244321}">
                <p14:modId xmlns:p14="http://schemas.microsoft.com/office/powerpoint/2010/main" val="1609768929"/>
              </p:ext>
            </p:extLst>
          </p:nvPr>
        </p:nvGraphicFramePr>
        <p:xfrm>
          <a:off x="4884738" y="2266950"/>
          <a:ext cx="4954587" cy="4002088"/>
        </p:xfrm>
        <a:graphic>
          <a:graphicData uri="http://schemas.openxmlformats.org/drawingml/2006/chart">
            <c:chart xmlns:c="http://schemas.openxmlformats.org/drawingml/2006/chart" xmlns:r="http://schemas.openxmlformats.org/officeDocument/2006/relationships" r:id="rId118"/>
          </a:graphicData>
        </a:graphic>
      </p:graphicFrame>
      <p:cxnSp>
        <p:nvCxnSpPr>
          <p:cNvPr id="16" name="Straight Connector 15">
            <a:extLst>
              <a:ext uri="{FF2B5EF4-FFF2-40B4-BE49-F238E27FC236}">
                <a16:creationId xmlns:a16="http://schemas.microsoft.com/office/drawing/2014/main" id="{7C40FBCA-B10E-4D15-060C-CA2F91B16B10}"/>
              </a:ext>
            </a:extLst>
          </p:cNvPr>
          <p:cNvCxnSpPr/>
          <p:nvPr>
            <p:custDataLst>
              <p:tags r:id="rId4"/>
            </p:custDataLst>
          </p:nvPr>
        </p:nvCxnSpPr>
        <p:spPr bwMode="auto">
          <a:xfrm flipV="1">
            <a:off x="5534025" y="4089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E40049C-471C-6AC3-DC83-C104CF62CEF0}"/>
              </a:ext>
            </a:extLst>
          </p:cNvPr>
          <p:cNvCxnSpPr/>
          <p:nvPr>
            <p:custDataLst>
              <p:tags r:id="rId5"/>
            </p:custDataLst>
          </p:nvPr>
        </p:nvCxnSpPr>
        <p:spPr bwMode="auto">
          <a:xfrm flipV="1">
            <a:off x="7272338" y="4545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CB4BCD8-6FB1-37D7-FDF6-ABB5F1CCDAEB}"/>
              </a:ext>
            </a:extLst>
          </p:cNvPr>
          <p:cNvCxnSpPr/>
          <p:nvPr>
            <p:custDataLst>
              <p:tags r:id="rId6"/>
            </p:custDataLst>
          </p:nvPr>
        </p:nvCxnSpPr>
        <p:spPr bwMode="auto">
          <a:xfrm flipH="1" flipV="1">
            <a:off x="5413375" y="3881438"/>
            <a:ext cx="42863"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22CB343C-94A4-847E-D7DD-AE0194EE030E}"/>
              </a:ext>
            </a:extLst>
          </p:cNvPr>
          <p:cNvCxnSpPr/>
          <p:nvPr>
            <p:custDataLst>
              <p:tags r:id="rId7"/>
            </p:custDataLst>
          </p:nvPr>
        </p:nvCxnSpPr>
        <p:spPr bwMode="auto">
          <a:xfrm>
            <a:off x="5667375" y="4246563"/>
            <a:ext cx="14288"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6022DEC-AB72-DD5C-0883-D2AA934EAA65}"/>
              </a:ext>
            </a:extLst>
          </p:cNvPr>
          <p:cNvCxnSpPr/>
          <p:nvPr>
            <p:custDataLst>
              <p:tags r:id="rId8"/>
            </p:custDataLst>
          </p:nvPr>
        </p:nvCxnSpPr>
        <p:spPr bwMode="auto">
          <a:xfrm>
            <a:off x="5881688" y="37623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63C194A-7434-A25D-8F48-EEC3C2185C18}"/>
              </a:ext>
            </a:extLst>
          </p:cNvPr>
          <p:cNvCxnSpPr/>
          <p:nvPr>
            <p:custDataLst>
              <p:tags r:id="rId9"/>
            </p:custDataLst>
          </p:nvPr>
        </p:nvCxnSpPr>
        <p:spPr bwMode="auto">
          <a:xfrm flipV="1">
            <a:off x="6056313" y="3732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4E7CFE8-484E-26F1-EEE7-049DE9F6449C}"/>
              </a:ext>
            </a:extLst>
          </p:cNvPr>
          <p:cNvCxnSpPr/>
          <p:nvPr>
            <p:custDataLst>
              <p:tags r:id="rId10"/>
            </p:custDataLst>
          </p:nvPr>
        </p:nvCxnSpPr>
        <p:spPr bwMode="auto">
          <a:xfrm>
            <a:off x="6229350" y="3484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C5AADF7-532D-339C-1FA4-DA0553D07931}"/>
              </a:ext>
            </a:extLst>
          </p:cNvPr>
          <p:cNvCxnSpPr/>
          <p:nvPr>
            <p:custDataLst>
              <p:tags r:id="rId11"/>
            </p:custDataLst>
          </p:nvPr>
        </p:nvCxnSpPr>
        <p:spPr bwMode="auto">
          <a:xfrm>
            <a:off x="6403975" y="3494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704E2035-C605-20BB-4164-834BB3971EEC}"/>
              </a:ext>
            </a:extLst>
          </p:cNvPr>
          <p:cNvCxnSpPr/>
          <p:nvPr>
            <p:custDataLst>
              <p:tags r:id="rId12"/>
            </p:custDataLst>
          </p:nvPr>
        </p:nvCxnSpPr>
        <p:spPr bwMode="auto">
          <a:xfrm>
            <a:off x="7446963" y="456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2B64D47-1622-3099-57A3-EC87389D9C45}"/>
              </a:ext>
            </a:extLst>
          </p:cNvPr>
          <p:cNvCxnSpPr/>
          <p:nvPr>
            <p:custDataLst>
              <p:tags r:id="rId13"/>
            </p:custDataLst>
          </p:nvPr>
        </p:nvCxnSpPr>
        <p:spPr bwMode="auto">
          <a:xfrm>
            <a:off x="7794625" y="4562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F0BF57F3-0A52-873F-5C3A-9891BD3F5B90}"/>
              </a:ext>
            </a:extLst>
          </p:cNvPr>
          <p:cNvCxnSpPr/>
          <p:nvPr>
            <p:custDataLst>
              <p:tags r:id="rId14"/>
            </p:custDataLst>
          </p:nvPr>
        </p:nvCxnSpPr>
        <p:spPr bwMode="auto">
          <a:xfrm>
            <a:off x="7967663" y="4592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B6F7679-7702-D57C-3FE7-3835EFA65865}"/>
              </a:ext>
            </a:extLst>
          </p:cNvPr>
          <p:cNvCxnSpPr/>
          <p:nvPr>
            <p:custDataLst>
              <p:tags r:id="rId15"/>
            </p:custDataLst>
          </p:nvPr>
        </p:nvCxnSpPr>
        <p:spPr bwMode="auto">
          <a:xfrm>
            <a:off x="8142288" y="4895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D17BE611-82E8-5111-2CD9-C31FAF53965B}"/>
              </a:ext>
            </a:extLst>
          </p:cNvPr>
          <p:cNvCxnSpPr/>
          <p:nvPr>
            <p:custDataLst>
              <p:tags r:id="rId16"/>
            </p:custDataLst>
          </p:nvPr>
        </p:nvCxnSpPr>
        <p:spPr bwMode="auto">
          <a:xfrm flipH="1">
            <a:off x="8342313" y="4706938"/>
            <a:ext cx="26988" cy="714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6A2B584-5210-BD33-A9E6-A4A7DD33C700}"/>
              </a:ext>
            </a:extLst>
          </p:cNvPr>
          <p:cNvCxnSpPr/>
          <p:nvPr>
            <p:custDataLst>
              <p:tags r:id="rId17"/>
            </p:custDataLst>
          </p:nvPr>
        </p:nvCxnSpPr>
        <p:spPr bwMode="auto">
          <a:xfrm flipV="1">
            <a:off x="8489950" y="492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7579BE4-B95D-7EEE-5CE2-D9D2B507D529}"/>
              </a:ext>
            </a:extLst>
          </p:cNvPr>
          <p:cNvCxnSpPr/>
          <p:nvPr>
            <p:custDataLst>
              <p:tags r:id="rId18"/>
            </p:custDataLst>
          </p:nvPr>
        </p:nvCxnSpPr>
        <p:spPr bwMode="auto">
          <a:xfrm>
            <a:off x="9010650" y="4892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A9A8466-05D4-DF8C-61EF-E8E32028FE5C}"/>
              </a:ext>
            </a:extLst>
          </p:cNvPr>
          <p:cNvCxnSpPr/>
          <p:nvPr>
            <p:custDataLst>
              <p:tags r:id="rId19"/>
            </p:custDataLst>
          </p:nvPr>
        </p:nvCxnSpPr>
        <p:spPr bwMode="auto">
          <a:xfrm flipV="1">
            <a:off x="9185275" y="4975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77D06A1-59A7-D9CF-D047-8188FDD95C06}"/>
              </a:ext>
            </a:extLst>
          </p:cNvPr>
          <p:cNvCxnSpPr/>
          <p:nvPr>
            <p:custDataLst>
              <p:tags r:id="rId20"/>
            </p:custDataLst>
          </p:nvPr>
        </p:nvCxnSpPr>
        <p:spPr bwMode="auto">
          <a:xfrm flipV="1">
            <a:off x="9532938" y="4916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A8304910-8A4E-790E-46B2-3FC1C8EB5849}"/>
              </a:ext>
            </a:extLst>
          </p:cNvPr>
          <p:cNvCxnSpPr/>
          <p:nvPr>
            <p:custDataLst>
              <p:tags r:id="rId21"/>
            </p:custDataLst>
          </p:nvPr>
        </p:nvCxnSpPr>
        <p:spPr bwMode="auto">
          <a:xfrm flipV="1">
            <a:off x="9705975" y="4789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FD6154B7-EA4D-55AA-5AA6-634F1C988BB6}"/>
              </a:ext>
            </a:extLst>
          </p:cNvPr>
          <p:cNvCxnSpPr/>
          <p:nvPr>
            <p:custDataLst>
              <p:tags r:id="rId22"/>
            </p:custDataLst>
          </p:nvPr>
        </p:nvCxnSpPr>
        <p:spPr bwMode="auto">
          <a:xfrm>
            <a:off x="8662988" y="4875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50" name="テキスト プレースホルダ 9">
            <a:extLst>
              <a:ext uri="{FF2B5EF4-FFF2-40B4-BE49-F238E27FC236}">
                <a16:creationId xmlns:a16="http://schemas.microsoft.com/office/drawing/2014/main" id="{6FC4B1AF-CC02-472A-97AF-7A52D1CE5990}"/>
              </a:ext>
            </a:extLst>
          </p:cNvPr>
          <p:cNvSpPr>
            <a:spLocks noGrp="1"/>
          </p:cNvSpPr>
          <p:nvPr>
            <p:custDataLst>
              <p:tags r:id="rId23"/>
            </p:custDataLst>
          </p:nvPr>
        </p:nvSpPr>
        <p:spPr bwMode="gray">
          <a:xfrm>
            <a:off x="7132638" y="45672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313EF-1F69-4A9D-AB09-E3B8948FD48E}" type="datetime'''''1''1''''''.''''''''''''''''''''''''''1'''''''''''">
              <a:rPr lang="en-US" altLang="en-US" sz="1000" smtClean="0">
                <a:effectLst/>
                <a:sym typeface="+mn-lt"/>
              </a:rPr>
              <a:pPr marL="0" indent="0" algn="ctr">
                <a:spcBef>
                  <a:spcPct val="0"/>
                </a:spcBef>
                <a:buNone/>
              </a:pPr>
              <a:t>11.1</a:t>
            </a:fld>
            <a:endParaRPr lang="ja-JP" altLang="en-US" sz="1000" dirty="0">
              <a:sym typeface="+mn-lt"/>
            </a:endParaRPr>
          </a:p>
        </p:txBody>
      </p:sp>
      <p:sp>
        <p:nvSpPr>
          <p:cNvPr id="126" name="Text Placeholder 12"/>
          <p:cNvSpPr>
            <a:spLocks noGrp="1"/>
          </p:cNvSpPr>
          <p:nvPr>
            <p:custDataLst>
              <p:tags r:id="rId24"/>
            </p:custDataLst>
          </p:nvPr>
        </p:nvSpPr>
        <p:spPr bwMode="auto">
          <a:xfrm>
            <a:off x="7196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28" name="Text Placeholder 12"/>
          <p:cNvSpPr>
            <a:spLocks noGrp="1"/>
          </p:cNvSpPr>
          <p:nvPr>
            <p:custDataLst>
              <p:tags r:id="rId25"/>
            </p:custDataLst>
          </p:nvPr>
        </p:nvSpPr>
        <p:spPr bwMode="auto">
          <a:xfrm>
            <a:off x="7543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08" name="Text Placeholder 12"/>
          <p:cNvSpPr>
            <a:spLocks noGrp="1"/>
          </p:cNvSpPr>
          <p:nvPr>
            <p:custDataLst>
              <p:tags r:id="rId26"/>
            </p:custDataLst>
          </p:nvPr>
        </p:nvSpPr>
        <p:spPr bwMode="auto">
          <a:xfrm>
            <a:off x="7718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p:nvSpPr>
          <p:cNvPr id="109" name="Text Placeholder 12"/>
          <p:cNvSpPr>
            <a:spLocks noGrp="1"/>
          </p:cNvSpPr>
          <p:nvPr>
            <p:custDataLst>
              <p:tags r:id="rId27"/>
            </p:custDataLst>
          </p:nvPr>
        </p:nvSpPr>
        <p:spPr bwMode="auto">
          <a:xfrm>
            <a:off x="7891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useBgFill="1">
        <p:nvSpPr>
          <p:cNvPr id="131" name="Text Placeholder 12"/>
          <p:cNvSpPr>
            <a:spLocks noGrp="1"/>
          </p:cNvSpPr>
          <p:nvPr>
            <p:custDataLst>
              <p:tags r:id="rId28"/>
            </p:custDataLst>
          </p:nvPr>
        </p:nvSpPr>
        <p:spPr bwMode="gray">
          <a:xfrm>
            <a:off x="8037513" y="47434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1AF33A-883C-481A-B9B8-F34D35F741F1}" type="datetime'''''''''''''7''''''''.''''''''''''''4'''''''''''">
              <a:rPr lang="en-US" altLang="en-US" sz="1000" b="0" smtClean="0">
                <a:effectLst/>
              </a:rPr>
              <a:pPr/>
              <a:t>7.4</a:t>
            </a:fld>
            <a:endParaRPr kumimoji="0" lang="ja-JP" altLang="en-US" sz="1000" b="0" dirty="0">
              <a:sym typeface="+mn-lt"/>
            </a:endParaRPr>
          </a:p>
        </p:txBody>
      </p:sp>
      <p:sp>
        <p:nvSpPr>
          <p:cNvPr id="110" name="Text Placeholder 12"/>
          <p:cNvSpPr>
            <a:spLocks noGrp="1"/>
          </p:cNvSpPr>
          <p:nvPr>
            <p:custDataLst>
              <p:tags r:id="rId29"/>
            </p:custDataLst>
          </p:nvPr>
        </p:nvSpPr>
        <p:spPr bwMode="auto">
          <a:xfrm>
            <a:off x="8066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30"/>
            </p:custDataLst>
          </p:nvPr>
        </p:nvSpPr>
        <p:spPr bwMode="auto">
          <a:xfrm>
            <a:off x="8239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useBgFill="1">
        <p:nvSpPr>
          <p:cNvPr id="143" name="テキスト プレースホルダ 9">
            <a:extLst>
              <a:ext uri="{FF2B5EF4-FFF2-40B4-BE49-F238E27FC236}">
                <a16:creationId xmlns:a16="http://schemas.microsoft.com/office/drawing/2014/main" id="{C3524261-0894-425F-AFF0-EA23B76AB9AA}"/>
              </a:ext>
            </a:extLst>
          </p:cNvPr>
          <p:cNvSpPr>
            <a:spLocks noGrp="1"/>
          </p:cNvSpPr>
          <p:nvPr>
            <p:custDataLst>
              <p:tags r:id="rId31"/>
            </p:custDataLst>
          </p:nvPr>
        </p:nvSpPr>
        <p:spPr bwMode="gray">
          <a:xfrm>
            <a:off x="5741988" y="36099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1E8D35-2D25-4311-9648-0AE34A4C4EE6}" type="datetime'''''''''''''''''1''''''''''''''''''5.''''''''4'''">
              <a:rPr lang="en-US" altLang="en-US" sz="1000" smtClean="0">
                <a:effectLst/>
                <a:sym typeface="+mn-lt"/>
              </a:rPr>
              <a:pPr marL="0" indent="0" algn="ctr">
                <a:spcBef>
                  <a:spcPct val="0"/>
                </a:spcBef>
                <a:buNone/>
              </a:pPr>
              <a:t>15.4</a:t>
            </a:fld>
            <a:endParaRPr lang="ja-JP" altLang="en-US" sz="1000" dirty="0">
              <a:sym typeface="+mn-lt"/>
            </a:endParaRPr>
          </a:p>
        </p:txBody>
      </p:sp>
      <p:sp>
        <p:nvSpPr>
          <p:cNvPr id="113" name="Text Placeholder 12"/>
          <p:cNvSpPr>
            <a:spLocks noGrp="1"/>
          </p:cNvSpPr>
          <p:nvPr>
            <p:custDataLst>
              <p:tags r:id="rId32"/>
            </p:custDataLst>
          </p:nvPr>
        </p:nvSpPr>
        <p:spPr bwMode="auto">
          <a:xfrm>
            <a:off x="8586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33"/>
            </p:custDataLst>
          </p:nvPr>
        </p:nvSpPr>
        <p:spPr bwMode="auto">
          <a:xfrm>
            <a:off x="8761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39" name="Text Placeholder 12"/>
          <p:cNvSpPr>
            <a:spLocks noGrp="1"/>
          </p:cNvSpPr>
          <p:nvPr>
            <p:custDataLst>
              <p:tags r:id="rId34"/>
            </p:custDataLst>
          </p:nvPr>
        </p:nvSpPr>
        <p:spPr bwMode="auto">
          <a:xfrm>
            <a:off x="8934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p:nvSpPr>
          <p:cNvPr id="140" name="Text Placeholder 12"/>
          <p:cNvSpPr>
            <a:spLocks noGrp="1"/>
          </p:cNvSpPr>
          <p:nvPr>
            <p:custDataLst>
              <p:tags r:id="rId35"/>
            </p:custDataLst>
          </p:nvPr>
        </p:nvSpPr>
        <p:spPr bwMode="auto">
          <a:xfrm>
            <a:off x="910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p:nvSpPr>
          <p:cNvPr id="2" name="Text Placeholder 12">
            <a:extLst>
              <a:ext uri="{FF2B5EF4-FFF2-40B4-BE49-F238E27FC236}">
                <a16:creationId xmlns:a16="http://schemas.microsoft.com/office/drawing/2014/main" id="{29289722-E97F-A1F7-BC00-4066A92D94F1}"/>
              </a:ext>
            </a:extLst>
          </p:cNvPr>
          <p:cNvSpPr>
            <a:spLocks noGrp="1"/>
          </p:cNvSpPr>
          <p:nvPr>
            <p:custDataLst>
              <p:tags r:id="rId36"/>
            </p:custDataLst>
          </p:nvPr>
        </p:nvSpPr>
        <p:spPr bwMode="auto">
          <a:xfrm>
            <a:off x="9282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34BFEE-43AC-4D60-A74C-BFD08EC3554C}" type="datetime'''''''''''''2''''''3'''''''''''''''''''''''''''''">
              <a:rPr kumimoji="0" lang="en-US" altLang="en-US" sz="1000" b="0" smtClean="0"/>
              <a:pPr/>
              <a:t>23</a:t>
            </a:fld>
            <a:endParaRPr kumimoji="0" lang="ja-JP" altLang="en-US" sz="1000" b="0" dirty="0">
              <a:sym typeface="+mn-lt"/>
            </a:endParaRPr>
          </a:p>
        </p:txBody>
      </p:sp>
      <p:sp>
        <p:nvSpPr>
          <p:cNvPr id="115" name="Text Placeholder 12"/>
          <p:cNvSpPr>
            <a:spLocks noGrp="1"/>
          </p:cNvSpPr>
          <p:nvPr>
            <p:custDataLst>
              <p:tags r:id="rId37"/>
            </p:custDataLst>
          </p:nvPr>
        </p:nvSpPr>
        <p:spPr bwMode="auto">
          <a:xfrm>
            <a:off x="4987924" y="2162175"/>
            <a:ext cx="592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ランド）</a:t>
            </a:r>
          </a:p>
        </p:txBody>
      </p:sp>
      <p:sp>
        <p:nvSpPr>
          <p:cNvPr id="112" name="Text Placeholder 12"/>
          <p:cNvSpPr>
            <a:spLocks noGrp="1"/>
          </p:cNvSpPr>
          <p:nvPr>
            <p:custDataLst>
              <p:tags r:id="rId38"/>
            </p:custDataLst>
          </p:nvPr>
        </p:nvSpPr>
        <p:spPr bwMode="auto">
          <a:xfrm>
            <a:off x="8413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useBgFill="1">
        <p:nvSpPr>
          <p:cNvPr id="99" name="テキスト プレースホルダ 9">
            <a:extLst>
              <a:ext uri="{FF2B5EF4-FFF2-40B4-BE49-F238E27FC236}">
                <a16:creationId xmlns:a16="http://schemas.microsoft.com/office/drawing/2014/main" id="{C32E3FB8-598F-4AA0-80C1-75DC7CFA80D0}"/>
              </a:ext>
            </a:extLst>
          </p:cNvPr>
          <p:cNvSpPr>
            <a:spLocks noGrp="1"/>
          </p:cNvSpPr>
          <p:nvPr>
            <p:custDataLst>
              <p:tags r:id="rId39"/>
            </p:custDataLst>
          </p:nvPr>
        </p:nvSpPr>
        <p:spPr bwMode="gray">
          <a:xfrm>
            <a:off x="5392738" y="39243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4E42B-364D-454D-B2E5-0129B6140C5C}" type="datetime'''''''''''''''''15''''''''.''''''''''6'''">
              <a:rPr lang="en-US" altLang="en-US" sz="1000" smtClean="0">
                <a:effectLst/>
                <a:sym typeface="+mn-lt"/>
              </a:rPr>
              <a:pPr marL="0" indent="0" algn="ctr">
                <a:spcBef>
                  <a:spcPct val="0"/>
                </a:spcBef>
                <a:buNone/>
              </a:pPr>
              <a:t>15.6</a:t>
            </a:fld>
            <a:endParaRPr lang="ja-JP" altLang="en-US" sz="1000" dirty="0">
              <a:sym typeface="+mn-lt"/>
            </a:endParaRPr>
          </a:p>
        </p:txBody>
      </p:sp>
      <p:sp>
        <p:nvSpPr>
          <p:cNvPr id="107" name="Text Placeholder 12"/>
          <p:cNvSpPr>
            <a:spLocks noGrp="1"/>
          </p:cNvSpPr>
          <p:nvPr>
            <p:custDataLst>
              <p:tags r:id="rId40"/>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03" name="テキスト プレースホルダ 9"/>
          <p:cNvSpPr>
            <a:spLocks noGrp="1"/>
          </p:cNvSpPr>
          <p:nvPr>
            <p:custDataLst>
              <p:tags r:id="rId41"/>
            </p:custDataLst>
          </p:nvPr>
        </p:nvSpPr>
        <p:spPr bwMode="gray">
          <a:xfrm>
            <a:off x="5394325" y="41116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CA3DA9-393A-43E7-8A87-B38A17AFB04E}" type="datetime'''''''''''1''''''4''''''''''''''.''3'''''''''''">
              <a:rPr lang="en-US" altLang="en-US" sz="1000" smtClean="0">
                <a:effectLst/>
              </a:rPr>
              <a:pPr/>
              <a:t>14.3</a:t>
            </a:fld>
            <a:endParaRPr kumimoji="0" lang="ja-JP" altLang="en-US" sz="1000" dirty="0">
              <a:sym typeface="+mn-lt"/>
            </a:endParaRPr>
          </a:p>
        </p:txBody>
      </p:sp>
      <p:sp>
        <p:nvSpPr>
          <p:cNvPr id="116" name="Text Placeholder 12"/>
          <p:cNvSpPr>
            <a:spLocks noGrp="1"/>
          </p:cNvSpPr>
          <p:nvPr>
            <p:custDataLst>
              <p:tags r:id="rId42"/>
            </p:custDataLst>
          </p:nvPr>
        </p:nvSpPr>
        <p:spPr bwMode="auto">
          <a:xfrm>
            <a:off x="5457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useBgFill="1">
        <p:nvSpPr>
          <p:cNvPr id="100" name="テキスト プレースホルダ 9">
            <a:extLst>
              <a:ext uri="{FF2B5EF4-FFF2-40B4-BE49-F238E27FC236}">
                <a16:creationId xmlns:a16="http://schemas.microsoft.com/office/drawing/2014/main" id="{277F00A3-BD83-45EC-B941-2FD1D5334F5A}"/>
              </a:ext>
            </a:extLst>
          </p:cNvPr>
          <p:cNvSpPr>
            <a:spLocks noGrp="1"/>
          </p:cNvSpPr>
          <p:nvPr>
            <p:custDataLst>
              <p:tags r:id="rId43"/>
            </p:custDataLst>
          </p:nvPr>
        </p:nvSpPr>
        <p:spPr bwMode="gray">
          <a:xfrm>
            <a:off x="5495925" y="40941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E2F4C0-068F-4461-AE5F-0C831716E689}" type="datetime'''''''1''''''1''''''''.''''''''''''''''''''''''''''''9'''''''">
              <a:rPr lang="en-US" altLang="en-US" sz="1000" smtClean="0">
                <a:effectLst/>
                <a:sym typeface="+mn-lt"/>
              </a:rPr>
              <a:pPr marL="0" indent="0">
                <a:spcBef>
                  <a:spcPct val="0"/>
                </a:spcBef>
                <a:buNone/>
              </a:pPr>
              <a:t>11.9</a:t>
            </a:fld>
            <a:endParaRPr lang="ja-JP" altLang="en-US" sz="1000" dirty="0">
              <a:sym typeface="+mn-lt"/>
            </a:endParaRPr>
          </a:p>
        </p:txBody>
      </p:sp>
      <p:sp>
        <p:nvSpPr>
          <p:cNvPr id="117" name="Text Placeholder 12"/>
          <p:cNvSpPr>
            <a:spLocks noGrp="1"/>
          </p:cNvSpPr>
          <p:nvPr>
            <p:custDataLst>
              <p:tags r:id="rId44"/>
            </p:custDataLst>
          </p:nvPr>
        </p:nvSpPr>
        <p:spPr bwMode="auto">
          <a:xfrm>
            <a:off x="5632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18" name="Text Placeholder 12"/>
          <p:cNvSpPr>
            <a:spLocks noGrp="1"/>
          </p:cNvSpPr>
          <p:nvPr>
            <p:custDataLst>
              <p:tags r:id="rId45"/>
            </p:custDataLst>
          </p:nvPr>
        </p:nvSpPr>
        <p:spPr bwMode="auto">
          <a:xfrm>
            <a:off x="5805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useBgFill="1">
        <p:nvSpPr>
          <p:cNvPr id="145" name="テキスト プレースホルダ 9">
            <a:extLst>
              <a:ext uri="{FF2B5EF4-FFF2-40B4-BE49-F238E27FC236}">
                <a16:creationId xmlns:a16="http://schemas.microsoft.com/office/drawing/2014/main" id="{2DC09E77-AE94-4169-B483-F8FF03C1B99F}"/>
              </a:ext>
            </a:extLst>
          </p:cNvPr>
          <p:cNvSpPr>
            <a:spLocks noGrp="1"/>
          </p:cNvSpPr>
          <p:nvPr>
            <p:custDataLst>
              <p:tags r:id="rId46"/>
            </p:custDataLst>
          </p:nvPr>
        </p:nvSpPr>
        <p:spPr bwMode="gray">
          <a:xfrm>
            <a:off x="5916613" y="37544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45A634-A7AA-42AB-85AF-F1C3C637DC71}" type="datetime'''''''''''''''''1''''''''''''6.''''''''''''''8'''''''''''">
              <a:rPr lang="en-US" altLang="en-US" sz="1000" smtClean="0">
                <a:effectLst/>
                <a:sym typeface="+mn-lt"/>
              </a:rPr>
              <a:pPr marL="0" indent="0" algn="ctr">
                <a:spcBef>
                  <a:spcPct val="0"/>
                </a:spcBef>
                <a:buNone/>
              </a:pPr>
              <a:t>16.8</a:t>
            </a:fld>
            <a:endParaRPr lang="ja-JP" altLang="en-US" sz="1000" dirty="0">
              <a:sym typeface="+mn-lt"/>
            </a:endParaRPr>
          </a:p>
        </p:txBody>
      </p:sp>
      <p:sp>
        <p:nvSpPr>
          <p:cNvPr id="119" name="Text Placeholder 12"/>
          <p:cNvSpPr>
            <a:spLocks noGrp="1"/>
          </p:cNvSpPr>
          <p:nvPr>
            <p:custDataLst>
              <p:tags r:id="rId47"/>
            </p:custDataLst>
          </p:nvPr>
        </p:nvSpPr>
        <p:spPr bwMode="auto">
          <a:xfrm>
            <a:off x="598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0" name="Text Placeholder 12"/>
          <p:cNvSpPr>
            <a:spLocks noGrp="1"/>
          </p:cNvSpPr>
          <p:nvPr>
            <p:custDataLst>
              <p:tags r:id="rId48"/>
            </p:custDataLst>
          </p:nvPr>
        </p:nvSpPr>
        <p:spPr bwMode="auto">
          <a:xfrm>
            <a:off x="61531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21" name="Text Placeholder 12"/>
          <p:cNvSpPr>
            <a:spLocks noGrp="1"/>
          </p:cNvSpPr>
          <p:nvPr>
            <p:custDataLst>
              <p:tags r:id="rId49"/>
            </p:custDataLst>
          </p:nvPr>
        </p:nvSpPr>
        <p:spPr bwMode="auto">
          <a:xfrm>
            <a:off x="6327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useBgFill="1">
        <p:nvSpPr>
          <p:cNvPr id="146" name="テキスト プレースホルダ 9">
            <a:extLst>
              <a:ext uri="{FF2B5EF4-FFF2-40B4-BE49-F238E27FC236}">
                <a16:creationId xmlns:a16="http://schemas.microsoft.com/office/drawing/2014/main" id="{78B741E8-5BE8-4431-BBB3-0B13C6233C21}"/>
              </a:ext>
            </a:extLst>
          </p:cNvPr>
          <p:cNvSpPr>
            <a:spLocks noGrp="1"/>
          </p:cNvSpPr>
          <p:nvPr>
            <p:custDataLst>
              <p:tags r:id="rId50"/>
            </p:custDataLst>
          </p:nvPr>
        </p:nvSpPr>
        <p:spPr bwMode="gray">
          <a:xfrm>
            <a:off x="6437313" y="37639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D72E7-1F52-4B62-92D0-2F92216ED2B1}" type="datetime'''''''''''''1''''''''''''''6''''''''''''''''''''''.''''7'">
              <a:rPr lang="en-US" altLang="en-US" sz="1000" smtClean="0">
                <a:effectLst/>
                <a:sym typeface="+mn-lt"/>
              </a:rPr>
              <a:pPr marL="0" indent="0" algn="ctr">
                <a:spcBef>
                  <a:spcPct val="0"/>
                </a:spcBef>
                <a:buNone/>
              </a:pPr>
              <a:t>16.7</a:t>
            </a:fld>
            <a:endParaRPr lang="ja-JP" altLang="en-US" sz="1000" dirty="0">
              <a:sym typeface="+mn-lt"/>
            </a:endParaRPr>
          </a:p>
        </p:txBody>
      </p:sp>
      <p:sp>
        <p:nvSpPr>
          <p:cNvPr id="127" name="Text Placeholder 12"/>
          <p:cNvSpPr>
            <a:spLocks noGrp="1"/>
          </p:cNvSpPr>
          <p:nvPr>
            <p:custDataLst>
              <p:tags r:id="rId51"/>
            </p:custDataLst>
          </p:nvPr>
        </p:nvSpPr>
        <p:spPr bwMode="auto">
          <a:xfrm>
            <a:off x="7370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22" name="Text Placeholder 12"/>
          <p:cNvSpPr>
            <a:spLocks noGrp="1"/>
          </p:cNvSpPr>
          <p:nvPr>
            <p:custDataLst>
              <p:tags r:id="rId52"/>
            </p:custDataLst>
          </p:nvPr>
        </p:nvSpPr>
        <p:spPr bwMode="auto">
          <a:xfrm>
            <a:off x="650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A1B40C3B-D725-4816-B0C1-0D5C0811E09E}"/>
              </a:ext>
            </a:extLst>
          </p:cNvPr>
          <p:cNvSpPr>
            <a:spLocks noGrp="1"/>
          </p:cNvSpPr>
          <p:nvPr>
            <p:custDataLst>
              <p:tags r:id="rId53"/>
            </p:custDataLst>
          </p:nvPr>
        </p:nvSpPr>
        <p:spPr bwMode="gray">
          <a:xfrm>
            <a:off x="6611938" y="39862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16B27-0A24-4830-9143-166FE27C7A7A}" type="datetime'''''''''''''1''''2''''''''''''.''''''''''''''''''''7'">
              <a:rPr lang="en-US" altLang="en-US" sz="1000" smtClean="0">
                <a:effectLst/>
                <a:sym typeface="+mn-lt"/>
              </a:rPr>
              <a:pPr marL="0" indent="0" algn="ctr">
                <a:spcBef>
                  <a:spcPct val="0"/>
                </a:spcBef>
                <a:buNone/>
              </a:pPr>
              <a:t>12.7</a:t>
            </a:fld>
            <a:endParaRPr lang="ja-JP" altLang="en-US" sz="1000" dirty="0">
              <a:sym typeface="+mn-lt"/>
            </a:endParaRPr>
          </a:p>
        </p:txBody>
      </p:sp>
      <p:sp>
        <p:nvSpPr>
          <p:cNvPr id="53" name="Text Placeholder 12">
            <a:extLst>
              <a:ext uri="{FF2B5EF4-FFF2-40B4-BE49-F238E27FC236}">
                <a16:creationId xmlns:a16="http://schemas.microsoft.com/office/drawing/2014/main" id="{0E4DBE11-D49E-CF70-34D3-489E75BE59F8}"/>
              </a:ext>
            </a:extLst>
          </p:cNvPr>
          <p:cNvSpPr>
            <a:spLocks noGrp="1"/>
          </p:cNvSpPr>
          <p:nvPr>
            <p:custDataLst>
              <p:tags r:id="rId54"/>
            </p:custDataLst>
          </p:nvPr>
        </p:nvSpPr>
        <p:spPr bwMode="auto">
          <a:xfrm>
            <a:off x="9456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8C196C9-928E-48A4-A522-7056E795ED57}" type="datetime'''''''''2''4'''''''''''''''''''''''''''''''">
              <a:rPr kumimoji="0" lang="en-US" altLang="en-US" sz="1000" b="0" smtClean="0"/>
              <a:pPr/>
              <a:t>24</a:t>
            </a:fld>
            <a:endParaRPr kumimoji="0" lang="ja-JP" altLang="en-US" sz="1000" b="0" dirty="0">
              <a:sym typeface="+mn-lt"/>
            </a:endParaRPr>
          </a:p>
        </p:txBody>
      </p:sp>
      <p:sp>
        <p:nvSpPr>
          <p:cNvPr id="123" name="Text Placeholder 12"/>
          <p:cNvSpPr>
            <a:spLocks noGrp="1"/>
          </p:cNvSpPr>
          <p:nvPr>
            <p:custDataLst>
              <p:tags r:id="rId55"/>
            </p:custDataLst>
          </p:nvPr>
        </p:nvSpPr>
        <p:spPr bwMode="auto">
          <a:xfrm>
            <a:off x="6675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60" name="Text Placeholder 12">
            <a:extLst>
              <a:ext uri="{FF2B5EF4-FFF2-40B4-BE49-F238E27FC236}">
                <a16:creationId xmlns:a16="http://schemas.microsoft.com/office/drawing/2014/main" id="{3312EB38-EB8C-4509-2FC0-C4974E2E5D99}"/>
              </a:ext>
            </a:extLst>
          </p:cNvPr>
          <p:cNvSpPr>
            <a:spLocks noGrp="1"/>
          </p:cNvSpPr>
          <p:nvPr>
            <p:custDataLst>
              <p:tags r:id="rId56"/>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4A96C-4637-4A2A-92FE-53AB6C6F7222}" type="datetime'''''2''''''''''5'''''''''''''''''''''''''''">
              <a:rPr kumimoji="0" lang="en-US" altLang="en-US" sz="1000" b="0" smtClean="0"/>
              <a:pPr/>
              <a:t>25</a:t>
            </a:fld>
            <a:endParaRPr kumimoji="0" lang="ja-JP" altLang="en-US" sz="1000" b="0" dirty="0">
              <a:sym typeface="+mn-lt"/>
            </a:endParaRPr>
          </a:p>
        </p:txBody>
      </p:sp>
      <p:sp>
        <p:nvSpPr>
          <p:cNvPr id="124" name="Text Placeholder 12"/>
          <p:cNvSpPr>
            <a:spLocks noGrp="1"/>
          </p:cNvSpPr>
          <p:nvPr>
            <p:custDataLst>
              <p:tags r:id="rId57"/>
            </p:custDataLst>
          </p:nvPr>
        </p:nvSpPr>
        <p:spPr bwMode="auto">
          <a:xfrm>
            <a:off x="6848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5" name="Text Placeholder 12"/>
          <p:cNvSpPr>
            <a:spLocks noGrp="1"/>
          </p:cNvSpPr>
          <p:nvPr>
            <p:custDataLst>
              <p:tags r:id="rId58"/>
            </p:custDataLst>
          </p:nvPr>
        </p:nvSpPr>
        <p:spPr bwMode="auto">
          <a:xfrm>
            <a:off x="7023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graphicFrame>
        <p:nvGraphicFramePr>
          <p:cNvPr id="149" name="Chart 148">
            <a:extLst>
              <a:ext uri="{FF2B5EF4-FFF2-40B4-BE49-F238E27FC236}">
                <a16:creationId xmlns:a16="http://schemas.microsoft.com/office/drawing/2014/main" id="{A3D244FD-06C6-3AF4-EB2D-B7C7E0DD74E3}"/>
              </a:ext>
            </a:extLst>
          </p:cNvPr>
          <p:cNvGraphicFramePr/>
          <p:nvPr>
            <p:custDataLst>
              <p:tags r:id="rId59"/>
            </p:custDataLst>
            <p:extLst>
              <p:ext uri="{D42A27DB-BD31-4B8C-83A1-F6EECF244321}">
                <p14:modId xmlns:p14="http://schemas.microsoft.com/office/powerpoint/2010/main" val="1207745683"/>
              </p:ext>
            </p:extLst>
          </p:nvPr>
        </p:nvGraphicFramePr>
        <p:xfrm>
          <a:off x="-88900" y="2124075"/>
          <a:ext cx="4959350" cy="4144963"/>
        </p:xfrm>
        <a:graphic>
          <a:graphicData uri="http://schemas.openxmlformats.org/drawingml/2006/chart">
            <c:chart xmlns:c="http://schemas.openxmlformats.org/drawingml/2006/chart" xmlns:r="http://schemas.openxmlformats.org/officeDocument/2006/relationships" r:id="rId119"/>
          </a:graphicData>
        </a:graphic>
      </p:graphicFrame>
      <p:cxnSp>
        <p:nvCxnSpPr>
          <p:cNvPr id="65" name="Straight Connector 64">
            <a:extLst>
              <a:ext uri="{FF2B5EF4-FFF2-40B4-BE49-F238E27FC236}">
                <a16:creationId xmlns:a16="http://schemas.microsoft.com/office/drawing/2014/main" id="{BA991B42-E1AA-22A0-6E78-9B482327B19F}"/>
              </a:ext>
            </a:extLst>
          </p:cNvPr>
          <p:cNvCxnSpPr>
            <a:cxnSpLocks/>
          </p:cNvCxnSpPr>
          <p:nvPr>
            <p:custDataLst>
              <p:tags r:id="rId60"/>
            </p:custDataLst>
          </p:nvPr>
        </p:nvCxnSpPr>
        <p:spPr bwMode="auto">
          <a:xfrm flipV="1">
            <a:off x="2562225" y="4013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0AA36BFA-BFA5-E993-EF02-869D14ACB613}"/>
              </a:ext>
            </a:extLst>
          </p:cNvPr>
          <p:cNvCxnSpPr/>
          <p:nvPr>
            <p:custDataLst>
              <p:tags r:id="rId61"/>
            </p:custDataLst>
          </p:nvPr>
        </p:nvCxnSpPr>
        <p:spPr bwMode="auto">
          <a:xfrm>
            <a:off x="3733800" y="450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BA38457-B3A1-84EE-A371-7DA3E3AD9DC6}"/>
              </a:ext>
            </a:extLst>
          </p:cNvPr>
          <p:cNvCxnSpPr/>
          <p:nvPr>
            <p:custDataLst>
              <p:tags r:id="rId62"/>
            </p:custDataLst>
          </p:nvPr>
        </p:nvCxnSpPr>
        <p:spPr bwMode="auto">
          <a:xfrm>
            <a:off x="2060575" y="425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CD2C51B-D2A0-43D6-7C81-26D361DC21E7}"/>
              </a:ext>
            </a:extLst>
          </p:cNvPr>
          <p:cNvCxnSpPr/>
          <p:nvPr>
            <p:custDataLst>
              <p:tags r:id="rId63"/>
            </p:custDataLst>
          </p:nvPr>
        </p:nvCxnSpPr>
        <p:spPr bwMode="auto">
          <a:xfrm>
            <a:off x="2395538" y="3844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825ED615-F915-2AF1-EBA0-12FD6FDD331B}"/>
              </a:ext>
            </a:extLst>
          </p:cNvPr>
          <p:cNvCxnSpPr/>
          <p:nvPr>
            <p:custDataLst>
              <p:tags r:id="rId64"/>
            </p:custDataLst>
          </p:nvPr>
        </p:nvCxnSpPr>
        <p:spPr bwMode="auto">
          <a:xfrm>
            <a:off x="2227263" y="4037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C217856-564F-E3E5-1524-3038A2D66674}"/>
              </a:ext>
            </a:extLst>
          </p:cNvPr>
          <p:cNvCxnSpPr/>
          <p:nvPr>
            <p:custDataLst>
              <p:tags r:id="rId65"/>
            </p:custDataLst>
          </p:nvPr>
        </p:nvCxnSpPr>
        <p:spPr bwMode="auto">
          <a:xfrm>
            <a:off x="1223963" y="447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6878CCB0-92B0-E5F7-5F12-E89960C18632}"/>
              </a:ext>
            </a:extLst>
          </p:cNvPr>
          <p:cNvCxnSpPr/>
          <p:nvPr>
            <p:custDataLst>
              <p:tags r:id="rId66"/>
            </p:custDataLst>
          </p:nvPr>
        </p:nvCxnSpPr>
        <p:spPr bwMode="auto">
          <a:xfrm>
            <a:off x="3232150" y="3954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1A29C63-5BB7-4230-C296-AB383612AD33}"/>
              </a:ext>
            </a:extLst>
          </p:cNvPr>
          <p:cNvCxnSpPr/>
          <p:nvPr>
            <p:custDataLst>
              <p:tags r:id="rId67"/>
            </p:custDataLst>
          </p:nvPr>
        </p:nvCxnSpPr>
        <p:spPr bwMode="auto">
          <a:xfrm>
            <a:off x="3398838" y="4144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FB8AE0A-FDE2-3D8E-69BC-D980C260B11F}"/>
              </a:ext>
            </a:extLst>
          </p:cNvPr>
          <p:cNvCxnSpPr/>
          <p:nvPr>
            <p:custDataLst>
              <p:tags r:id="rId68"/>
            </p:custDataLst>
          </p:nvPr>
        </p:nvCxnSpPr>
        <p:spPr bwMode="auto">
          <a:xfrm>
            <a:off x="3565525" y="4281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B00D29C8-82A7-2B8F-66A7-0AFC0DEBEADB}"/>
              </a:ext>
            </a:extLst>
          </p:cNvPr>
          <p:cNvCxnSpPr/>
          <p:nvPr>
            <p:custDataLst>
              <p:tags r:id="rId69"/>
            </p:custDataLst>
          </p:nvPr>
        </p:nvCxnSpPr>
        <p:spPr bwMode="auto">
          <a:xfrm>
            <a:off x="4235450" y="3790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CCDDEECD-D0E4-E88C-BB61-5CD612566D50}"/>
              </a:ext>
            </a:extLst>
          </p:cNvPr>
          <p:cNvCxnSpPr/>
          <p:nvPr>
            <p:custDataLst>
              <p:tags r:id="rId70"/>
            </p:custDataLst>
          </p:nvPr>
        </p:nvCxnSpPr>
        <p:spPr bwMode="auto">
          <a:xfrm>
            <a:off x="4570413" y="447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 name="Text Placeholder 12">
            <a:extLst>
              <a:ext uri="{FF2B5EF4-FFF2-40B4-BE49-F238E27FC236}">
                <a16:creationId xmlns:a16="http://schemas.microsoft.com/office/drawing/2014/main" id="{F58150C8-FE5B-4577-3824-A4EAE6D5F2AF}"/>
              </a:ext>
            </a:extLst>
          </p:cNvPr>
          <p:cNvSpPr>
            <a:spLocks noGrp="1"/>
          </p:cNvSpPr>
          <p:nvPr>
            <p:custDataLst>
              <p:tags r:id="rId71"/>
            </p:custDataLst>
          </p:nvPr>
        </p:nvSpPr>
        <p:spPr bwMode="gray">
          <a:xfrm>
            <a:off x="784225" y="36385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4F0691-CEF0-4CC4-8B7B-C3864ACE3A0C}" type="datetime'''''''''''''''''''''''''''''''''''5''.''''9'''''''''">
              <a:rPr lang="en-US" altLang="en-US" sz="1000" b="0" smtClean="0"/>
              <a:pPr/>
              <a:t>5.9</a:t>
            </a:fld>
            <a:endParaRPr kumimoji="0" lang="ja-JP" altLang="en-US" sz="800" b="0" dirty="0">
              <a:sym typeface="+mn-lt"/>
            </a:endParaRPr>
          </a:p>
        </p:txBody>
      </p:sp>
      <p:sp useBgFill="1">
        <p:nvSpPr>
          <p:cNvPr id="13" name="テキスト プレースホルダ 9">
            <a:extLst>
              <a:ext uri="{FF2B5EF4-FFF2-40B4-BE49-F238E27FC236}">
                <a16:creationId xmlns:a16="http://schemas.microsoft.com/office/drawing/2014/main" id="{50F6AFDA-2DAA-9B24-9277-0C7F6B70348E}"/>
              </a:ext>
            </a:extLst>
          </p:cNvPr>
          <p:cNvSpPr>
            <a:spLocks noGrp="1"/>
          </p:cNvSpPr>
          <p:nvPr>
            <p:custDataLst>
              <p:tags r:id="rId72"/>
            </p:custDataLst>
          </p:nvPr>
        </p:nvSpPr>
        <p:spPr bwMode="gray">
          <a:xfrm>
            <a:off x="952500" y="48672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3EB1A3-6106-4B8B-8B7C-92694A35374C}" type="datetime'1''''''''''''''''''''''''''''''''.''''''''''4'''''''''''''''">
              <a:rPr lang="en-US" altLang="en-US" sz="1000" smtClean="0"/>
              <a:pPr marL="0" indent="0" algn="ctr">
                <a:spcBef>
                  <a:spcPct val="0"/>
                </a:spcBef>
                <a:buNone/>
              </a:pPr>
              <a:t>1.4</a:t>
            </a:fld>
            <a:endParaRPr lang="ja-JP" altLang="en-US" sz="800" dirty="0">
              <a:sym typeface="+mn-lt"/>
            </a:endParaRPr>
          </a:p>
        </p:txBody>
      </p:sp>
      <p:sp>
        <p:nvSpPr>
          <p:cNvPr id="88" name="テキスト プレースホルダ 9">
            <a:extLst>
              <a:ext uri="{FF2B5EF4-FFF2-40B4-BE49-F238E27FC236}">
                <a16:creationId xmlns:a16="http://schemas.microsoft.com/office/drawing/2014/main" id="{CD8DFECB-6CA1-91ED-C574-00FB422420D8}"/>
              </a:ext>
            </a:extLst>
          </p:cNvPr>
          <p:cNvSpPr>
            <a:spLocks/>
          </p:cNvSpPr>
          <p:nvPr>
            <p:custDataLst>
              <p:tags r:id="rId73"/>
            </p:custDataLst>
          </p:nvPr>
        </p:nvSpPr>
        <p:spPr bwMode="auto">
          <a:xfrm>
            <a:off x="981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998590-5A17-4B20-8518-4C2BEFC22FB4}"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23" name="Text Placeholder 12">
            <a:extLst>
              <a:ext uri="{FF2B5EF4-FFF2-40B4-BE49-F238E27FC236}">
                <a16:creationId xmlns:a16="http://schemas.microsoft.com/office/drawing/2014/main" id="{7548BF85-664D-B36D-2814-EEB23F9D4144}"/>
              </a:ext>
            </a:extLst>
          </p:cNvPr>
          <p:cNvSpPr>
            <a:spLocks noGrp="1"/>
          </p:cNvSpPr>
          <p:nvPr>
            <p:custDataLst>
              <p:tags r:id="rId74"/>
            </p:custDataLst>
          </p:nvPr>
        </p:nvSpPr>
        <p:spPr bwMode="gray">
          <a:xfrm>
            <a:off x="1119188" y="43211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3EEDDBE-EA6B-42CA-A9E8-11B58A49CA3A}" type="datetime'''''''''''''3.''''''''''''''''''''4'''''''''''''''">
              <a:rPr lang="en-US" altLang="en-US" sz="1000" b="0" smtClean="0"/>
              <a:pPr/>
              <a:t>3.4</a:t>
            </a:fld>
            <a:endParaRPr kumimoji="0" lang="ja-JP" altLang="en-US" sz="800" b="0" dirty="0">
              <a:sym typeface="+mn-lt"/>
            </a:endParaRPr>
          </a:p>
        </p:txBody>
      </p:sp>
      <p:sp>
        <p:nvSpPr>
          <p:cNvPr id="89" name="テキスト プレースホルダ 9">
            <a:extLst>
              <a:ext uri="{FF2B5EF4-FFF2-40B4-BE49-F238E27FC236}">
                <a16:creationId xmlns:a16="http://schemas.microsoft.com/office/drawing/2014/main" id="{E71DBC90-07A7-8969-7922-DB26A4D883DF}"/>
              </a:ext>
            </a:extLst>
          </p:cNvPr>
          <p:cNvSpPr>
            <a:spLocks/>
          </p:cNvSpPr>
          <p:nvPr>
            <p:custDataLst>
              <p:tags r:id="rId75"/>
            </p:custDataLst>
          </p:nvPr>
        </p:nvSpPr>
        <p:spPr bwMode="auto">
          <a:xfrm>
            <a:off x="1147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4DDF6-5FF3-42A6-9B60-9AA773FE7C00}"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34" name="Text Placeholder 12">
            <a:extLst>
              <a:ext uri="{FF2B5EF4-FFF2-40B4-BE49-F238E27FC236}">
                <a16:creationId xmlns:a16="http://schemas.microsoft.com/office/drawing/2014/main" id="{2C8BA264-6908-7BAD-176B-7803D31754F2}"/>
              </a:ext>
            </a:extLst>
          </p:cNvPr>
          <p:cNvSpPr>
            <a:spLocks noGrp="1"/>
          </p:cNvSpPr>
          <p:nvPr>
            <p:custDataLst>
              <p:tags r:id="rId76"/>
            </p:custDataLst>
          </p:nvPr>
        </p:nvSpPr>
        <p:spPr bwMode="gray">
          <a:xfrm>
            <a:off x="1285875" y="39655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C3126A-5A18-4D6B-A5FA-4971D57AD591}" type="datetime'''''''''''''''''''''''''''''''''''''''''''''''''4''''''''.7'">
              <a:rPr lang="en-US" altLang="en-US" sz="1000" b="0" smtClean="0"/>
              <a:pPr/>
              <a:t>4.7</a:t>
            </a:fld>
            <a:endParaRPr kumimoji="0" lang="ja-JP" altLang="en-US" sz="800" b="0" dirty="0">
              <a:sym typeface="+mn-lt"/>
            </a:endParaRPr>
          </a:p>
        </p:txBody>
      </p:sp>
      <p:sp>
        <p:nvSpPr>
          <p:cNvPr id="90" name="テキスト プレースホルダ 9">
            <a:extLst>
              <a:ext uri="{FF2B5EF4-FFF2-40B4-BE49-F238E27FC236}">
                <a16:creationId xmlns:a16="http://schemas.microsoft.com/office/drawing/2014/main" id="{E516C90F-741D-3927-3C9A-CAB26F4C6D0C}"/>
              </a:ext>
            </a:extLst>
          </p:cNvPr>
          <p:cNvSpPr>
            <a:spLocks/>
          </p:cNvSpPr>
          <p:nvPr>
            <p:custDataLst>
              <p:tags r:id="rId77"/>
            </p:custDataLst>
          </p:nvPr>
        </p:nvSpPr>
        <p:spPr bwMode="auto">
          <a:xfrm>
            <a:off x="1314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3C72C0-B3B3-4F14-91C6-FE27E7EFCF8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37" name="Text Placeholder 12">
            <a:extLst>
              <a:ext uri="{FF2B5EF4-FFF2-40B4-BE49-F238E27FC236}">
                <a16:creationId xmlns:a16="http://schemas.microsoft.com/office/drawing/2014/main" id="{6DF389DE-88E1-6D33-0E24-C407AE119A82}"/>
              </a:ext>
            </a:extLst>
          </p:cNvPr>
          <p:cNvSpPr>
            <a:spLocks noGrp="1"/>
          </p:cNvSpPr>
          <p:nvPr>
            <p:custDataLst>
              <p:tags r:id="rId78"/>
            </p:custDataLst>
          </p:nvPr>
        </p:nvSpPr>
        <p:spPr bwMode="gray">
          <a:xfrm>
            <a:off x="1454150" y="33099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5B8C08-44AE-48AD-9F22-90F12901BD7F}" type="datetime'''7''.''''''''''''''''''''''''''''''''1'''''''''''''''''''''''">
              <a:rPr lang="en-US" altLang="en-US" sz="1000" b="0" smtClean="0"/>
              <a:pPr/>
              <a:t>7.1</a:t>
            </a:fld>
            <a:endParaRPr kumimoji="0" lang="ja-JP" altLang="en-US" sz="800" b="0" dirty="0">
              <a:sym typeface="+mn-lt"/>
            </a:endParaRPr>
          </a:p>
        </p:txBody>
      </p:sp>
      <p:sp>
        <p:nvSpPr>
          <p:cNvPr id="91" name="テキスト プレースホルダ 9">
            <a:extLst>
              <a:ext uri="{FF2B5EF4-FFF2-40B4-BE49-F238E27FC236}">
                <a16:creationId xmlns:a16="http://schemas.microsoft.com/office/drawing/2014/main" id="{BF51BE58-60D2-42BE-C7AE-A3136561F54B}"/>
              </a:ext>
            </a:extLst>
          </p:cNvPr>
          <p:cNvSpPr>
            <a:spLocks/>
          </p:cNvSpPr>
          <p:nvPr>
            <p:custDataLst>
              <p:tags r:id="rId79"/>
            </p:custDataLst>
          </p:nvPr>
        </p:nvSpPr>
        <p:spPr bwMode="auto">
          <a:xfrm>
            <a:off x="14827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A88909-FD02-4920-9466-1AF99036319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656B9121-94D6-9633-0765-356A3E2DD2DB}"/>
              </a:ext>
            </a:extLst>
          </p:cNvPr>
          <p:cNvSpPr>
            <a:spLocks/>
          </p:cNvSpPr>
          <p:nvPr>
            <p:custDataLst>
              <p:tags r:id="rId80"/>
            </p:custDataLst>
          </p:nvPr>
        </p:nvSpPr>
        <p:spPr bwMode="auto">
          <a:xfrm>
            <a:off x="1649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AD00C-24C2-4EA5-9928-2195AB79CB5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45" name="Text Placeholder 12">
            <a:extLst>
              <a:ext uri="{FF2B5EF4-FFF2-40B4-BE49-F238E27FC236}">
                <a16:creationId xmlns:a16="http://schemas.microsoft.com/office/drawing/2014/main" id="{E3296853-12D6-FFE4-B62F-93F6223EB95E}"/>
              </a:ext>
            </a:extLst>
          </p:cNvPr>
          <p:cNvSpPr>
            <a:spLocks noGrp="1"/>
          </p:cNvSpPr>
          <p:nvPr>
            <p:custDataLst>
              <p:tags r:id="rId81"/>
            </p:custDataLst>
          </p:nvPr>
        </p:nvSpPr>
        <p:spPr bwMode="gray">
          <a:xfrm>
            <a:off x="1787525" y="32829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DD25D48-FD15-4201-BC9B-FB0F1A538579}" type="datetime'''''''''''''''''''''''''''7''.''''''''2'">
              <a:rPr lang="en-US" altLang="en-US" sz="1000" b="0" smtClean="0"/>
              <a:pPr/>
              <a:t>7.2</a:t>
            </a:fld>
            <a:endParaRPr kumimoji="0" lang="ja-JP" altLang="en-US" sz="800" b="0" dirty="0">
              <a:sym typeface="+mn-lt"/>
            </a:endParaRPr>
          </a:p>
        </p:txBody>
      </p:sp>
      <p:sp>
        <p:nvSpPr>
          <p:cNvPr id="93" name="テキスト プレースホルダ 9">
            <a:extLst>
              <a:ext uri="{FF2B5EF4-FFF2-40B4-BE49-F238E27FC236}">
                <a16:creationId xmlns:a16="http://schemas.microsoft.com/office/drawing/2014/main" id="{FB8ABD4B-D2C2-BB7B-82C8-085E3A3891FF}"/>
              </a:ext>
            </a:extLst>
          </p:cNvPr>
          <p:cNvSpPr>
            <a:spLocks/>
          </p:cNvSpPr>
          <p:nvPr>
            <p:custDataLst>
              <p:tags r:id="rId82"/>
            </p:custDataLst>
          </p:nvPr>
        </p:nvSpPr>
        <p:spPr bwMode="auto">
          <a:xfrm>
            <a:off x="18161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7DCE98-3E4D-4C31-8963-16A656656AAD}"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10" name="Text Placeholder 12">
            <a:extLst>
              <a:ext uri="{FF2B5EF4-FFF2-40B4-BE49-F238E27FC236}">
                <a16:creationId xmlns:a16="http://schemas.microsoft.com/office/drawing/2014/main" id="{1D85A5AA-5370-78C8-2721-D8F26CB699DC}"/>
              </a:ext>
            </a:extLst>
          </p:cNvPr>
          <p:cNvSpPr>
            <a:spLocks noGrp="1"/>
          </p:cNvSpPr>
          <p:nvPr>
            <p:custDataLst>
              <p:tags r:id="rId83"/>
            </p:custDataLst>
          </p:nvPr>
        </p:nvSpPr>
        <p:spPr bwMode="gray">
          <a:xfrm>
            <a:off x="1955800" y="41021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12AA9A-80B8-4169-9745-346FA822894D}" type="datetime'''''''''''''''4.''''''''''''2'''''''''''''''''''''''''''''''''">
              <a:rPr lang="en-US" altLang="en-US" sz="1000" b="0" smtClean="0"/>
              <a:pPr/>
              <a:t>4.2</a:t>
            </a:fld>
            <a:endParaRPr kumimoji="0" lang="ja-JP" altLang="en-US" sz="800" b="0" dirty="0">
              <a:sym typeface="+mn-lt"/>
            </a:endParaRPr>
          </a:p>
        </p:txBody>
      </p:sp>
      <p:sp>
        <p:nvSpPr>
          <p:cNvPr id="94" name="テキスト プレースホルダ 9">
            <a:extLst>
              <a:ext uri="{FF2B5EF4-FFF2-40B4-BE49-F238E27FC236}">
                <a16:creationId xmlns:a16="http://schemas.microsoft.com/office/drawing/2014/main" id="{21B7AFB1-9A28-E5EE-C8C4-097D9E65BAE6}"/>
              </a:ext>
            </a:extLst>
          </p:cNvPr>
          <p:cNvSpPr>
            <a:spLocks/>
          </p:cNvSpPr>
          <p:nvPr>
            <p:custDataLst>
              <p:tags r:id="rId84"/>
            </p:custDataLst>
          </p:nvPr>
        </p:nvSpPr>
        <p:spPr bwMode="auto">
          <a:xfrm>
            <a:off x="19843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D11C1-AA95-42F7-B369-C1551CFD7D3C}"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77DBEB39-C780-AA47-5F06-9BCF133EA81B}"/>
              </a:ext>
            </a:extLst>
          </p:cNvPr>
          <p:cNvSpPr>
            <a:spLocks/>
          </p:cNvSpPr>
          <p:nvPr>
            <p:custDataLst>
              <p:tags r:id="rId85"/>
            </p:custDataLst>
          </p:nvPr>
        </p:nvSpPr>
        <p:spPr bwMode="auto">
          <a:xfrm>
            <a:off x="21510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32224E-4276-4C23-9861-7A88BCE141E3}"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E8635374-F14F-A6B3-7692-5029A85B8904}"/>
              </a:ext>
            </a:extLst>
          </p:cNvPr>
          <p:cNvSpPr>
            <a:spLocks/>
          </p:cNvSpPr>
          <p:nvPr>
            <p:custDataLst>
              <p:tags r:id="rId86"/>
            </p:custDataLst>
          </p:nvPr>
        </p:nvSpPr>
        <p:spPr bwMode="auto">
          <a:xfrm>
            <a:off x="2319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62C14-BD44-4A0E-9E0B-08EB555C69BF}"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995CCD3-CE48-DA56-C05F-E105420AE07B}"/>
              </a:ext>
            </a:extLst>
          </p:cNvPr>
          <p:cNvSpPr>
            <a:spLocks/>
          </p:cNvSpPr>
          <p:nvPr>
            <p:custDataLst>
              <p:tags r:id="rId87"/>
            </p:custDataLst>
          </p:nvPr>
        </p:nvSpPr>
        <p:spPr bwMode="auto">
          <a:xfrm>
            <a:off x="812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50D5C2-697D-415E-BBEF-768346235A2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959324A1-A8CB-005F-1C4E-ADDAA29E10EB}"/>
              </a:ext>
            </a:extLst>
          </p:cNvPr>
          <p:cNvSpPr>
            <a:spLocks/>
          </p:cNvSpPr>
          <p:nvPr>
            <p:custDataLst>
              <p:tags r:id="rId88"/>
            </p:custDataLst>
          </p:nvPr>
        </p:nvSpPr>
        <p:spPr bwMode="auto">
          <a:xfrm>
            <a:off x="2652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5FE5D-FBC1-4BDC-A830-3D7A8A73E26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useBgFill="1">
        <p:nvSpPr>
          <p:cNvPr id="51" name="テキスト プレースホルダ 9">
            <a:extLst>
              <a:ext uri="{FF2B5EF4-FFF2-40B4-BE49-F238E27FC236}">
                <a16:creationId xmlns:a16="http://schemas.microsoft.com/office/drawing/2014/main" id="{6107AA06-02ED-D765-78B7-D0E83829BB42}"/>
              </a:ext>
            </a:extLst>
          </p:cNvPr>
          <p:cNvSpPr>
            <a:spLocks noGrp="1"/>
          </p:cNvSpPr>
          <p:nvPr>
            <p:custDataLst>
              <p:tags r:id="rId89"/>
            </p:custDataLst>
          </p:nvPr>
        </p:nvSpPr>
        <p:spPr bwMode="gray">
          <a:xfrm>
            <a:off x="2792413" y="3992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D45650-99DC-4C4B-B16E-2C7C1FC81CF7}" type="datetime'''''''4''''''''''''''''''''.''6'''''''''''''''''''''''''''">
              <a:rPr lang="en-US" altLang="en-US" sz="1000" smtClean="0"/>
              <a:pPr marL="0" indent="0" algn="ctr">
                <a:spcBef>
                  <a:spcPct val="0"/>
                </a:spcBef>
                <a:buNone/>
              </a:pPr>
              <a:t>4.6</a:t>
            </a:fld>
            <a:endParaRPr lang="ja-JP" altLang="en-US" sz="800" dirty="0">
              <a:sym typeface="+mn-lt"/>
            </a:endParaRPr>
          </a:p>
        </p:txBody>
      </p:sp>
      <p:sp>
        <p:nvSpPr>
          <p:cNvPr id="101" name="テキスト プレースホルダ 9">
            <a:extLst>
              <a:ext uri="{FF2B5EF4-FFF2-40B4-BE49-F238E27FC236}">
                <a16:creationId xmlns:a16="http://schemas.microsoft.com/office/drawing/2014/main" id="{FF34AE67-B708-9EC3-727A-698C8B1D27E2}"/>
              </a:ext>
            </a:extLst>
          </p:cNvPr>
          <p:cNvSpPr>
            <a:spLocks/>
          </p:cNvSpPr>
          <p:nvPr>
            <p:custDataLst>
              <p:tags r:id="rId90"/>
            </p:custDataLst>
          </p:nvPr>
        </p:nvSpPr>
        <p:spPr bwMode="auto">
          <a:xfrm>
            <a:off x="28209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2B505E-20A2-41D7-98E4-EEF9BF8E9F4C}"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432B0167-781C-90E1-6922-C7622A548853}"/>
              </a:ext>
            </a:extLst>
          </p:cNvPr>
          <p:cNvSpPr>
            <a:spLocks/>
          </p:cNvSpPr>
          <p:nvPr>
            <p:custDataLst>
              <p:tags r:id="rId91"/>
            </p:custDataLst>
          </p:nvPr>
        </p:nvSpPr>
        <p:spPr bwMode="auto">
          <a:xfrm>
            <a:off x="29876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6887C-833F-400B-AC14-B14EF1501F56}"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35" name="テキスト プレースホルダ 9">
            <a:extLst>
              <a:ext uri="{FF2B5EF4-FFF2-40B4-BE49-F238E27FC236}">
                <a16:creationId xmlns:a16="http://schemas.microsoft.com/office/drawing/2014/main" id="{368AF848-9AC2-7BF2-524C-49A9C8CBD7BA}"/>
              </a:ext>
            </a:extLst>
          </p:cNvPr>
          <p:cNvSpPr>
            <a:spLocks noGrp="1"/>
          </p:cNvSpPr>
          <p:nvPr>
            <p:custDataLst>
              <p:tags r:id="rId92"/>
            </p:custDataLst>
          </p:nvPr>
        </p:nvSpPr>
        <p:spPr bwMode="gray">
          <a:xfrm>
            <a:off x="3127375" y="38020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9C00791-1B1F-4D82-A213-FD056376D3D3}" type="datetime'''''''''''5''''''''.''''3'''''''''''''''''''''''''''''">
              <a:rPr lang="en-US" altLang="en-US" sz="1000" smtClean="0"/>
              <a:pPr marL="0" indent="0" algn="ctr">
                <a:spcBef>
                  <a:spcPct val="0"/>
                </a:spcBef>
                <a:buNone/>
              </a:pPr>
              <a:t>5.3</a:t>
            </a:fld>
            <a:endParaRPr lang="ja-JP" altLang="en-US" sz="800" dirty="0">
              <a:sym typeface="+mn-lt"/>
            </a:endParaRPr>
          </a:p>
        </p:txBody>
      </p:sp>
      <p:sp>
        <p:nvSpPr>
          <p:cNvPr id="11" name="Text Placeholder 12">
            <a:extLst>
              <a:ext uri="{FF2B5EF4-FFF2-40B4-BE49-F238E27FC236}">
                <a16:creationId xmlns:a16="http://schemas.microsoft.com/office/drawing/2014/main" id="{7BB5EF8B-0974-58BC-D129-2F788942C8F4}"/>
              </a:ext>
            </a:extLst>
          </p:cNvPr>
          <p:cNvSpPr>
            <a:spLocks noGrp="1"/>
          </p:cNvSpPr>
          <p:nvPr>
            <p:custDataLst>
              <p:tags r:id="rId93"/>
            </p:custDataLst>
          </p:nvPr>
        </p:nvSpPr>
        <p:spPr bwMode="auto">
          <a:xfrm>
            <a:off x="14289" y="219233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104" name="テキスト プレースホルダ 9">
            <a:extLst>
              <a:ext uri="{FF2B5EF4-FFF2-40B4-BE49-F238E27FC236}">
                <a16:creationId xmlns:a16="http://schemas.microsoft.com/office/drawing/2014/main" id="{644EF0C3-0CA9-8915-0F73-2AAE1E7E4E05}"/>
              </a:ext>
            </a:extLst>
          </p:cNvPr>
          <p:cNvSpPr>
            <a:spLocks/>
          </p:cNvSpPr>
          <p:nvPr>
            <p:custDataLst>
              <p:tags r:id="rId94"/>
            </p:custDataLst>
          </p:nvPr>
        </p:nvSpPr>
        <p:spPr bwMode="auto">
          <a:xfrm>
            <a:off x="3155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922E0C-2424-44C5-B56A-E6C9F97491A2}"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5" name="Text Placeholder 12">
            <a:extLst>
              <a:ext uri="{FF2B5EF4-FFF2-40B4-BE49-F238E27FC236}">
                <a16:creationId xmlns:a16="http://schemas.microsoft.com/office/drawing/2014/main" id="{36F006A3-21D2-FC24-C2DE-FA5B807C77C8}"/>
              </a:ext>
            </a:extLst>
          </p:cNvPr>
          <p:cNvSpPr>
            <a:spLocks noGrp="1"/>
          </p:cNvSpPr>
          <p:nvPr>
            <p:custDataLst>
              <p:tags r:id="rId95"/>
            </p:custDataLst>
          </p:nvPr>
        </p:nvSpPr>
        <p:spPr bwMode="gray">
          <a:xfrm>
            <a:off x="342900" y="4043363"/>
            <a:ext cx="209550" cy="152400"/>
          </a:xfrm>
          <a:prstGeom prst="rect">
            <a:avLst/>
          </a:prstGeom>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7CBC019-FB60-4EED-87AE-D8F5D28E34C6}" type="datetime'''5''''''''''''''''''''''''''''''''''''.''''''''3'''''''''">
              <a:rPr lang="en-US" altLang="en-US" sz="1000" b="0" smtClean="0"/>
              <a:pPr>
                <a:spcBef>
                  <a:spcPct val="0"/>
                </a:spcBef>
                <a:spcAft>
                  <a:spcPct val="0"/>
                </a:spcAft>
              </a:pPr>
              <a:t>5.3</a:t>
            </a:fld>
            <a:endParaRPr kumimoji="0" lang="ja-JP" altLang="en-US" sz="800" b="0" dirty="0">
              <a:sym typeface="+mn-lt"/>
            </a:endParaRPr>
          </a:p>
        </p:txBody>
      </p:sp>
      <p:sp>
        <p:nvSpPr>
          <p:cNvPr id="105" name="テキスト プレースホルダ 9">
            <a:extLst>
              <a:ext uri="{FF2B5EF4-FFF2-40B4-BE49-F238E27FC236}">
                <a16:creationId xmlns:a16="http://schemas.microsoft.com/office/drawing/2014/main" id="{6D74E866-9C63-2B00-A3BA-088B25C5C91C}"/>
              </a:ext>
            </a:extLst>
          </p:cNvPr>
          <p:cNvSpPr>
            <a:spLocks/>
          </p:cNvSpPr>
          <p:nvPr>
            <p:custDataLst>
              <p:tags r:id="rId96"/>
            </p:custDataLst>
          </p:nvPr>
        </p:nvSpPr>
        <p:spPr bwMode="auto">
          <a:xfrm>
            <a:off x="33226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8377C2-117E-4427-9018-5374B0868804}"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2FAC5EDC-7E44-8074-FCD7-F9FAD9C5FEE3}"/>
              </a:ext>
            </a:extLst>
          </p:cNvPr>
          <p:cNvSpPr>
            <a:spLocks/>
          </p:cNvSpPr>
          <p:nvPr>
            <p:custDataLst>
              <p:tags r:id="rId97"/>
            </p:custDataLst>
          </p:nvPr>
        </p:nvSpPr>
        <p:spPr bwMode="auto">
          <a:xfrm>
            <a:off x="241300"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B64577-A2DE-4B45-A187-3E2C5A4C960E}"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71382BE1-A985-5DFE-C402-C848AE379871}"/>
              </a:ext>
            </a:extLst>
          </p:cNvPr>
          <p:cNvSpPr>
            <a:spLocks/>
          </p:cNvSpPr>
          <p:nvPr>
            <p:custDataLst>
              <p:tags r:id="rId98"/>
            </p:custDataLst>
          </p:nvPr>
        </p:nvSpPr>
        <p:spPr bwMode="auto">
          <a:xfrm>
            <a:off x="34893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43B1AF-7A1B-4C1F-B243-AE2ADD88509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39" name="テキスト プレースホルダ 9">
            <a:extLst>
              <a:ext uri="{FF2B5EF4-FFF2-40B4-BE49-F238E27FC236}">
                <a16:creationId xmlns:a16="http://schemas.microsoft.com/office/drawing/2014/main" id="{6457D1FA-5E6E-BAA4-00B0-A5FDCE70B5E3}"/>
              </a:ext>
            </a:extLst>
          </p:cNvPr>
          <p:cNvSpPr>
            <a:spLocks noGrp="1"/>
          </p:cNvSpPr>
          <p:nvPr>
            <p:custDataLst>
              <p:tags r:id="rId99"/>
            </p:custDataLst>
          </p:nvPr>
        </p:nvSpPr>
        <p:spPr bwMode="gray">
          <a:xfrm>
            <a:off x="3629025" y="43481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BDEAB7-E0D8-4D27-9648-620CDB6A0CC5}" type="datetime'''''''''''''''3''''''.''''''''''''''''''''''''''''''''''''3'''">
              <a:rPr lang="en-US" altLang="en-US" sz="1000" smtClean="0"/>
              <a:pPr marL="0" indent="0" algn="ctr">
                <a:spcBef>
                  <a:spcPct val="0"/>
                </a:spcBef>
                <a:buNone/>
              </a:pPr>
              <a:t>3.3</a:t>
            </a:fld>
            <a:endParaRPr lang="ja-JP" altLang="en-US" sz="800" dirty="0">
              <a:sym typeface="+mn-lt"/>
            </a:endParaRPr>
          </a:p>
        </p:txBody>
      </p:sp>
      <p:sp useBgFill="1">
        <p:nvSpPr>
          <p:cNvPr id="14" name="テキスト プレースホルダ 9">
            <a:extLst>
              <a:ext uri="{FF2B5EF4-FFF2-40B4-BE49-F238E27FC236}">
                <a16:creationId xmlns:a16="http://schemas.microsoft.com/office/drawing/2014/main" id="{E2195982-9CB2-30C5-3AFC-DA9E2C453DA5}"/>
              </a:ext>
            </a:extLst>
          </p:cNvPr>
          <p:cNvSpPr>
            <a:spLocks noGrp="1"/>
          </p:cNvSpPr>
          <p:nvPr>
            <p:custDataLst>
              <p:tags r:id="rId100"/>
            </p:custDataLst>
          </p:nvPr>
        </p:nvSpPr>
        <p:spPr bwMode="gray">
          <a:xfrm>
            <a:off x="449263" y="36925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DF5C85-D6F1-4427-AE7F-BEC79445F5F0}" type="datetime'''''''''''''5''''''''''.''''7'''''''''''''''''''''''''">
              <a:rPr lang="en-US" altLang="en-US" sz="1000" smtClean="0"/>
              <a:pPr marL="0" indent="0" algn="ctr">
                <a:spcBef>
                  <a:spcPct val="0"/>
                </a:spcBef>
                <a:buNone/>
              </a:pPr>
              <a:t>5.7</a:t>
            </a:fld>
            <a:endParaRPr lang="ja-JP" altLang="en-US" sz="800" dirty="0">
              <a:sym typeface="+mn-lt"/>
            </a:endParaRPr>
          </a:p>
        </p:txBody>
      </p:sp>
      <p:sp>
        <p:nvSpPr>
          <p:cNvPr id="129" name="テキスト プレースホルダ 9">
            <a:extLst>
              <a:ext uri="{FF2B5EF4-FFF2-40B4-BE49-F238E27FC236}">
                <a16:creationId xmlns:a16="http://schemas.microsoft.com/office/drawing/2014/main" id="{0D5083D9-4D50-A058-D468-134C8E19DD89}"/>
              </a:ext>
            </a:extLst>
          </p:cNvPr>
          <p:cNvSpPr>
            <a:spLocks/>
          </p:cNvSpPr>
          <p:nvPr>
            <p:custDataLst>
              <p:tags r:id="rId101"/>
            </p:custDataLst>
          </p:nvPr>
        </p:nvSpPr>
        <p:spPr bwMode="auto">
          <a:xfrm>
            <a:off x="36576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BB91D-4C1F-463E-9AC8-F51A81694098}"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12" name="テキスト プレースホルダ 9">
            <a:extLst>
              <a:ext uri="{FF2B5EF4-FFF2-40B4-BE49-F238E27FC236}">
                <a16:creationId xmlns:a16="http://schemas.microsoft.com/office/drawing/2014/main" id="{C34A2D6B-22CD-C7E8-5A6C-332C90DD9C26}"/>
              </a:ext>
            </a:extLst>
          </p:cNvPr>
          <p:cNvSpPr>
            <a:spLocks noGrp="1"/>
          </p:cNvSpPr>
          <p:nvPr>
            <p:custDataLst>
              <p:tags r:id="rId102"/>
            </p:custDataLst>
          </p:nvPr>
        </p:nvSpPr>
        <p:spPr bwMode="gray">
          <a:xfrm>
            <a:off x="3795713" y="3992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FDC7EA-62D8-4273-BDDE-84B81D3F7B81}" type="datetime'''''''''''''''''''''4''.''''''''''''''''''''''''''''6'">
              <a:rPr lang="en-US" altLang="en-US" sz="1000" smtClean="0"/>
              <a:pPr marL="0" indent="0" algn="ctr">
                <a:spcBef>
                  <a:spcPct val="0"/>
                </a:spcBef>
                <a:buNone/>
              </a:pPr>
              <a:t>4.6</a:t>
            </a:fld>
            <a:endParaRPr lang="ja-JP" altLang="en-US" sz="800" dirty="0">
              <a:sym typeface="+mn-lt"/>
            </a:endParaRPr>
          </a:p>
        </p:txBody>
      </p:sp>
      <p:sp>
        <p:nvSpPr>
          <p:cNvPr id="130" name="テキスト プレースホルダ 9">
            <a:extLst>
              <a:ext uri="{FF2B5EF4-FFF2-40B4-BE49-F238E27FC236}">
                <a16:creationId xmlns:a16="http://schemas.microsoft.com/office/drawing/2014/main" id="{D4C79665-42B7-250F-4BCD-13C77C80CCC7}"/>
              </a:ext>
            </a:extLst>
          </p:cNvPr>
          <p:cNvSpPr>
            <a:spLocks/>
          </p:cNvSpPr>
          <p:nvPr>
            <p:custDataLst>
              <p:tags r:id="rId103"/>
            </p:custDataLst>
          </p:nvPr>
        </p:nvSpPr>
        <p:spPr bwMode="auto">
          <a:xfrm>
            <a:off x="3824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B943CF-E7B1-4C45-A4A8-827E8F63DCB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F20D7AD2-375D-B449-F6DC-42C019617385}"/>
              </a:ext>
            </a:extLst>
          </p:cNvPr>
          <p:cNvSpPr>
            <a:spLocks/>
          </p:cNvSpPr>
          <p:nvPr>
            <p:custDataLst>
              <p:tags r:id="rId104"/>
            </p:custDataLst>
          </p:nvPr>
        </p:nvSpPr>
        <p:spPr bwMode="auto">
          <a:xfrm>
            <a:off x="3990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BF5A6D-1354-4EB9-AF87-07F27FE29F77}"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57" name="テキスト プレースホルダ 9">
            <a:extLst>
              <a:ext uri="{FF2B5EF4-FFF2-40B4-BE49-F238E27FC236}">
                <a16:creationId xmlns:a16="http://schemas.microsoft.com/office/drawing/2014/main" id="{1681DFAE-26A4-41AD-286D-6B4A6FA6A2CE}"/>
              </a:ext>
            </a:extLst>
          </p:cNvPr>
          <p:cNvSpPr>
            <a:spLocks noGrp="1"/>
          </p:cNvSpPr>
          <p:nvPr>
            <p:custDataLst>
              <p:tags r:id="rId105"/>
            </p:custDataLst>
          </p:nvPr>
        </p:nvSpPr>
        <p:spPr bwMode="gray">
          <a:xfrm>
            <a:off x="4130675" y="36385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4805006-5DFF-41B6-BE54-A29C2205CC05}" type="datetime'''''''''''''''''''''''''''5''''''''''.9'''''''''''">
              <a:rPr lang="en-US" altLang="en-US" sz="1000" smtClean="0">
                <a:effectLst/>
              </a:rPr>
              <a:pPr/>
              <a:t>5.9</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B6B31F63-464A-D2BD-40ED-6D65EFF4C989}"/>
              </a:ext>
            </a:extLst>
          </p:cNvPr>
          <p:cNvSpPr>
            <a:spLocks/>
          </p:cNvSpPr>
          <p:nvPr>
            <p:custDataLst>
              <p:tags r:id="rId106"/>
            </p:custDataLst>
          </p:nvPr>
        </p:nvSpPr>
        <p:spPr bwMode="auto">
          <a:xfrm>
            <a:off x="4778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EAC74E-0DA8-4413-A482-FDB7EB0926A6}"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B6CF6BBC-3D8D-2FE9-E362-77A6ED64FE9B}"/>
              </a:ext>
            </a:extLst>
          </p:cNvPr>
          <p:cNvSpPr>
            <a:spLocks/>
          </p:cNvSpPr>
          <p:nvPr>
            <p:custDataLst>
              <p:tags r:id="rId107"/>
            </p:custDataLst>
          </p:nvPr>
        </p:nvSpPr>
        <p:spPr bwMode="auto">
          <a:xfrm>
            <a:off x="2486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35FE7-5FCE-479C-BAA9-2FB40BD03D15}"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useBgFill="1">
        <p:nvSpPr>
          <p:cNvPr id="75" name="テキスト プレースホルダ 9">
            <a:extLst>
              <a:ext uri="{FF2B5EF4-FFF2-40B4-BE49-F238E27FC236}">
                <a16:creationId xmlns:a16="http://schemas.microsoft.com/office/drawing/2014/main" id="{2DCC9986-EBF4-1E03-F386-6B59B199A573}"/>
              </a:ext>
            </a:extLst>
          </p:cNvPr>
          <p:cNvSpPr>
            <a:spLocks/>
          </p:cNvSpPr>
          <p:nvPr>
            <p:custDataLst>
              <p:tags r:id="rId108"/>
            </p:custDataLst>
          </p:nvPr>
        </p:nvSpPr>
        <p:spPr bwMode="gray">
          <a:xfrm>
            <a:off x="4297363" y="4048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7EEA0-56FD-4361-B561-AF4453E420A3}" type="datetime'''4''''''''''''''''''''''''''''.''''''''4'''''''''">
              <a:rPr lang="en-US" altLang="en-US" sz="1000" smtClean="0">
                <a:effectLst/>
                <a:sym typeface="+mn-lt"/>
              </a:rPr>
              <a:pPr marL="0" lvl="0" indent="0" algn="ctr">
                <a:spcBef>
                  <a:spcPct val="0"/>
                </a:spcBef>
                <a:buNone/>
              </a:pPr>
              <a:t>4.4</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A108F7C4-00C4-009F-847B-E8093BE21130}"/>
              </a:ext>
            </a:extLst>
          </p:cNvPr>
          <p:cNvSpPr>
            <a:spLocks/>
          </p:cNvSpPr>
          <p:nvPr>
            <p:custDataLst>
              <p:tags r:id="rId109"/>
            </p:custDataLst>
          </p:nvPr>
        </p:nvSpPr>
        <p:spPr bwMode="auto">
          <a:xfrm>
            <a:off x="43259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ABBCC8-8AAC-48D4-B60B-464FAAE1264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76" name="テキスト プレースホルダ 9">
            <a:extLst>
              <a:ext uri="{FF2B5EF4-FFF2-40B4-BE49-F238E27FC236}">
                <a16:creationId xmlns:a16="http://schemas.microsoft.com/office/drawing/2014/main" id="{0BADEFD9-67E7-26FE-DE55-7169FF3C8018}"/>
              </a:ext>
            </a:extLst>
          </p:cNvPr>
          <p:cNvSpPr>
            <a:spLocks/>
          </p:cNvSpPr>
          <p:nvPr>
            <p:custDataLst>
              <p:tags r:id="rId110"/>
            </p:custDataLst>
          </p:nvPr>
        </p:nvSpPr>
        <p:spPr bwMode="gray">
          <a:xfrm>
            <a:off x="4465638" y="43211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BD2A1F-F0FB-4368-8443-E4B9C699B9BF}"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E1DE36A-613E-0740-ECBF-C8FE68A6948D}"/>
              </a:ext>
            </a:extLst>
          </p:cNvPr>
          <p:cNvSpPr>
            <a:spLocks/>
          </p:cNvSpPr>
          <p:nvPr>
            <p:custDataLst>
              <p:tags r:id="rId111"/>
            </p:custDataLst>
          </p:nvPr>
        </p:nvSpPr>
        <p:spPr bwMode="auto">
          <a:xfrm>
            <a:off x="646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5DB1C1-A364-474D-AF89-CD7632DE465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C5491919-59CD-CB01-0A20-03B1B208DF03}"/>
              </a:ext>
            </a:extLst>
          </p:cNvPr>
          <p:cNvSpPr>
            <a:spLocks/>
          </p:cNvSpPr>
          <p:nvPr>
            <p:custDataLst>
              <p:tags r:id="rId112"/>
            </p:custDataLst>
          </p:nvPr>
        </p:nvSpPr>
        <p:spPr bwMode="auto">
          <a:xfrm>
            <a:off x="44942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5D6244-5D41-4DEA-A16B-A9EB08C3EF94}"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9353EDD5-F9C1-A90B-7AB7-D550957AE1C2}"/>
              </a:ext>
            </a:extLst>
          </p:cNvPr>
          <p:cNvSpPr>
            <a:spLocks/>
          </p:cNvSpPr>
          <p:nvPr>
            <p:custDataLst>
              <p:tags r:id="rId113"/>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9430BE-9A4A-4D7A-A9BF-A1EB080DBBC1}"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F84EB54C-B9EF-E778-E5FF-30D39E271401}"/>
              </a:ext>
            </a:extLst>
          </p:cNvPr>
          <p:cNvSpPr>
            <a:spLocks/>
          </p:cNvSpPr>
          <p:nvPr>
            <p:custDataLst>
              <p:tags r:id="rId114"/>
            </p:custDataLst>
          </p:nvPr>
        </p:nvSpPr>
        <p:spPr bwMode="auto">
          <a:xfrm>
            <a:off x="41592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89C36-CD06-46E6-92C8-D8107D4B85AA}"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Tree>
    <p:extLst>
      <p:ext uri="{BB962C8B-B14F-4D97-AF65-F5344CB8AC3E}">
        <p14:creationId xmlns:p14="http://schemas.microsoft.com/office/powerpoint/2010/main" val="2205826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DA4179-5295-436E-816C-7A373D6A2E32}"/>
              </a:ext>
            </a:extLst>
          </p:cNvPr>
          <p:cNvGraphicFramePr>
            <a:graphicFrameLocks noChangeAspect="1"/>
          </p:cNvGraphicFramePr>
          <p:nvPr>
            <p:custDataLst>
              <p:tags r:id="rId1"/>
            </p:custDataLst>
            <p:extLst>
              <p:ext uri="{D42A27DB-BD31-4B8C-83A1-F6EECF244321}">
                <p14:modId xmlns:p14="http://schemas.microsoft.com/office/powerpoint/2010/main" val="330934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ADA4179-5295-436E-816C-7A373D6A2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080746758"/>
              </p:ext>
            </p:extLst>
          </p:nvPr>
        </p:nvGraphicFramePr>
        <p:xfrm>
          <a:off x="200025" y="1930032"/>
          <a:ext cx="9217023" cy="4523303"/>
        </p:xfrm>
        <a:graphic>
          <a:graphicData uri="http://schemas.openxmlformats.org/drawingml/2006/table">
            <a:tbl>
              <a:tblPr firstRow="1" bandRow="1">
                <a:tableStyleId>{5C22544A-7EE6-4342-B048-85BDC9FD1C3A}</a:tableStyleId>
              </a:tblPr>
              <a:tblGrid>
                <a:gridCol w="1187041">
                  <a:extLst>
                    <a:ext uri="{9D8B030D-6E8A-4147-A177-3AD203B41FA5}">
                      <a16:colId xmlns:a16="http://schemas.microsoft.com/office/drawing/2014/main" val="20000"/>
                    </a:ext>
                  </a:extLst>
                </a:gridCol>
                <a:gridCol w="8029982">
                  <a:extLst>
                    <a:ext uri="{9D8B030D-6E8A-4147-A177-3AD203B41FA5}">
                      <a16:colId xmlns:a16="http://schemas.microsoft.com/office/drawing/2014/main" val="20001"/>
                    </a:ext>
                  </a:extLst>
                </a:gridCol>
              </a:tblGrid>
              <a:tr h="1614154">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100" b="0" dirty="0">
                          <a:solidFill>
                            <a:srgbClr val="000000"/>
                          </a:solidFill>
                          <a:ea typeface="ＭＳ Ｐゴシック" charset="-128"/>
                          <a:cs typeface="Arial" pitchFamily="34" charset="0"/>
                        </a:rPr>
                        <a:t>一部の業種については、規制官庁による許可および外資出資比率の上限が定められている</a:t>
                      </a:r>
                      <a:endParaRPr lang="en-US" altLang="ja-JP" sz="1100" b="0"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外資による銀行・保険などの金融業への投資には、政府の認可が必要。また外国人による新設銀行の株式保有は、</a:t>
                      </a:r>
                      <a:r>
                        <a:rPr kumimoji="1" lang="en-US" altLang="ja-JP" sz="1100" b="0" kern="1200" dirty="0">
                          <a:solidFill>
                            <a:srgbClr val="000000"/>
                          </a:solidFill>
                          <a:latin typeface="+mn-lt"/>
                          <a:ea typeface="ＭＳ Ｐゴシック" charset="-128"/>
                          <a:cs typeface="Arial" pitchFamily="34" charset="0"/>
                        </a:rPr>
                        <a:t>15</a:t>
                      </a:r>
                      <a:r>
                        <a:rPr kumimoji="1" lang="ja-JP" altLang="en-US" sz="1100" b="0" kern="1200" dirty="0">
                          <a:solidFill>
                            <a:srgbClr val="000000"/>
                          </a:solidFill>
                          <a:latin typeface="+mn-lt"/>
                          <a:ea typeface="ＭＳ Ｐゴシック" charset="-128"/>
                          <a:cs typeface="Arial" pitchFamily="34" charset="0"/>
                        </a:rPr>
                        <a:t>％に制限されてい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通信事業への投資は、南アフリカ独立通信庁（</a:t>
                      </a:r>
                      <a:r>
                        <a:rPr kumimoji="1" lang="en-US" altLang="ja-JP" sz="1100" b="0" kern="1200" dirty="0">
                          <a:solidFill>
                            <a:srgbClr val="000000"/>
                          </a:solidFill>
                          <a:latin typeface="+mn-lt"/>
                          <a:ea typeface="ＭＳ Ｐゴシック" charset="-128"/>
                          <a:cs typeface="Arial" pitchFamily="34" charset="0"/>
                        </a:rPr>
                        <a:t>Independent Communications Authority of South Africa</a:t>
                      </a:r>
                      <a:r>
                        <a:rPr kumimoji="1" lang="ja-JP" altLang="en-US" sz="1100" b="0" kern="1200" dirty="0">
                          <a:solidFill>
                            <a:srgbClr val="000000"/>
                          </a:solidFill>
                          <a:latin typeface="+mn-lt"/>
                          <a:ea typeface="ＭＳ Ｐゴシック" charset="-128"/>
                          <a:cs typeface="Arial" pitchFamily="34" charset="0"/>
                        </a:rPr>
                        <a:t>：</a:t>
                      </a:r>
                      <a:r>
                        <a:rPr kumimoji="1" lang="en-US" altLang="ja-JP" sz="1100" b="0" kern="1200" dirty="0">
                          <a:solidFill>
                            <a:srgbClr val="000000"/>
                          </a:solidFill>
                          <a:latin typeface="+mn-lt"/>
                          <a:ea typeface="ＭＳ Ｐゴシック" charset="-128"/>
                          <a:cs typeface="Arial" pitchFamily="34" charset="0"/>
                        </a:rPr>
                        <a:t>ICASA</a:t>
                      </a:r>
                      <a:r>
                        <a:rPr kumimoji="1" lang="ja-JP" altLang="en-US" sz="1100" b="0" kern="1200" dirty="0">
                          <a:solidFill>
                            <a:srgbClr val="000000"/>
                          </a:solidFill>
                          <a:latin typeface="+mn-lt"/>
                          <a:ea typeface="ＭＳ Ｐゴシック" charset="-128"/>
                          <a:cs typeface="Arial" pitchFamily="34" charset="0"/>
                        </a:rPr>
                        <a:t>）の認可が必要。</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メディア業への外資出資比率の上限は</a:t>
                      </a:r>
                      <a:r>
                        <a:rPr kumimoji="1" lang="en-US" altLang="ja-JP" sz="1100" b="0" kern="1200" dirty="0">
                          <a:solidFill>
                            <a:srgbClr val="000000"/>
                          </a:solidFill>
                          <a:latin typeface="+mn-lt"/>
                          <a:ea typeface="ＭＳ Ｐゴシック" charset="-128"/>
                          <a:cs typeface="Arial" pitchFamily="34" charset="0"/>
                        </a:rPr>
                        <a:t>20%</a:t>
                      </a:r>
                      <a:r>
                        <a:rPr kumimoji="1" lang="ja-JP" altLang="en-US" sz="1100" b="0" kern="1200" dirty="0">
                          <a:solidFill>
                            <a:srgbClr val="000000"/>
                          </a:solidFill>
                          <a:latin typeface="+mn-lt"/>
                          <a:ea typeface="ＭＳ Ｐゴシック" charset="-128"/>
                          <a:cs typeface="Arial" pitchFamily="34" charset="0"/>
                        </a:rPr>
                        <a:t>と定められている</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鉱業については、鉱物資源省（</a:t>
                      </a:r>
                      <a:r>
                        <a:rPr kumimoji="1" lang="en-US" altLang="ja-JP" sz="1100" b="0" kern="1200" dirty="0">
                          <a:solidFill>
                            <a:srgbClr val="000000"/>
                          </a:solidFill>
                          <a:latin typeface="+mn-lt"/>
                          <a:ea typeface="ＭＳ Ｐゴシック" charset="-128"/>
                          <a:cs typeface="Arial" pitchFamily="34" charset="0"/>
                        </a:rPr>
                        <a:t>Department of Mineral Resources</a:t>
                      </a:r>
                      <a:r>
                        <a:rPr kumimoji="1" lang="ja-JP" altLang="en-US" sz="1100" b="0" kern="1200" dirty="0">
                          <a:solidFill>
                            <a:srgbClr val="000000"/>
                          </a:solidFill>
                          <a:latin typeface="+mn-lt"/>
                          <a:ea typeface="ＭＳ Ｐゴシック" charset="-128"/>
                          <a:cs typeface="Arial" pitchFamily="34" charset="0"/>
                        </a:rPr>
                        <a:t>）の認可が必要。</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91643">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一部の業種を除き、合弁企業設立時の出資比率に関する規制はない。</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主な例外は鉱業で、全ての鉱業関連企業は、黒人資本参加比率（黒人女性を含む、直接保有比率）を</a:t>
                      </a:r>
                      <a:r>
                        <a:rPr kumimoji="1" lang="en-US" altLang="ja-JP" sz="1100" b="0" kern="1200" dirty="0">
                          <a:solidFill>
                            <a:srgbClr val="000000"/>
                          </a:solidFill>
                          <a:latin typeface="+mn-lt"/>
                          <a:ea typeface="ＭＳ Ｐゴシック" charset="-128"/>
                          <a:cs typeface="Arial" pitchFamily="34" charset="0"/>
                        </a:rPr>
                        <a:t>26</a:t>
                      </a:r>
                      <a:r>
                        <a:rPr kumimoji="1" lang="ja-JP" altLang="en-US" sz="1100" b="0" kern="1200" dirty="0">
                          <a:solidFill>
                            <a:srgbClr val="000000"/>
                          </a:solidFill>
                          <a:latin typeface="+mn-lt"/>
                          <a:ea typeface="ＭＳ Ｐゴシック" charset="-128"/>
                          <a:cs typeface="Arial" pitchFamily="34" charset="0"/>
                        </a:rPr>
                        <a:t>％以上にしなければならない。また、</a:t>
                      </a:r>
                      <a:r>
                        <a:rPr kumimoji="1" lang="en-US" altLang="ja-JP" sz="1100" b="0" kern="1200" dirty="0">
                          <a:solidFill>
                            <a:srgbClr val="000000"/>
                          </a:solidFill>
                          <a:latin typeface="+mn-lt"/>
                          <a:ea typeface="ＭＳ Ｐゴシック" charset="-128"/>
                          <a:cs typeface="Arial" pitchFamily="34" charset="0"/>
                        </a:rPr>
                        <a:t>2018</a:t>
                      </a:r>
                      <a:r>
                        <a:rPr kumimoji="1" lang="ja-JP" altLang="en-US" sz="1100" b="0" kern="1200" dirty="0">
                          <a:solidFill>
                            <a:srgbClr val="000000"/>
                          </a:solidFill>
                          <a:latin typeface="+mn-lt"/>
                          <a:ea typeface="ＭＳ Ｐゴシック" charset="-128"/>
                          <a:cs typeface="Arial" pitchFamily="34" charset="0"/>
                        </a:rPr>
                        <a:t>年の鉱業憲章により新規の投資については</a:t>
                      </a:r>
                      <a:r>
                        <a:rPr kumimoji="1" lang="en-US" altLang="ja-JP" sz="1100" b="0" kern="1200" dirty="0">
                          <a:solidFill>
                            <a:srgbClr val="000000"/>
                          </a:solidFill>
                          <a:latin typeface="+mn-lt"/>
                          <a:ea typeface="ＭＳ Ｐゴシック" charset="-128"/>
                          <a:cs typeface="Arial" pitchFamily="34" charset="0"/>
                        </a:rPr>
                        <a:t>30</a:t>
                      </a:r>
                      <a:r>
                        <a:rPr kumimoji="1" lang="ja-JP" altLang="en-US" sz="1100" b="0" kern="1200" dirty="0">
                          <a:solidFill>
                            <a:srgbClr val="000000"/>
                          </a:solidFill>
                          <a:latin typeface="+mn-lt"/>
                          <a:ea typeface="ＭＳ Ｐゴシック" charset="-128"/>
                          <a:cs typeface="Arial" pitchFamily="34" charset="0"/>
                        </a:rPr>
                        <a:t>％以上が必要となった。</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2127">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特になし</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05379">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土地の売買は全て土地譲渡法（</a:t>
                      </a:r>
                      <a:r>
                        <a:rPr lang="en-US" altLang="ja-JP" sz="1100" dirty="0"/>
                        <a:t>Alienation of Land Act</a:t>
                      </a:r>
                      <a:r>
                        <a:rPr lang="ja-JP" altLang="en-US" sz="1100" dirty="0"/>
                        <a:t>）で規制されている。</a:t>
                      </a:r>
                      <a:endParaRPr lang="en-US" altLang="ja-JP" sz="11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外国企業による土地所有は可能であるが、購入には、場合によって下記の</a:t>
                      </a:r>
                      <a:r>
                        <a:rPr kumimoji="1" lang="ja-JP" altLang="en-US" sz="1100" b="0" kern="1200" dirty="0">
                          <a:solidFill>
                            <a:srgbClr val="000000"/>
                          </a:solidFill>
                          <a:latin typeface="+mn-lt"/>
                          <a:ea typeface="ＭＳ Ｐゴシック" charset="-128"/>
                          <a:cs typeface="Arial" pitchFamily="34" charset="0"/>
                        </a:rPr>
                        <a:t>付属条件がつく。</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　　－　購入登録企業者が、現地事業体として認可されていること。</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　　－　購入登録企業の株所有者が南ア居住者でない場合は、南ア国民である公証人（</a:t>
                      </a:r>
                      <a:r>
                        <a:rPr kumimoji="1" lang="en-US" altLang="ja-JP" sz="1100" b="0" kern="1200" dirty="0">
                          <a:solidFill>
                            <a:srgbClr val="000000"/>
                          </a:solidFill>
                          <a:latin typeface="+mn-lt"/>
                          <a:ea typeface="ＭＳ Ｐゴシック" charset="-128"/>
                          <a:cs typeface="Arial" pitchFamily="34" charset="0"/>
                        </a:rPr>
                        <a:t>public-officer</a:t>
                      </a:r>
                      <a:r>
                        <a:rPr kumimoji="1" lang="ja-JP" altLang="en-US" sz="1100" b="0" kern="1200" dirty="0">
                          <a:solidFill>
                            <a:srgbClr val="000000"/>
                          </a:solidFill>
                          <a:latin typeface="+mn-lt"/>
                          <a:ea typeface="ＭＳ Ｐゴシック" charset="-128"/>
                          <a:cs typeface="Arial" pitchFamily="34" charset="0"/>
                        </a:rPr>
                        <a:t>）に仲介を委任することが必須。）</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642000"/>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4">
            <a:extLst>
              <a:ext uri="{FF2B5EF4-FFF2-40B4-BE49-F238E27FC236}">
                <a16:creationId xmlns:a16="http://schemas.microsoft.com/office/drawing/2014/main" id="{3057204E-5B32-4926-8287-6D548CDB5172}"/>
              </a:ext>
            </a:extLst>
          </p:cNvPr>
          <p:cNvSpPr txBox="1"/>
          <p:nvPr/>
        </p:nvSpPr>
        <p:spPr>
          <a:xfrm>
            <a:off x="215505" y="10829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部の業種を除けば、外資の参入規制は特にない。</a:t>
            </a: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1"/>
            </p:custDataLst>
            <p:extLst>
              <p:ext uri="{D42A27DB-BD31-4B8C-83A1-F6EECF244321}">
                <p14:modId xmlns:p14="http://schemas.microsoft.com/office/powerpoint/2010/main" val="240480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217023"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南アフリカに事業拠点を作る場合、「現地法人」もしくは「外部会社」（</a:t>
            </a:r>
            <a:r>
              <a:rPr lang="en-US" altLang="ja-JP" dirty="0"/>
              <a:t>External Company</a:t>
            </a:r>
            <a:r>
              <a:rPr lang="ja-JP" altLang="en-US" dirty="0"/>
              <a:t>）の形態をとることができる。</a:t>
            </a:r>
          </a:p>
          <a:p>
            <a:r>
              <a:rPr lang="ja-JP" altLang="en-US" dirty="0"/>
              <a:t>南ア独特の政策として、歴史的に不利益を受けてきた黒人等に対する差別を是正するための雇用関連規制がある。</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 Por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 name="表 3">
            <a:extLst>
              <a:ext uri="{FF2B5EF4-FFF2-40B4-BE49-F238E27FC236}">
                <a16:creationId xmlns:a16="http://schemas.microsoft.com/office/drawing/2014/main" id="{E920BD42-1B0E-4A9C-9D75-BF428C7668FF}"/>
              </a:ext>
            </a:extLst>
          </p:cNvPr>
          <p:cNvGraphicFramePr>
            <a:graphicFrameLocks noGrp="1"/>
          </p:cNvGraphicFramePr>
          <p:nvPr>
            <p:extLst>
              <p:ext uri="{D42A27DB-BD31-4B8C-83A1-F6EECF244321}">
                <p14:modId xmlns:p14="http://schemas.microsoft.com/office/powerpoint/2010/main" val="311814827"/>
              </p:ext>
            </p:extLst>
          </p:nvPr>
        </p:nvGraphicFramePr>
        <p:xfrm>
          <a:off x="200025" y="2219804"/>
          <a:ext cx="9361487" cy="4305540"/>
        </p:xfrm>
        <a:graphic>
          <a:graphicData uri="http://schemas.openxmlformats.org/drawingml/2006/table">
            <a:tbl>
              <a:tblPr firstRow="1" bandRow="1">
                <a:tableStyleId>{5C22544A-7EE6-4342-B048-85BDC9FD1C3A}</a:tableStyleId>
              </a:tblPr>
              <a:tblGrid>
                <a:gridCol w="1316913">
                  <a:extLst>
                    <a:ext uri="{9D8B030D-6E8A-4147-A177-3AD203B41FA5}">
                      <a16:colId xmlns:a16="http://schemas.microsoft.com/office/drawing/2014/main" val="20000"/>
                    </a:ext>
                  </a:extLst>
                </a:gridCol>
                <a:gridCol w="8044574">
                  <a:extLst>
                    <a:ext uri="{9D8B030D-6E8A-4147-A177-3AD203B41FA5}">
                      <a16:colId xmlns:a16="http://schemas.microsoft.com/office/drawing/2014/main" val="20001"/>
                    </a:ext>
                  </a:extLst>
                </a:gridCol>
              </a:tblGrid>
              <a:tr h="467608">
                <a:tc>
                  <a:txBody>
                    <a:bodyPr/>
                    <a:lstStyle/>
                    <a:p>
                      <a:r>
                        <a:rPr kumimoji="1" lang="ja-JP" altLang="en-US" sz="1100" b="1" dirty="0">
                          <a:solidFill>
                            <a:schemeClr val="bg1"/>
                          </a:solidFill>
                        </a:rPr>
                        <a:t>管轄官庁</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100" b="0" dirty="0">
                          <a:solidFill>
                            <a:srgbClr val="000000"/>
                          </a:solidFill>
                          <a:ea typeface="ＭＳ Ｐゴシック" charset="-128"/>
                          <a:cs typeface="Arial" pitchFamily="34" charset="0"/>
                        </a:rPr>
                        <a:t>企業・知的所有権登録局（</a:t>
                      </a:r>
                      <a:r>
                        <a:rPr lang="en-US" altLang="ja-JP" sz="1100" b="0" dirty="0">
                          <a:solidFill>
                            <a:srgbClr val="000000"/>
                          </a:solidFill>
                          <a:ea typeface="ＭＳ Ｐゴシック" charset="-128"/>
                          <a:cs typeface="Arial" pitchFamily="34" charset="0"/>
                        </a:rPr>
                        <a:t>Companies and Intellectual Property Commission, CIPC)</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7784">
                <a:tc>
                  <a:txBody>
                    <a:bodyPr/>
                    <a:lstStyle/>
                    <a:p>
                      <a:r>
                        <a:rPr kumimoji="1" lang="ja-JP" altLang="en-US" sz="1100" b="1" dirty="0">
                          <a:solidFill>
                            <a:schemeClr val="bg1"/>
                          </a:solidFill>
                        </a:rPr>
                        <a:t>進出形態と特徴</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現地法人</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現地法人（子会社）には、公開会社（</a:t>
                      </a:r>
                      <a:r>
                        <a:rPr kumimoji="1" lang="en-US" altLang="ja-JP" sz="1100" b="0" kern="1200" dirty="0">
                          <a:solidFill>
                            <a:srgbClr val="000000"/>
                          </a:solidFill>
                          <a:latin typeface="+mn-lt"/>
                          <a:ea typeface="ＭＳ Ｐゴシック" charset="-128"/>
                          <a:cs typeface="Arial" pitchFamily="34" charset="0"/>
                        </a:rPr>
                        <a:t>Public company</a:t>
                      </a:r>
                      <a:r>
                        <a:rPr kumimoji="1" lang="ja-JP" altLang="en-US" sz="1100" b="0" kern="1200" dirty="0">
                          <a:solidFill>
                            <a:srgbClr val="000000"/>
                          </a:solidFill>
                          <a:latin typeface="+mn-lt"/>
                          <a:ea typeface="ＭＳ Ｐゴシック" charset="-128"/>
                          <a:cs typeface="Arial" pitchFamily="34" charset="0"/>
                        </a:rPr>
                        <a:t>）と非公開会社（</a:t>
                      </a:r>
                      <a:r>
                        <a:rPr kumimoji="1" lang="en-US" altLang="ja-JP" sz="1100" b="0" kern="1200" dirty="0">
                          <a:solidFill>
                            <a:srgbClr val="000000"/>
                          </a:solidFill>
                          <a:latin typeface="+mn-lt"/>
                          <a:ea typeface="ＭＳ Ｐゴシック" charset="-128"/>
                          <a:cs typeface="Arial" pitchFamily="34" charset="0"/>
                        </a:rPr>
                        <a:t>Private company</a:t>
                      </a:r>
                      <a:r>
                        <a:rPr kumimoji="1" lang="ja-JP" altLang="en-US" sz="1100" b="0" kern="1200" dirty="0">
                          <a:solidFill>
                            <a:srgbClr val="000000"/>
                          </a:solidFill>
                          <a:latin typeface="+mn-lt"/>
                          <a:ea typeface="ＭＳ Ｐゴシック" charset="-128"/>
                          <a:cs typeface="Arial" pitchFamily="34" charset="0"/>
                        </a:rPr>
                        <a:t>）の</a:t>
                      </a:r>
                      <a:r>
                        <a:rPr kumimoji="1" lang="en-US" altLang="ja-JP" sz="1100" b="0" kern="1200" dirty="0">
                          <a:solidFill>
                            <a:srgbClr val="000000"/>
                          </a:solidFill>
                          <a:latin typeface="+mn-lt"/>
                          <a:ea typeface="ＭＳ Ｐゴシック" charset="-128"/>
                          <a:cs typeface="Arial" pitchFamily="34" charset="0"/>
                        </a:rPr>
                        <a:t>2</a:t>
                      </a:r>
                      <a:r>
                        <a:rPr kumimoji="1" lang="ja-JP" altLang="en-US" sz="1100" b="0" kern="1200" dirty="0">
                          <a:solidFill>
                            <a:srgbClr val="000000"/>
                          </a:solidFill>
                          <a:latin typeface="+mn-lt"/>
                          <a:ea typeface="ＭＳ Ｐゴシック" charset="-128"/>
                          <a:cs typeface="Arial" pitchFamily="34" charset="0"/>
                        </a:rPr>
                        <a:t>種類があ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公開会社と非公開会社は、法律上は南アの独立した企業として経営され、かつ税金に関しても独立した企業としてみなされる。</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外部会社</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南ア国外で設立された組織のうち、南ア国内で営利活動または非営利活動を行っている企業。支店や駐在員事務所がこれにあた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支店は営利活動が行えるが、税金に関しては独立した個別の企業とみなされ、会社法に基づいた財務諸表の作成が必要とな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駐在員事務所は営利活動を行うことができない。</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参加・買収</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外国為替管理当局の承認を得ること以外の規制はない。</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設立手続き</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 </a:t>
                      </a:r>
                      <a:r>
                        <a:rPr kumimoji="1" lang="en-US" altLang="ja-JP" sz="1100" b="0" kern="1200" dirty="0" err="1">
                          <a:solidFill>
                            <a:srgbClr val="000000"/>
                          </a:solidFill>
                          <a:latin typeface="+mn-lt"/>
                          <a:ea typeface="ＭＳ Ｐゴシック" charset="-128"/>
                          <a:cs typeface="Arial" pitchFamily="34" charset="0"/>
                        </a:rPr>
                        <a:t>BizPortal</a:t>
                      </a:r>
                      <a:r>
                        <a:rPr kumimoji="1" lang="ja-JP" altLang="en-US" sz="1100" b="0" kern="1200" dirty="0">
                          <a:solidFill>
                            <a:srgbClr val="000000"/>
                          </a:solidFill>
                          <a:latin typeface="+mn-lt"/>
                          <a:ea typeface="ＭＳ Ｐゴシック" charset="-128"/>
                          <a:cs typeface="Arial" pitchFamily="34" charset="0"/>
                        </a:rPr>
                        <a:t>というプラットフォームから</a:t>
                      </a:r>
                      <a:r>
                        <a:rPr kumimoji="1" lang="en-US" altLang="ja-JP" sz="1100" b="0" kern="1200" dirty="0">
                          <a:solidFill>
                            <a:srgbClr val="000000"/>
                          </a:solidFill>
                          <a:latin typeface="+mn-lt"/>
                          <a:ea typeface="ＭＳ Ｐゴシック" charset="-128"/>
                          <a:cs typeface="Arial" pitchFamily="34" charset="0"/>
                        </a:rPr>
                        <a:t>CIPC</a:t>
                      </a:r>
                      <a:r>
                        <a:rPr kumimoji="1" lang="ja-JP" altLang="en-US" sz="1100" b="0" kern="1200" dirty="0">
                          <a:solidFill>
                            <a:srgbClr val="000000"/>
                          </a:solidFill>
                          <a:latin typeface="+mn-lt"/>
                          <a:ea typeface="ＭＳ Ｐゴシック" charset="-128"/>
                          <a:cs typeface="Arial" pitchFamily="34" charset="0"/>
                        </a:rPr>
                        <a:t>に必要書類を提出することで、ワンストップで設立登記が完了す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費用は</a:t>
                      </a:r>
                      <a:r>
                        <a:rPr kumimoji="1" lang="en-US" altLang="ja-JP" sz="1100" b="0" kern="1200" dirty="0">
                          <a:solidFill>
                            <a:srgbClr val="000000"/>
                          </a:solidFill>
                          <a:latin typeface="+mn-lt"/>
                          <a:ea typeface="ＭＳ Ｐゴシック" charset="-128"/>
                          <a:cs typeface="Arial" pitchFamily="34" charset="0"/>
                        </a:rPr>
                        <a:t>175</a:t>
                      </a:r>
                      <a:r>
                        <a:rPr kumimoji="1" lang="ja-JP" altLang="en-US" sz="1100" b="0" kern="1200" dirty="0">
                          <a:solidFill>
                            <a:srgbClr val="000000"/>
                          </a:solidFill>
                          <a:latin typeface="+mn-lt"/>
                          <a:ea typeface="ＭＳ Ｐゴシック" charset="-128"/>
                          <a:cs typeface="Arial" pitchFamily="34" charset="0"/>
                        </a:rPr>
                        <a:t>ランド（約</a:t>
                      </a:r>
                      <a:r>
                        <a:rPr kumimoji="1" lang="en-US" altLang="ja-JP" sz="1100" b="0" kern="1200" dirty="0">
                          <a:solidFill>
                            <a:srgbClr val="000000"/>
                          </a:solidFill>
                          <a:latin typeface="+mn-lt"/>
                          <a:ea typeface="ＭＳ Ｐゴシック" charset="-128"/>
                          <a:cs typeface="Arial" pitchFamily="34" charset="0"/>
                        </a:rPr>
                        <a:t>1,500</a:t>
                      </a:r>
                      <a:r>
                        <a:rPr kumimoji="1" lang="ja-JP" altLang="en-US" sz="1100" b="0" kern="1200" dirty="0">
                          <a:solidFill>
                            <a:srgbClr val="000000"/>
                          </a:solidFill>
                          <a:latin typeface="+mn-lt"/>
                          <a:ea typeface="ＭＳ Ｐゴシック" charset="-128"/>
                          <a:cs typeface="Arial" pitchFamily="34" charset="0"/>
                        </a:rPr>
                        <a:t>円）で、書類等に不備がなければ</a:t>
                      </a:r>
                      <a:r>
                        <a:rPr kumimoji="1" lang="en-US" altLang="ja-JP" sz="1100" b="0" kern="1200" dirty="0">
                          <a:solidFill>
                            <a:srgbClr val="000000"/>
                          </a:solidFill>
                          <a:latin typeface="+mn-lt"/>
                          <a:ea typeface="ＭＳ Ｐゴシック" charset="-128"/>
                          <a:cs typeface="Arial" pitchFamily="34" charset="0"/>
                        </a:rPr>
                        <a:t>1</a:t>
                      </a:r>
                      <a:r>
                        <a:rPr kumimoji="1" lang="ja-JP" altLang="en-US" sz="1100" b="0" kern="1200" dirty="0">
                          <a:solidFill>
                            <a:srgbClr val="000000"/>
                          </a:solidFill>
                          <a:latin typeface="+mn-lt"/>
                          <a:ea typeface="ＭＳ Ｐゴシック" charset="-128"/>
                          <a:cs typeface="Arial" pitchFamily="34" charset="0"/>
                        </a:rPr>
                        <a:t>日で完了す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0000">
                <a:tc>
                  <a:txBody>
                    <a:bodyPr/>
                    <a:lstStyle/>
                    <a:p>
                      <a:r>
                        <a:rPr kumimoji="1" lang="ja-JP" altLang="en-US" sz="1100" b="1" dirty="0">
                          <a:solidFill>
                            <a:schemeClr val="bg1"/>
                          </a:solidFill>
                        </a:rPr>
                        <a:t>雇用関連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政府調達に際しては、黒人、カラード、女性など歴史的に不利益を受けてきた南ア国民（</a:t>
                      </a:r>
                      <a:r>
                        <a:rPr kumimoji="1" lang="en-US" altLang="ja-JP" sz="1100" b="0" kern="1200" dirty="0">
                          <a:solidFill>
                            <a:srgbClr val="000000"/>
                          </a:solidFill>
                          <a:latin typeface="+mn-lt"/>
                          <a:ea typeface="ＭＳ Ｐゴシック" charset="-128"/>
                          <a:cs typeface="Arial" pitchFamily="34" charset="0"/>
                        </a:rPr>
                        <a:t>Historically Disadvantaged South Africans</a:t>
                      </a:r>
                      <a:r>
                        <a:rPr kumimoji="1" lang="ja-JP" altLang="en-US" sz="1100" b="0" kern="1200" dirty="0">
                          <a:solidFill>
                            <a:srgbClr val="000000"/>
                          </a:solidFill>
                          <a:latin typeface="+mn-lt"/>
                          <a:ea typeface="ＭＳ Ｐゴシック" charset="-128"/>
                          <a:cs typeface="Arial" pitchFamily="34" charset="0"/>
                        </a:rPr>
                        <a:t>：</a:t>
                      </a:r>
                      <a:r>
                        <a:rPr kumimoji="1" lang="en-US" altLang="ja-JP" sz="1100" b="0" kern="1200" dirty="0">
                          <a:solidFill>
                            <a:srgbClr val="000000"/>
                          </a:solidFill>
                          <a:latin typeface="+mn-lt"/>
                          <a:ea typeface="ＭＳ Ｐゴシック" charset="-128"/>
                          <a:cs typeface="Arial" pitchFamily="34" charset="0"/>
                        </a:rPr>
                        <a:t>HDSA</a:t>
                      </a:r>
                      <a:r>
                        <a:rPr kumimoji="1" lang="ja-JP" altLang="en-US" sz="1100" b="0" kern="1200" dirty="0">
                          <a:solidFill>
                            <a:srgbClr val="000000"/>
                          </a:solidFill>
                          <a:latin typeface="+mn-lt"/>
                          <a:ea typeface="ＭＳ Ｐゴシック" charset="-128"/>
                          <a:cs typeface="Arial" pitchFamily="34" charset="0"/>
                        </a:rPr>
                        <a:t>）の雇用割合が入札時の評価に加えられている他、</a:t>
                      </a:r>
                      <a:r>
                        <a:rPr kumimoji="1" lang="en-US" altLang="ja-JP" sz="1100" b="0" kern="1200" dirty="0">
                          <a:solidFill>
                            <a:srgbClr val="000000"/>
                          </a:solidFill>
                          <a:latin typeface="+mn-lt"/>
                          <a:ea typeface="ＭＳ Ｐゴシック" charset="-128"/>
                          <a:cs typeface="Arial" pitchFamily="34" charset="0"/>
                        </a:rPr>
                        <a:t>1998</a:t>
                      </a:r>
                      <a:r>
                        <a:rPr kumimoji="1" lang="ja-JP" altLang="en-US" sz="1100" b="0" kern="1200" dirty="0">
                          <a:solidFill>
                            <a:srgbClr val="000000"/>
                          </a:solidFill>
                          <a:latin typeface="+mn-lt"/>
                          <a:ea typeface="ＭＳ Ｐゴシック" charset="-128"/>
                          <a:cs typeface="Arial" pitchFamily="34" charset="0"/>
                        </a:rPr>
                        <a:t>年に制定された雇用均等法によって、企業に平等な雇用を義務付けている。</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また従業員が</a:t>
                      </a:r>
                      <a:r>
                        <a:rPr kumimoji="1" lang="en-US" altLang="ja-JP" sz="1100" b="0" kern="1200" dirty="0">
                          <a:solidFill>
                            <a:srgbClr val="000000"/>
                          </a:solidFill>
                          <a:latin typeface="+mn-lt"/>
                          <a:ea typeface="ＭＳ Ｐゴシック" charset="-128"/>
                          <a:cs typeface="Arial" pitchFamily="34" charset="0"/>
                        </a:rPr>
                        <a:t>50</a:t>
                      </a:r>
                      <a:r>
                        <a:rPr kumimoji="1" lang="ja-JP" altLang="en-US" sz="1100" b="0" kern="1200" dirty="0">
                          <a:solidFill>
                            <a:srgbClr val="000000"/>
                          </a:solidFill>
                          <a:latin typeface="+mn-lt"/>
                          <a:ea typeface="ＭＳ Ｐゴシック" charset="-128"/>
                          <a:cs typeface="Arial" pitchFamily="34" charset="0"/>
                        </a:rPr>
                        <a:t>人以上、あるいは一定の売上高（製造業の場合</a:t>
                      </a:r>
                      <a:r>
                        <a:rPr kumimoji="1" lang="en-US" altLang="ja-JP" sz="1100" b="0" kern="1200" dirty="0">
                          <a:solidFill>
                            <a:srgbClr val="000000"/>
                          </a:solidFill>
                          <a:latin typeface="+mn-lt"/>
                          <a:ea typeface="ＭＳ Ｐゴシック" charset="-128"/>
                          <a:cs typeface="Arial" pitchFamily="34" charset="0"/>
                        </a:rPr>
                        <a:t>3,000</a:t>
                      </a:r>
                      <a:r>
                        <a:rPr kumimoji="1" lang="ja-JP" altLang="en-US" sz="1100" b="0" kern="1200" dirty="0">
                          <a:solidFill>
                            <a:srgbClr val="000000"/>
                          </a:solidFill>
                          <a:latin typeface="+mn-lt"/>
                          <a:ea typeface="ＭＳ Ｐゴシック" charset="-128"/>
                          <a:cs typeface="Arial" pitchFamily="34" charset="0"/>
                        </a:rPr>
                        <a:t>万ランド以上）がある企業に対しては、一定の割合での</a:t>
                      </a:r>
                      <a:r>
                        <a:rPr kumimoji="1" lang="en-US" altLang="ja-JP" sz="1100" b="0" kern="1200" dirty="0">
                          <a:solidFill>
                            <a:srgbClr val="000000"/>
                          </a:solidFill>
                          <a:latin typeface="+mn-lt"/>
                          <a:ea typeface="ＭＳ Ｐゴシック" charset="-128"/>
                          <a:cs typeface="Arial" pitchFamily="34" charset="0"/>
                        </a:rPr>
                        <a:t>HDSA</a:t>
                      </a:r>
                      <a:r>
                        <a:rPr kumimoji="1" lang="ja-JP" altLang="en-US" sz="1100" b="0" kern="1200" dirty="0">
                          <a:solidFill>
                            <a:srgbClr val="000000"/>
                          </a:solidFill>
                          <a:latin typeface="+mn-lt"/>
                          <a:ea typeface="ＭＳ Ｐゴシック" charset="-128"/>
                          <a:cs typeface="Arial" pitchFamily="34" charset="0"/>
                        </a:rPr>
                        <a:t>雇用が、雇用均等法に基づいて求められる。さらに、社内において雇用均等に関する従業員との協議が求められる他、従業員が</a:t>
                      </a:r>
                      <a:r>
                        <a:rPr kumimoji="1" lang="en-US" altLang="ja-JP" sz="1100" b="0" kern="1200" dirty="0">
                          <a:solidFill>
                            <a:srgbClr val="000000"/>
                          </a:solidFill>
                          <a:latin typeface="+mn-lt"/>
                          <a:ea typeface="ＭＳ Ｐゴシック" charset="-128"/>
                          <a:cs typeface="Arial" pitchFamily="34" charset="0"/>
                        </a:rPr>
                        <a:t>150</a:t>
                      </a:r>
                      <a:r>
                        <a:rPr kumimoji="1" lang="ja-JP" altLang="en-US" sz="1100" b="0" kern="1200" dirty="0">
                          <a:solidFill>
                            <a:srgbClr val="000000"/>
                          </a:solidFill>
                          <a:latin typeface="+mn-lt"/>
                          <a:ea typeface="ＭＳ Ｐゴシック" charset="-128"/>
                          <a:cs typeface="Arial" pitchFamily="34" charset="0"/>
                        </a:rPr>
                        <a:t>人未満の場合、雇用機会計画の策定や雇用機会均等に関する</a:t>
                      </a:r>
                      <a:r>
                        <a:rPr kumimoji="1" lang="en-US" altLang="ja-JP" sz="1100" b="0" kern="1200" dirty="0">
                          <a:solidFill>
                            <a:srgbClr val="000000"/>
                          </a:solidFill>
                          <a:latin typeface="+mn-lt"/>
                          <a:ea typeface="ＭＳ Ｐゴシック" charset="-128"/>
                          <a:cs typeface="Arial" pitchFamily="34" charset="0"/>
                        </a:rPr>
                        <a:t>2</a:t>
                      </a:r>
                      <a:r>
                        <a:rPr kumimoji="1" lang="ja-JP" altLang="en-US" sz="1100" b="0" kern="1200" dirty="0">
                          <a:solidFill>
                            <a:srgbClr val="000000"/>
                          </a:solidFill>
                          <a:latin typeface="+mn-lt"/>
                          <a:ea typeface="ＭＳ Ｐゴシック" charset="-128"/>
                          <a:cs typeface="Arial" pitchFamily="34" charset="0"/>
                        </a:rPr>
                        <a:t>年ごとの報告書の労働省への提出が必要とな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456454"/>
                  </a:ext>
                </a:extLst>
              </a:tr>
            </a:tbl>
          </a:graphicData>
        </a:graphic>
      </p:graphicFrame>
      <p:sp>
        <p:nvSpPr>
          <p:cNvPr id="16" name="Rectangle 6">
            <a:extLst>
              <a:ext uri="{FF2B5EF4-FFF2-40B4-BE49-F238E27FC236}">
                <a16:creationId xmlns:a16="http://schemas.microsoft.com/office/drawing/2014/main" id="{72617D03-D1D4-4063-A58B-179C91688EF5}"/>
              </a:ext>
            </a:extLst>
          </p:cNvPr>
          <p:cNvSpPr>
            <a:spLocks noChangeArrowheads="1"/>
          </p:cNvSpPr>
          <p:nvPr/>
        </p:nvSpPr>
        <p:spPr bwMode="auto">
          <a:xfrm>
            <a:off x="200593" y="1931772"/>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南アでの拠点設立に伴う法規制</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noChangeAspect="1"/>
          </p:cNvGraphicFramePr>
          <p:nvPr>
            <p:custDataLst>
              <p:tags r:id="rId1"/>
            </p:custDataLst>
            <p:extLst>
              <p:ext uri="{D42A27DB-BD31-4B8C-83A1-F6EECF244321}">
                <p14:modId xmlns:p14="http://schemas.microsoft.com/office/powerpoint/2010/main" val="343809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Freeform 26">
            <a:extLst>
              <a:ext uri="{FF2B5EF4-FFF2-40B4-BE49-F238E27FC236}">
                <a16:creationId xmlns:a16="http://schemas.microsoft.com/office/drawing/2014/main" id="{E38D98E3-5689-484D-A16C-825A4A60A45E}"/>
              </a:ext>
            </a:extLst>
          </p:cNvPr>
          <p:cNvSpPr>
            <a:spLocks noEditPoints="1"/>
          </p:cNvSpPr>
          <p:nvPr/>
        </p:nvSpPr>
        <p:spPr bwMode="gray">
          <a:xfrm>
            <a:off x="6245378" y="3012962"/>
            <a:ext cx="2878158" cy="1836184"/>
          </a:xfrm>
          <a:custGeom>
            <a:avLst/>
            <a:gdLst>
              <a:gd name="T0" fmla="*/ 3352 w 4280"/>
              <a:gd name="T1" fmla="*/ 1936 h 3383"/>
              <a:gd name="T2" fmla="*/ 3236 w 4280"/>
              <a:gd name="T3" fmla="*/ 1777 h 3383"/>
              <a:gd name="T4" fmla="*/ 3031 w 4280"/>
              <a:gd name="T5" fmla="*/ 1757 h 3383"/>
              <a:gd name="T6" fmla="*/ 2878 w 4280"/>
              <a:gd name="T7" fmla="*/ 1874 h 3383"/>
              <a:gd name="T8" fmla="*/ 2738 w 4280"/>
              <a:gd name="T9" fmla="*/ 2017 h 3383"/>
              <a:gd name="T10" fmla="*/ 2825 w 4280"/>
              <a:gd name="T11" fmla="*/ 2182 h 3383"/>
              <a:gd name="T12" fmla="*/ 3019 w 4280"/>
              <a:gd name="T13" fmla="*/ 2227 h 3383"/>
              <a:gd name="T14" fmla="*/ 3190 w 4280"/>
              <a:gd name="T15" fmla="*/ 2123 h 3383"/>
              <a:gd name="T16" fmla="*/ 4045 w 4280"/>
              <a:gd name="T17" fmla="*/ 1288 h 3383"/>
              <a:gd name="T18" fmla="*/ 4278 w 4280"/>
              <a:gd name="T19" fmla="*/ 1271 h 3383"/>
              <a:gd name="T20" fmla="*/ 4185 w 4280"/>
              <a:gd name="T21" fmla="*/ 1567 h 3383"/>
              <a:gd name="T22" fmla="*/ 4039 w 4280"/>
              <a:gd name="T23" fmla="*/ 1777 h 3383"/>
              <a:gd name="T24" fmla="*/ 3836 w 4280"/>
              <a:gd name="T25" fmla="*/ 1948 h 3383"/>
              <a:gd name="T26" fmla="*/ 3716 w 4280"/>
              <a:gd name="T27" fmla="*/ 2121 h 3383"/>
              <a:gd name="T28" fmla="*/ 3556 w 4280"/>
              <a:gd name="T29" fmla="*/ 2356 h 3383"/>
              <a:gd name="T30" fmla="*/ 3357 w 4280"/>
              <a:gd name="T31" fmla="*/ 2533 h 3383"/>
              <a:gd name="T32" fmla="*/ 3144 w 4280"/>
              <a:gd name="T33" fmla="*/ 2728 h 3383"/>
              <a:gd name="T34" fmla="*/ 2934 w 4280"/>
              <a:gd name="T35" fmla="*/ 2890 h 3383"/>
              <a:gd name="T36" fmla="*/ 2721 w 4280"/>
              <a:gd name="T37" fmla="*/ 3023 h 3383"/>
              <a:gd name="T38" fmla="*/ 2419 w 4280"/>
              <a:gd name="T39" fmla="*/ 3082 h 3383"/>
              <a:gd name="T40" fmla="*/ 2228 w 4280"/>
              <a:gd name="T41" fmla="*/ 3155 h 3383"/>
              <a:gd name="T42" fmla="*/ 1970 w 4280"/>
              <a:gd name="T43" fmla="*/ 3183 h 3383"/>
              <a:gd name="T44" fmla="*/ 1718 w 4280"/>
              <a:gd name="T45" fmla="*/ 3188 h 3383"/>
              <a:gd name="T46" fmla="*/ 1422 w 4280"/>
              <a:gd name="T47" fmla="*/ 3198 h 3383"/>
              <a:gd name="T48" fmla="*/ 1225 w 4280"/>
              <a:gd name="T49" fmla="*/ 3273 h 3383"/>
              <a:gd name="T50" fmla="*/ 962 w 4280"/>
              <a:gd name="T51" fmla="*/ 3324 h 3383"/>
              <a:gd name="T52" fmla="*/ 731 w 4280"/>
              <a:gd name="T53" fmla="*/ 3325 h 3383"/>
              <a:gd name="T54" fmla="*/ 581 w 4280"/>
              <a:gd name="T55" fmla="*/ 3218 h 3383"/>
              <a:gd name="T56" fmla="*/ 459 w 4280"/>
              <a:gd name="T57" fmla="*/ 3193 h 3383"/>
              <a:gd name="T58" fmla="*/ 428 w 4280"/>
              <a:gd name="T59" fmla="*/ 3001 h 3383"/>
              <a:gd name="T60" fmla="*/ 375 w 4280"/>
              <a:gd name="T61" fmla="*/ 2895 h 3383"/>
              <a:gd name="T62" fmla="*/ 445 w 4280"/>
              <a:gd name="T63" fmla="*/ 2805 h 3383"/>
              <a:gd name="T64" fmla="*/ 440 w 4280"/>
              <a:gd name="T65" fmla="*/ 2560 h 3383"/>
              <a:gd name="T66" fmla="*/ 285 w 4280"/>
              <a:gd name="T67" fmla="*/ 2341 h 3383"/>
              <a:gd name="T68" fmla="*/ 170 w 4280"/>
              <a:gd name="T69" fmla="*/ 2082 h 3383"/>
              <a:gd name="T70" fmla="*/ 83 w 4280"/>
              <a:gd name="T71" fmla="*/ 1846 h 3383"/>
              <a:gd name="T72" fmla="*/ 93 w 4280"/>
              <a:gd name="T73" fmla="*/ 1660 h 3383"/>
              <a:gd name="T74" fmla="*/ 229 w 4280"/>
              <a:gd name="T75" fmla="*/ 1624 h 3383"/>
              <a:gd name="T76" fmla="*/ 353 w 4280"/>
              <a:gd name="T77" fmla="*/ 1766 h 3383"/>
              <a:gd name="T78" fmla="*/ 618 w 4280"/>
              <a:gd name="T79" fmla="*/ 1789 h 3383"/>
              <a:gd name="T80" fmla="*/ 812 w 4280"/>
              <a:gd name="T81" fmla="*/ 1704 h 3383"/>
              <a:gd name="T82" fmla="*/ 936 w 4280"/>
              <a:gd name="T83" fmla="*/ 927 h 3383"/>
              <a:gd name="T84" fmla="*/ 1081 w 4280"/>
              <a:gd name="T85" fmla="*/ 842 h 3383"/>
              <a:gd name="T86" fmla="*/ 1144 w 4280"/>
              <a:gd name="T87" fmla="*/ 1010 h 3383"/>
              <a:gd name="T88" fmla="*/ 1099 w 4280"/>
              <a:gd name="T89" fmla="*/ 1247 h 3383"/>
              <a:gd name="T90" fmla="*/ 1361 w 4280"/>
              <a:gd name="T91" fmla="*/ 1262 h 3383"/>
              <a:gd name="T92" fmla="*/ 1547 w 4280"/>
              <a:gd name="T93" fmla="*/ 1117 h 3383"/>
              <a:gd name="T94" fmla="*/ 1671 w 4280"/>
              <a:gd name="T95" fmla="*/ 949 h 3383"/>
              <a:gd name="T96" fmla="*/ 1829 w 4280"/>
              <a:gd name="T97" fmla="*/ 849 h 3383"/>
              <a:gd name="T98" fmla="*/ 1995 w 4280"/>
              <a:gd name="T99" fmla="*/ 934 h 3383"/>
              <a:gd name="T100" fmla="*/ 2191 w 4280"/>
              <a:gd name="T101" fmla="*/ 983 h 3383"/>
              <a:gd name="T102" fmla="*/ 2420 w 4280"/>
              <a:gd name="T103" fmla="*/ 866 h 3383"/>
              <a:gd name="T104" fmla="*/ 2619 w 4280"/>
              <a:gd name="T105" fmla="*/ 663 h 3383"/>
              <a:gd name="T106" fmla="*/ 2762 w 4280"/>
              <a:gd name="T107" fmla="*/ 466 h 3383"/>
              <a:gd name="T108" fmla="*/ 2883 w 4280"/>
              <a:gd name="T109" fmla="*/ 343 h 3383"/>
              <a:gd name="T110" fmla="*/ 3054 w 4280"/>
              <a:gd name="T111" fmla="*/ 189 h 3383"/>
              <a:gd name="T112" fmla="*/ 3301 w 4280"/>
              <a:gd name="T113" fmla="*/ 59 h 3383"/>
              <a:gd name="T114" fmla="*/ 3563 w 4280"/>
              <a:gd name="T115" fmla="*/ 24 h 3383"/>
              <a:gd name="T116" fmla="*/ 3857 w 4280"/>
              <a:gd name="T117" fmla="*/ 59 h 3383"/>
              <a:gd name="T118" fmla="*/ 4076 w 4280"/>
              <a:gd name="T119" fmla="*/ 813 h 3383"/>
              <a:gd name="T120" fmla="*/ 3921 w 4280"/>
              <a:gd name="T121" fmla="*/ 964 h 3383"/>
              <a:gd name="T122" fmla="*/ 3738 w 4280"/>
              <a:gd name="T123" fmla="*/ 1243 h 3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0" h="3383">
                <a:moveTo>
                  <a:pt x="3240" y="2097"/>
                </a:moveTo>
                <a:lnTo>
                  <a:pt x="3245" y="2092"/>
                </a:lnTo>
                <a:lnTo>
                  <a:pt x="3253" y="2089"/>
                </a:lnTo>
                <a:lnTo>
                  <a:pt x="3258" y="2084"/>
                </a:lnTo>
                <a:lnTo>
                  <a:pt x="3263" y="2087"/>
                </a:lnTo>
                <a:lnTo>
                  <a:pt x="3265" y="2080"/>
                </a:lnTo>
                <a:lnTo>
                  <a:pt x="3277" y="2077"/>
                </a:lnTo>
                <a:lnTo>
                  <a:pt x="3280" y="2073"/>
                </a:lnTo>
                <a:lnTo>
                  <a:pt x="3279" y="2065"/>
                </a:lnTo>
                <a:lnTo>
                  <a:pt x="3274" y="2063"/>
                </a:lnTo>
                <a:lnTo>
                  <a:pt x="3274" y="2060"/>
                </a:lnTo>
                <a:lnTo>
                  <a:pt x="3263" y="2056"/>
                </a:lnTo>
                <a:lnTo>
                  <a:pt x="3272" y="2050"/>
                </a:lnTo>
                <a:lnTo>
                  <a:pt x="3270" y="2045"/>
                </a:lnTo>
                <a:lnTo>
                  <a:pt x="3272" y="2036"/>
                </a:lnTo>
                <a:lnTo>
                  <a:pt x="3270" y="2034"/>
                </a:lnTo>
                <a:lnTo>
                  <a:pt x="3279" y="2026"/>
                </a:lnTo>
                <a:lnTo>
                  <a:pt x="3277" y="2021"/>
                </a:lnTo>
                <a:lnTo>
                  <a:pt x="3280" y="2019"/>
                </a:lnTo>
                <a:lnTo>
                  <a:pt x="3280" y="2012"/>
                </a:lnTo>
                <a:lnTo>
                  <a:pt x="3289" y="2009"/>
                </a:lnTo>
                <a:lnTo>
                  <a:pt x="3291" y="2005"/>
                </a:lnTo>
                <a:lnTo>
                  <a:pt x="3301" y="2000"/>
                </a:lnTo>
                <a:lnTo>
                  <a:pt x="3313" y="2002"/>
                </a:lnTo>
                <a:lnTo>
                  <a:pt x="3316" y="1992"/>
                </a:lnTo>
                <a:lnTo>
                  <a:pt x="3314" y="1985"/>
                </a:lnTo>
                <a:lnTo>
                  <a:pt x="3323" y="1985"/>
                </a:lnTo>
                <a:lnTo>
                  <a:pt x="3325" y="1982"/>
                </a:lnTo>
                <a:lnTo>
                  <a:pt x="3320" y="1978"/>
                </a:lnTo>
                <a:lnTo>
                  <a:pt x="3321" y="1973"/>
                </a:lnTo>
                <a:lnTo>
                  <a:pt x="3316" y="1968"/>
                </a:lnTo>
                <a:lnTo>
                  <a:pt x="3321" y="1966"/>
                </a:lnTo>
                <a:lnTo>
                  <a:pt x="3318" y="1961"/>
                </a:lnTo>
                <a:lnTo>
                  <a:pt x="3325" y="1960"/>
                </a:lnTo>
                <a:lnTo>
                  <a:pt x="3326" y="1956"/>
                </a:lnTo>
                <a:lnTo>
                  <a:pt x="3335" y="1956"/>
                </a:lnTo>
                <a:lnTo>
                  <a:pt x="3347" y="1949"/>
                </a:lnTo>
                <a:lnTo>
                  <a:pt x="3352" y="1941"/>
                </a:lnTo>
                <a:lnTo>
                  <a:pt x="3352" y="1936"/>
                </a:lnTo>
                <a:lnTo>
                  <a:pt x="3359" y="1931"/>
                </a:lnTo>
                <a:lnTo>
                  <a:pt x="3357" y="1922"/>
                </a:lnTo>
                <a:lnTo>
                  <a:pt x="3360" y="1920"/>
                </a:lnTo>
                <a:lnTo>
                  <a:pt x="3357" y="1912"/>
                </a:lnTo>
                <a:lnTo>
                  <a:pt x="3357" y="1902"/>
                </a:lnTo>
                <a:lnTo>
                  <a:pt x="3352" y="1898"/>
                </a:lnTo>
                <a:lnTo>
                  <a:pt x="3354" y="1897"/>
                </a:lnTo>
                <a:lnTo>
                  <a:pt x="3350" y="1886"/>
                </a:lnTo>
                <a:lnTo>
                  <a:pt x="3338" y="1885"/>
                </a:lnTo>
                <a:lnTo>
                  <a:pt x="3333" y="1880"/>
                </a:lnTo>
                <a:lnTo>
                  <a:pt x="3335" y="1871"/>
                </a:lnTo>
                <a:lnTo>
                  <a:pt x="3338" y="1864"/>
                </a:lnTo>
                <a:lnTo>
                  <a:pt x="3330" y="1857"/>
                </a:lnTo>
                <a:lnTo>
                  <a:pt x="3326" y="1851"/>
                </a:lnTo>
                <a:lnTo>
                  <a:pt x="3318" y="1851"/>
                </a:lnTo>
                <a:lnTo>
                  <a:pt x="3311" y="1854"/>
                </a:lnTo>
                <a:lnTo>
                  <a:pt x="3304" y="1847"/>
                </a:lnTo>
                <a:lnTo>
                  <a:pt x="3304" y="1844"/>
                </a:lnTo>
                <a:lnTo>
                  <a:pt x="3301" y="1842"/>
                </a:lnTo>
                <a:lnTo>
                  <a:pt x="3303" y="1837"/>
                </a:lnTo>
                <a:lnTo>
                  <a:pt x="3292" y="1830"/>
                </a:lnTo>
                <a:lnTo>
                  <a:pt x="3287" y="1830"/>
                </a:lnTo>
                <a:lnTo>
                  <a:pt x="3284" y="1825"/>
                </a:lnTo>
                <a:lnTo>
                  <a:pt x="3279" y="1825"/>
                </a:lnTo>
                <a:lnTo>
                  <a:pt x="3280" y="1820"/>
                </a:lnTo>
                <a:lnTo>
                  <a:pt x="3272" y="1813"/>
                </a:lnTo>
                <a:lnTo>
                  <a:pt x="3267" y="1813"/>
                </a:lnTo>
                <a:lnTo>
                  <a:pt x="3269" y="1808"/>
                </a:lnTo>
                <a:lnTo>
                  <a:pt x="3258" y="1808"/>
                </a:lnTo>
                <a:lnTo>
                  <a:pt x="3253" y="1798"/>
                </a:lnTo>
                <a:lnTo>
                  <a:pt x="3252" y="1803"/>
                </a:lnTo>
                <a:lnTo>
                  <a:pt x="3243" y="1808"/>
                </a:lnTo>
                <a:lnTo>
                  <a:pt x="3236" y="1798"/>
                </a:lnTo>
                <a:lnTo>
                  <a:pt x="3238" y="1795"/>
                </a:lnTo>
                <a:lnTo>
                  <a:pt x="3233" y="1793"/>
                </a:lnTo>
                <a:lnTo>
                  <a:pt x="3236" y="1791"/>
                </a:lnTo>
                <a:lnTo>
                  <a:pt x="3235" y="1784"/>
                </a:lnTo>
                <a:lnTo>
                  <a:pt x="3228" y="1781"/>
                </a:lnTo>
                <a:lnTo>
                  <a:pt x="3236" y="1777"/>
                </a:lnTo>
                <a:lnTo>
                  <a:pt x="3231" y="1774"/>
                </a:lnTo>
                <a:lnTo>
                  <a:pt x="3235" y="1772"/>
                </a:lnTo>
                <a:lnTo>
                  <a:pt x="3224" y="1766"/>
                </a:lnTo>
                <a:lnTo>
                  <a:pt x="3216" y="1769"/>
                </a:lnTo>
                <a:lnTo>
                  <a:pt x="3212" y="1766"/>
                </a:lnTo>
                <a:lnTo>
                  <a:pt x="3202" y="1771"/>
                </a:lnTo>
                <a:lnTo>
                  <a:pt x="3201" y="1769"/>
                </a:lnTo>
                <a:lnTo>
                  <a:pt x="3197" y="1762"/>
                </a:lnTo>
                <a:lnTo>
                  <a:pt x="3201" y="1754"/>
                </a:lnTo>
                <a:lnTo>
                  <a:pt x="3192" y="1750"/>
                </a:lnTo>
                <a:lnTo>
                  <a:pt x="3187" y="1745"/>
                </a:lnTo>
                <a:lnTo>
                  <a:pt x="3178" y="1747"/>
                </a:lnTo>
                <a:lnTo>
                  <a:pt x="3173" y="1743"/>
                </a:lnTo>
                <a:lnTo>
                  <a:pt x="3172" y="1735"/>
                </a:lnTo>
                <a:lnTo>
                  <a:pt x="3173" y="1728"/>
                </a:lnTo>
                <a:lnTo>
                  <a:pt x="3168" y="1721"/>
                </a:lnTo>
                <a:lnTo>
                  <a:pt x="3161" y="1716"/>
                </a:lnTo>
                <a:lnTo>
                  <a:pt x="3153" y="1718"/>
                </a:lnTo>
                <a:lnTo>
                  <a:pt x="3144" y="1726"/>
                </a:lnTo>
                <a:lnTo>
                  <a:pt x="3133" y="1725"/>
                </a:lnTo>
                <a:lnTo>
                  <a:pt x="3129" y="1726"/>
                </a:lnTo>
                <a:lnTo>
                  <a:pt x="3127" y="1725"/>
                </a:lnTo>
                <a:lnTo>
                  <a:pt x="3124" y="1728"/>
                </a:lnTo>
                <a:lnTo>
                  <a:pt x="3114" y="1725"/>
                </a:lnTo>
                <a:lnTo>
                  <a:pt x="3109" y="1728"/>
                </a:lnTo>
                <a:lnTo>
                  <a:pt x="3100" y="1732"/>
                </a:lnTo>
                <a:lnTo>
                  <a:pt x="3095" y="1730"/>
                </a:lnTo>
                <a:lnTo>
                  <a:pt x="3095" y="1735"/>
                </a:lnTo>
                <a:lnTo>
                  <a:pt x="3087" y="1742"/>
                </a:lnTo>
                <a:lnTo>
                  <a:pt x="3087" y="1745"/>
                </a:lnTo>
                <a:lnTo>
                  <a:pt x="3082" y="1752"/>
                </a:lnTo>
                <a:lnTo>
                  <a:pt x="3070" y="1749"/>
                </a:lnTo>
                <a:lnTo>
                  <a:pt x="3065" y="1754"/>
                </a:lnTo>
                <a:lnTo>
                  <a:pt x="3058" y="1750"/>
                </a:lnTo>
                <a:lnTo>
                  <a:pt x="3051" y="1749"/>
                </a:lnTo>
                <a:lnTo>
                  <a:pt x="3042" y="1754"/>
                </a:lnTo>
                <a:lnTo>
                  <a:pt x="3039" y="1749"/>
                </a:lnTo>
                <a:lnTo>
                  <a:pt x="3032" y="1759"/>
                </a:lnTo>
                <a:lnTo>
                  <a:pt x="3031" y="1757"/>
                </a:lnTo>
                <a:lnTo>
                  <a:pt x="3024" y="1762"/>
                </a:lnTo>
                <a:lnTo>
                  <a:pt x="3022" y="1760"/>
                </a:lnTo>
                <a:lnTo>
                  <a:pt x="3022" y="1766"/>
                </a:lnTo>
                <a:lnTo>
                  <a:pt x="3017" y="1769"/>
                </a:lnTo>
                <a:lnTo>
                  <a:pt x="3015" y="1772"/>
                </a:lnTo>
                <a:lnTo>
                  <a:pt x="3008" y="1781"/>
                </a:lnTo>
                <a:lnTo>
                  <a:pt x="3003" y="1781"/>
                </a:lnTo>
                <a:lnTo>
                  <a:pt x="3003" y="1788"/>
                </a:lnTo>
                <a:lnTo>
                  <a:pt x="2995" y="1793"/>
                </a:lnTo>
                <a:lnTo>
                  <a:pt x="2997" y="1798"/>
                </a:lnTo>
                <a:lnTo>
                  <a:pt x="2988" y="1796"/>
                </a:lnTo>
                <a:lnTo>
                  <a:pt x="2986" y="1800"/>
                </a:lnTo>
                <a:lnTo>
                  <a:pt x="2981" y="1796"/>
                </a:lnTo>
                <a:lnTo>
                  <a:pt x="2973" y="1789"/>
                </a:lnTo>
                <a:lnTo>
                  <a:pt x="2968" y="1793"/>
                </a:lnTo>
                <a:lnTo>
                  <a:pt x="2968" y="1798"/>
                </a:lnTo>
                <a:lnTo>
                  <a:pt x="2961" y="1798"/>
                </a:lnTo>
                <a:lnTo>
                  <a:pt x="2959" y="1808"/>
                </a:lnTo>
                <a:lnTo>
                  <a:pt x="2954" y="1808"/>
                </a:lnTo>
                <a:lnTo>
                  <a:pt x="2951" y="1805"/>
                </a:lnTo>
                <a:lnTo>
                  <a:pt x="2947" y="1808"/>
                </a:lnTo>
                <a:lnTo>
                  <a:pt x="2946" y="1805"/>
                </a:lnTo>
                <a:lnTo>
                  <a:pt x="2940" y="1810"/>
                </a:lnTo>
                <a:lnTo>
                  <a:pt x="2937" y="1808"/>
                </a:lnTo>
                <a:lnTo>
                  <a:pt x="2925" y="1803"/>
                </a:lnTo>
                <a:lnTo>
                  <a:pt x="2927" y="1813"/>
                </a:lnTo>
                <a:lnTo>
                  <a:pt x="2917" y="1817"/>
                </a:lnTo>
                <a:lnTo>
                  <a:pt x="2917" y="1823"/>
                </a:lnTo>
                <a:lnTo>
                  <a:pt x="2912" y="1825"/>
                </a:lnTo>
                <a:lnTo>
                  <a:pt x="2913" y="1834"/>
                </a:lnTo>
                <a:lnTo>
                  <a:pt x="2906" y="1832"/>
                </a:lnTo>
                <a:lnTo>
                  <a:pt x="2903" y="1842"/>
                </a:lnTo>
                <a:lnTo>
                  <a:pt x="2895" y="1842"/>
                </a:lnTo>
                <a:lnTo>
                  <a:pt x="2903" y="1851"/>
                </a:lnTo>
                <a:lnTo>
                  <a:pt x="2895" y="1852"/>
                </a:lnTo>
                <a:lnTo>
                  <a:pt x="2895" y="1861"/>
                </a:lnTo>
                <a:lnTo>
                  <a:pt x="2883" y="1866"/>
                </a:lnTo>
                <a:lnTo>
                  <a:pt x="2886" y="1874"/>
                </a:lnTo>
                <a:lnTo>
                  <a:pt x="2878" y="1874"/>
                </a:lnTo>
                <a:lnTo>
                  <a:pt x="2876" y="1880"/>
                </a:lnTo>
                <a:lnTo>
                  <a:pt x="2869" y="1883"/>
                </a:lnTo>
                <a:lnTo>
                  <a:pt x="2866" y="1888"/>
                </a:lnTo>
                <a:lnTo>
                  <a:pt x="2861" y="1890"/>
                </a:lnTo>
                <a:lnTo>
                  <a:pt x="2862" y="1895"/>
                </a:lnTo>
                <a:lnTo>
                  <a:pt x="2869" y="1895"/>
                </a:lnTo>
                <a:lnTo>
                  <a:pt x="2866" y="1900"/>
                </a:lnTo>
                <a:lnTo>
                  <a:pt x="2859" y="1905"/>
                </a:lnTo>
                <a:lnTo>
                  <a:pt x="2854" y="1905"/>
                </a:lnTo>
                <a:lnTo>
                  <a:pt x="2852" y="1910"/>
                </a:lnTo>
                <a:lnTo>
                  <a:pt x="2844" y="1908"/>
                </a:lnTo>
                <a:lnTo>
                  <a:pt x="2849" y="1915"/>
                </a:lnTo>
                <a:lnTo>
                  <a:pt x="2838" y="1919"/>
                </a:lnTo>
                <a:lnTo>
                  <a:pt x="2837" y="1929"/>
                </a:lnTo>
                <a:lnTo>
                  <a:pt x="2830" y="1927"/>
                </a:lnTo>
                <a:lnTo>
                  <a:pt x="2835" y="1937"/>
                </a:lnTo>
                <a:lnTo>
                  <a:pt x="2827" y="1939"/>
                </a:lnTo>
                <a:lnTo>
                  <a:pt x="2823" y="1948"/>
                </a:lnTo>
                <a:lnTo>
                  <a:pt x="2816" y="1951"/>
                </a:lnTo>
                <a:lnTo>
                  <a:pt x="2818" y="1960"/>
                </a:lnTo>
                <a:lnTo>
                  <a:pt x="2810" y="1958"/>
                </a:lnTo>
                <a:lnTo>
                  <a:pt x="2803" y="1963"/>
                </a:lnTo>
                <a:lnTo>
                  <a:pt x="2803" y="1971"/>
                </a:lnTo>
                <a:lnTo>
                  <a:pt x="2796" y="1970"/>
                </a:lnTo>
                <a:lnTo>
                  <a:pt x="2786" y="1978"/>
                </a:lnTo>
                <a:lnTo>
                  <a:pt x="2781" y="1975"/>
                </a:lnTo>
                <a:lnTo>
                  <a:pt x="2776" y="1982"/>
                </a:lnTo>
                <a:lnTo>
                  <a:pt x="2764" y="1980"/>
                </a:lnTo>
                <a:lnTo>
                  <a:pt x="2753" y="1983"/>
                </a:lnTo>
                <a:lnTo>
                  <a:pt x="2750" y="1990"/>
                </a:lnTo>
                <a:lnTo>
                  <a:pt x="2745" y="1994"/>
                </a:lnTo>
                <a:lnTo>
                  <a:pt x="2740" y="1988"/>
                </a:lnTo>
                <a:lnTo>
                  <a:pt x="2738" y="2000"/>
                </a:lnTo>
                <a:lnTo>
                  <a:pt x="2731" y="1994"/>
                </a:lnTo>
                <a:lnTo>
                  <a:pt x="2728" y="1995"/>
                </a:lnTo>
                <a:lnTo>
                  <a:pt x="2730" y="2000"/>
                </a:lnTo>
                <a:lnTo>
                  <a:pt x="2726" y="2005"/>
                </a:lnTo>
                <a:lnTo>
                  <a:pt x="2731" y="2011"/>
                </a:lnTo>
                <a:lnTo>
                  <a:pt x="2738" y="2017"/>
                </a:lnTo>
                <a:lnTo>
                  <a:pt x="2745" y="2022"/>
                </a:lnTo>
                <a:lnTo>
                  <a:pt x="2743" y="2022"/>
                </a:lnTo>
                <a:lnTo>
                  <a:pt x="2747" y="2024"/>
                </a:lnTo>
                <a:lnTo>
                  <a:pt x="2750" y="2031"/>
                </a:lnTo>
                <a:lnTo>
                  <a:pt x="2750" y="2033"/>
                </a:lnTo>
                <a:lnTo>
                  <a:pt x="2755" y="2046"/>
                </a:lnTo>
                <a:lnTo>
                  <a:pt x="2757" y="2050"/>
                </a:lnTo>
                <a:lnTo>
                  <a:pt x="2762" y="2060"/>
                </a:lnTo>
                <a:lnTo>
                  <a:pt x="2765" y="2070"/>
                </a:lnTo>
                <a:lnTo>
                  <a:pt x="2767" y="2072"/>
                </a:lnTo>
                <a:lnTo>
                  <a:pt x="2770" y="2080"/>
                </a:lnTo>
                <a:lnTo>
                  <a:pt x="2770" y="2082"/>
                </a:lnTo>
                <a:lnTo>
                  <a:pt x="2776" y="2092"/>
                </a:lnTo>
                <a:lnTo>
                  <a:pt x="2777" y="2096"/>
                </a:lnTo>
                <a:lnTo>
                  <a:pt x="2776" y="2099"/>
                </a:lnTo>
                <a:lnTo>
                  <a:pt x="2779" y="2099"/>
                </a:lnTo>
                <a:lnTo>
                  <a:pt x="2787" y="2104"/>
                </a:lnTo>
                <a:lnTo>
                  <a:pt x="2787" y="2108"/>
                </a:lnTo>
                <a:lnTo>
                  <a:pt x="2794" y="2111"/>
                </a:lnTo>
                <a:lnTo>
                  <a:pt x="2801" y="2133"/>
                </a:lnTo>
                <a:lnTo>
                  <a:pt x="2801" y="2136"/>
                </a:lnTo>
                <a:lnTo>
                  <a:pt x="2806" y="2135"/>
                </a:lnTo>
                <a:lnTo>
                  <a:pt x="2818" y="2135"/>
                </a:lnTo>
                <a:lnTo>
                  <a:pt x="2821" y="2133"/>
                </a:lnTo>
                <a:lnTo>
                  <a:pt x="2823" y="2135"/>
                </a:lnTo>
                <a:lnTo>
                  <a:pt x="2816" y="2143"/>
                </a:lnTo>
                <a:lnTo>
                  <a:pt x="2816" y="2148"/>
                </a:lnTo>
                <a:lnTo>
                  <a:pt x="2811" y="2148"/>
                </a:lnTo>
                <a:lnTo>
                  <a:pt x="2815" y="2150"/>
                </a:lnTo>
                <a:lnTo>
                  <a:pt x="2811" y="2155"/>
                </a:lnTo>
                <a:lnTo>
                  <a:pt x="2813" y="2157"/>
                </a:lnTo>
                <a:lnTo>
                  <a:pt x="2811" y="2167"/>
                </a:lnTo>
                <a:lnTo>
                  <a:pt x="2811" y="2169"/>
                </a:lnTo>
                <a:lnTo>
                  <a:pt x="2816" y="2172"/>
                </a:lnTo>
                <a:lnTo>
                  <a:pt x="2815" y="2176"/>
                </a:lnTo>
                <a:lnTo>
                  <a:pt x="2818" y="2179"/>
                </a:lnTo>
                <a:lnTo>
                  <a:pt x="2813" y="2184"/>
                </a:lnTo>
                <a:lnTo>
                  <a:pt x="2816" y="2187"/>
                </a:lnTo>
                <a:lnTo>
                  <a:pt x="2825" y="2182"/>
                </a:lnTo>
                <a:lnTo>
                  <a:pt x="2833" y="2179"/>
                </a:lnTo>
                <a:lnTo>
                  <a:pt x="2838" y="2182"/>
                </a:lnTo>
                <a:lnTo>
                  <a:pt x="2838" y="2191"/>
                </a:lnTo>
                <a:lnTo>
                  <a:pt x="2842" y="2196"/>
                </a:lnTo>
                <a:lnTo>
                  <a:pt x="2845" y="2199"/>
                </a:lnTo>
                <a:lnTo>
                  <a:pt x="2852" y="2199"/>
                </a:lnTo>
                <a:lnTo>
                  <a:pt x="2857" y="2203"/>
                </a:lnTo>
                <a:lnTo>
                  <a:pt x="2862" y="2210"/>
                </a:lnTo>
                <a:lnTo>
                  <a:pt x="2861" y="2215"/>
                </a:lnTo>
                <a:lnTo>
                  <a:pt x="2871" y="2215"/>
                </a:lnTo>
                <a:lnTo>
                  <a:pt x="2872" y="2223"/>
                </a:lnTo>
                <a:lnTo>
                  <a:pt x="2871" y="2228"/>
                </a:lnTo>
                <a:lnTo>
                  <a:pt x="2874" y="2228"/>
                </a:lnTo>
                <a:lnTo>
                  <a:pt x="2874" y="2232"/>
                </a:lnTo>
                <a:lnTo>
                  <a:pt x="2883" y="2233"/>
                </a:lnTo>
                <a:lnTo>
                  <a:pt x="2891" y="2240"/>
                </a:lnTo>
                <a:lnTo>
                  <a:pt x="2893" y="2245"/>
                </a:lnTo>
                <a:lnTo>
                  <a:pt x="2898" y="2247"/>
                </a:lnTo>
                <a:lnTo>
                  <a:pt x="2905" y="2257"/>
                </a:lnTo>
                <a:lnTo>
                  <a:pt x="2915" y="2261"/>
                </a:lnTo>
                <a:lnTo>
                  <a:pt x="2918" y="2261"/>
                </a:lnTo>
                <a:lnTo>
                  <a:pt x="2927" y="2259"/>
                </a:lnTo>
                <a:lnTo>
                  <a:pt x="2940" y="2259"/>
                </a:lnTo>
                <a:lnTo>
                  <a:pt x="2949" y="2257"/>
                </a:lnTo>
                <a:lnTo>
                  <a:pt x="2951" y="2262"/>
                </a:lnTo>
                <a:lnTo>
                  <a:pt x="2956" y="2267"/>
                </a:lnTo>
                <a:lnTo>
                  <a:pt x="2968" y="2269"/>
                </a:lnTo>
                <a:lnTo>
                  <a:pt x="2971" y="2273"/>
                </a:lnTo>
                <a:lnTo>
                  <a:pt x="2983" y="2271"/>
                </a:lnTo>
                <a:lnTo>
                  <a:pt x="2991" y="2271"/>
                </a:lnTo>
                <a:lnTo>
                  <a:pt x="3000" y="2276"/>
                </a:lnTo>
                <a:lnTo>
                  <a:pt x="3002" y="2273"/>
                </a:lnTo>
                <a:lnTo>
                  <a:pt x="3002" y="2262"/>
                </a:lnTo>
                <a:lnTo>
                  <a:pt x="3000" y="2259"/>
                </a:lnTo>
                <a:lnTo>
                  <a:pt x="3000" y="2256"/>
                </a:lnTo>
                <a:lnTo>
                  <a:pt x="3010" y="2252"/>
                </a:lnTo>
                <a:lnTo>
                  <a:pt x="3012" y="2242"/>
                </a:lnTo>
                <a:lnTo>
                  <a:pt x="3017" y="2237"/>
                </a:lnTo>
                <a:lnTo>
                  <a:pt x="3019" y="2227"/>
                </a:lnTo>
                <a:lnTo>
                  <a:pt x="3012" y="2220"/>
                </a:lnTo>
                <a:lnTo>
                  <a:pt x="3020" y="2213"/>
                </a:lnTo>
                <a:lnTo>
                  <a:pt x="3032" y="2211"/>
                </a:lnTo>
                <a:lnTo>
                  <a:pt x="3034" y="2206"/>
                </a:lnTo>
                <a:lnTo>
                  <a:pt x="3039" y="2208"/>
                </a:lnTo>
                <a:lnTo>
                  <a:pt x="3039" y="2204"/>
                </a:lnTo>
                <a:lnTo>
                  <a:pt x="3042" y="2199"/>
                </a:lnTo>
                <a:lnTo>
                  <a:pt x="3042" y="2191"/>
                </a:lnTo>
                <a:lnTo>
                  <a:pt x="3039" y="2187"/>
                </a:lnTo>
                <a:lnTo>
                  <a:pt x="3041" y="2182"/>
                </a:lnTo>
                <a:lnTo>
                  <a:pt x="3029" y="2177"/>
                </a:lnTo>
                <a:lnTo>
                  <a:pt x="3027" y="2174"/>
                </a:lnTo>
                <a:lnTo>
                  <a:pt x="3036" y="2165"/>
                </a:lnTo>
                <a:lnTo>
                  <a:pt x="3042" y="2164"/>
                </a:lnTo>
                <a:lnTo>
                  <a:pt x="3053" y="2165"/>
                </a:lnTo>
                <a:lnTo>
                  <a:pt x="3059" y="2157"/>
                </a:lnTo>
                <a:lnTo>
                  <a:pt x="3065" y="2159"/>
                </a:lnTo>
                <a:lnTo>
                  <a:pt x="3065" y="2153"/>
                </a:lnTo>
                <a:lnTo>
                  <a:pt x="3068" y="2148"/>
                </a:lnTo>
                <a:lnTo>
                  <a:pt x="3070" y="2142"/>
                </a:lnTo>
                <a:lnTo>
                  <a:pt x="3075" y="2142"/>
                </a:lnTo>
                <a:lnTo>
                  <a:pt x="3080" y="2135"/>
                </a:lnTo>
                <a:lnTo>
                  <a:pt x="3087" y="2136"/>
                </a:lnTo>
                <a:lnTo>
                  <a:pt x="3092" y="2138"/>
                </a:lnTo>
                <a:lnTo>
                  <a:pt x="3099" y="2138"/>
                </a:lnTo>
                <a:lnTo>
                  <a:pt x="3105" y="2136"/>
                </a:lnTo>
                <a:lnTo>
                  <a:pt x="3114" y="2130"/>
                </a:lnTo>
                <a:lnTo>
                  <a:pt x="3119" y="2128"/>
                </a:lnTo>
                <a:lnTo>
                  <a:pt x="3119" y="2130"/>
                </a:lnTo>
                <a:lnTo>
                  <a:pt x="3129" y="2130"/>
                </a:lnTo>
                <a:lnTo>
                  <a:pt x="3136" y="2133"/>
                </a:lnTo>
                <a:lnTo>
                  <a:pt x="3141" y="2131"/>
                </a:lnTo>
                <a:lnTo>
                  <a:pt x="3148" y="2133"/>
                </a:lnTo>
                <a:lnTo>
                  <a:pt x="3155" y="2130"/>
                </a:lnTo>
                <a:lnTo>
                  <a:pt x="3167" y="2128"/>
                </a:lnTo>
                <a:lnTo>
                  <a:pt x="3170" y="2125"/>
                </a:lnTo>
                <a:lnTo>
                  <a:pt x="3180" y="2126"/>
                </a:lnTo>
                <a:lnTo>
                  <a:pt x="3182" y="2123"/>
                </a:lnTo>
                <a:lnTo>
                  <a:pt x="3190" y="2123"/>
                </a:lnTo>
                <a:lnTo>
                  <a:pt x="3197" y="2121"/>
                </a:lnTo>
                <a:lnTo>
                  <a:pt x="3199" y="2118"/>
                </a:lnTo>
                <a:lnTo>
                  <a:pt x="3211" y="2114"/>
                </a:lnTo>
                <a:lnTo>
                  <a:pt x="3219" y="2106"/>
                </a:lnTo>
                <a:lnTo>
                  <a:pt x="3231" y="2104"/>
                </a:lnTo>
                <a:lnTo>
                  <a:pt x="3240" y="2097"/>
                </a:lnTo>
                <a:close/>
                <a:moveTo>
                  <a:pt x="3857" y="1362"/>
                </a:moveTo>
                <a:lnTo>
                  <a:pt x="3860" y="1364"/>
                </a:lnTo>
                <a:lnTo>
                  <a:pt x="3867" y="1366"/>
                </a:lnTo>
                <a:lnTo>
                  <a:pt x="3877" y="1369"/>
                </a:lnTo>
                <a:lnTo>
                  <a:pt x="3880" y="1371"/>
                </a:lnTo>
                <a:lnTo>
                  <a:pt x="3884" y="1373"/>
                </a:lnTo>
                <a:lnTo>
                  <a:pt x="3887" y="1373"/>
                </a:lnTo>
                <a:lnTo>
                  <a:pt x="3899" y="1378"/>
                </a:lnTo>
                <a:lnTo>
                  <a:pt x="3909" y="1381"/>
                </a:lnTo>
                <a:lnTo>
                  <a:pt x="3913" y="1381"/>
                </a:lnTo>
                <a:lnTo>
                  <a:pt x="3916" y="1381"/>
                </a:lnTo>
                <a:lnTo>
                  <a:pt x="3928" y="1381"/>
                </a:lnTo>
                <a:lnTo>
                  <a:pt x="3931" y="1381"/>
                </a:lnTo>
                <a:lnTo>
                  <a:pt x="3942" y="1381"/>
                </a:lnTo>
                <a:lnTo>
                  <a:pt x="3967" y="1381"/>
                </a:lnTo>
                <a:lnTo>
                  <a:pt x="3979" y="1383"/>
                </a:lnTo>
                <a:lnTo>
                  <a:pt x="3994" y="1383"/>
                </a:lnTo>
                <a:lnTo>
                  <a:pt x="4015" y="1383"/>
                </a:lnTo>
                <a:lnTo>
                  <a:pt x="4025" y="1383"/>
                </a:lnTo>
                <a:lnTo>
                  <a:pt x="4039" y="1383"/>
                </a:lnTo>
                <a:lnTo>
                  <a:pt x="4037" y="1381"/>
                </a:lnTo>
                <a:lnTo>
                  <a:pt x="4037" y="1378"/>
                </a:lnTo>
                <a:lnTo>
                  <a:pt x="4039" y="1366"/>
                </a:lnTo>
                <a:lnTo>
                  <a:pt x="4039" y="1357"/>
                </a:lnTo>
                <a:lnTo>
                  <a:pt x="4039" y="1349"/>
                </a:lnTo>
                <a:lnTo>
                  <a:pt x="4039" y="1337"/>
                </a:lnTo>
                <a:lnTo>
                  <a:pt x="4040" y="1332"/>
                </a:lnTo>
                <a:lnTo>
                  <a:pt x="4039" y="1328"/>
                </a:lnTo>
                <a:lnTo>
                  <a:pt x="4040" y="1322"/>
                </a:lnTo>
                <a:lnTo>
                  <a:pt x="4042" y="1313"/>
                </a:lnTo>
                <a:lnTo>
                  <a:pt x="4042" y="1308"/>
                </a:lnTo>
                <a:lnTo>
                  <a:pt x="4044" y="1298"/>
                </a:lnTo>
                <a:lnTo>
                  <a:pt x="4045" y="1288"/>
                </a:lnTo>
                <a:lnTo>
                  <a:pt x="4047" y="1284"/>
                </a:lnTo>
                <a:lnTo>
                  <a:pt x="4049" y="1281"/>
                </a:lnTo>
                <a:lnTo>
                  <a:pt x="4047" y="1277"/>
                </a:lnTo>
                <a:lnTo>
                  <a:pt x="4049" y="1272"/>
                </a:lnTo>
                <a:lnTo>
                  <a:pt x="4052" y="1255"/>
                </a:lnTo>
                <a:lnTo>
                  <a:pt x="4054" y="1250"/>
                </a:lnTo>
                <a:lnTo>
                  <a:pt x="4052" y="1247"/>
                </a:lnTo>
                <a:lnTo>
                  <a:pt x="4056" y="1247"/>
                </a:lnTo>
                <a:lnTo>
                  <a:pt x="4064" y="1250"/>
                </a:lnTo>
                <a:lnTo>
                  <a:pt x="4076" y="1247"/>
                </a:lnTo>
                <a:lnTo>
                  <a:pt x="4081" y="1255"/>
                </a:lnTo>
                <a:lnTo>
                  <a:pt x="4086" y="1255"/>
                </a:lnTo>
                <a:lnTo>
                  <a:pt x="4096" y="1262"/>
                </a:lnTo>
                <a:lnTo>
                  <a:pt x="4101" y="1259"/>
                </a:lnTo>
                <a:lnTo>
                  <a:pt x="4107" y="1254"/>
                </a:lnTo>
                <a:lnTo>
                  <a:pt x="4115" y="1257"/>
                </a:lnTo>
                <a:lnTo>
                  <a:pt x="4122" y="1257"/>
                </a:lnTo>
                <a:lnTo>
                  <a:pt x="4129" y="1260"/>
                </a:lnTo>
                <a:lnTo>
                  <a:pt x="4132" y="1259"/>
                </a:lnTo>
                <a:lnTo>
                  <a:pt x="4135" y="1262"/>
                </a:lnTo>
                <a:lnTo>
                  <a:pt x="4139" y="1259"/>
                </a:lnTo>
                <a:lnTo>
                  <a:pt x="4139" y="1262"/>
                </a:lnTo>
                <a:lnTo>
                  <a:pt x="4154" y="1262"/>
                </a:lnTo>
                <a:lnTo>
                  <a:pt x="4164" y="1262"/>
                </a:lnTo>
                <a:lnTo>
                  <a:pt x="4171" y="1262"/>
                </a:lnTo>
                <a:lnTo>
                  <a:pt x="4183" y="1262"/>
                </a:lnTo>
                <a:lnTo>
                  <a:pt x="4195" y="1262"/>
                </a:lnTo>
                <a:lnTo>
                  <a:pt x="4198" y="1262"/>
                </a:lnTo>
                <a:lnTo>
                  <a:pt x="4207" y="1262"/>
                </a:lnTo>
                <a:lnTo>
                  <a:pt x="4217" y="1262"/>
                </a:lnTo>
                <a:lnTo>
                  <a:pt x="4227" y="1262"/>
                </a:lnTo>
                <a:lnTo>
                  <a:pt x="4237" y="1262"/>
                </a:lnTo>
                <a:lnTo>
                  <a:pt x="4249" y="1260"/>
                </a:lnTo>
                <a:lnTo>
                  <a:pt x="4258" y="1262"/>
                </a:lnTo>
                <a:lnTo>
                  <a:pt x="4265" y="1262"/>
                </a:lnTo>
                <a:lnTo>
                  <a:pt x="4271" y="1262"/>
                </a:lnTo>
                <a:lnTo>
                  <a:pt x="4280" y="1260"/>
                </a:lnTo>
                <a:lnTo>
                  <a:pt x="4278" y="1264"/>
                </a:lnTo>
                <a:lnTo>
                  <a:pt x="4278" y="1271"/>
                </a:lnTo>
                <a:lnTo>
                  <a:pt x="4277" y="1277"/>
                </a:lnTo>
                <a:lnTo>
                  <a:pt x="4275" y="1286"/>
                </a:lnTo>
                <a:lnTo>
                  <a:pt x="4275" y="1291"/>
                </a:lnTo>
                <a:lnTo>
                  <a:pt x="4271" y="1299"/>
                </a:lnTo>
                <a:lnTo>
                  <a:pt x="4273" y="1303"/>
                </a:lnTo>
                <a:lnTo>
                  <a:pt x="4268" y="1315"/>
                </a:lnTo>
                <a:lnTo>
                  <a:pt x="4265" y="1325"/>
                </a:lnTo>
                <a:lnTo>
                  <a:pt x="4265" y="1327"/>
                </a:lnTo>
                <a:lnTo>
                  <a:pt x="4261" y="1335"/>
                </a:lnTo>
                <a:lnTo>
                  <a:pt x="4258" y="1340"/>
                </a:lnTo>
                <a:lnTo>
                  <a:pt x="4254" y="1349"/>
                </a:lnTo>
                <a:lnTo>
                  <a:pt x="4251" y="1356"/>
                </a:lnTo>
                <a:lnTo>
                  <a:pt x="4251" y="1359"/>
                </a:lnTo>
                <a:lnTo>
                  <a:pt x="4246" y="1368"/>
                </a:lnTo>
                <a:lnTo>
                  <a:pt x="4246" y="1373"/>
                </a:lnTo>
                <a:lnTo>
                  <a:pt x="4239" y="1383"/>
                </a:lnTo>
                <a:lnTo>
                  <a:pt x="4239" y="1386"/>
                </a:lnTo>
                <a:lnTo>
                  <a:pt x="4236" y="1395"/>
                </a:lnTo>
                <a:lnTo>
                  <a:pt x="4232" y="1402"/>
                </a:lnTo>
                <a:lnTo>
                  <a:pt x="4229" y="1407"/>
                </a:lnTo>
                <a:lnTo>
                  <a:pt x="4227" y="1413"/>
                </a:lnTo>
                <a:lnTo>
                  <a:pt x="4222" y="1422"/>
                </a:lnTo>
                <a:lnTo>
                  <a:pt x="4217" y="1432"/>
                </a:lnTo>
                <a:lnTo>
                  <a:pt x="4219" y="1442"/>
                </a:lnTo>
                <a:lnTo>
                  <a:pt x="4217" y="1446"/>
                </a:lnTo>
                <a:lnTo>
                  <a:pt x="4212" y="1456"/>
                </a:lnTo>
                <a:lnTo>
                  <a:pt x="4210" y="1465"/>
                </a:lnTo>
                <a:lnTo>
                  <a:pt x="4207" y="1475"/>
                </a:lnTo>
                <a:lnTo>
                  <a:pt x="4205" y="1482"/>
                </a:lnTo>
                <a:lnTo>
                  <a:pt x="4200" y="1492"/>
                </a:lnTo>
                <a:lnTo>
                  <a:pt x="4198" y="1497"/>
                </a:lnTo>
                <a:lnTo>
                  <a:pt x="4197" y="1505"/>
                </a:lnTo>
                <a:lnTo>
                  <a:pt x="4193" y="1517"/>
                </a:lnTo>
                <a:lnTo>
                  <a:pt x="4193" y="1519"/>
                </a:lnTo>
                <a:lnTo>
                  <a:pt x="4192" y="1524"/>
                </a:lnTo>
                <a:lnTo>
                  <a:pt x="4190" y="1536"/>
                </a:lnTo>
                <a:lnTo>
                  <a:pt x="4190" y="1546"/>
                </a:lnTo>
                <a:lnTo>
                  <a:pt x="4188" y="1558"/>
                </a:lnTo>
                <a:lnTo>
                  <a:pt x="4185" y="1567"/>
                </a:lnTo>
                <a:lnTo>
                  <a:pt x="4180" y="1587"/>
                </a:lnTo>
                <a:lnTo>
                  <a:pt x="4180" y="1592"/>
                </a:lnTo>
                <a:lnTo>
                  <a:pt x="4180" y="1599"/>
                </a:lnTo>
                <a:lnTo>
                  <a:pt x="4176" y="1606"/>
                </a:lnTo>
                <a:lnTo>
                  <a:pt x="4175" y="1611"/>
                </a:lnTo>
                <a:lnTo>
                  <a:pt x="4171" y="1616"/>
                </a:lnTo>
                <a:lnTo>
                  <a:pt x="4168" y="1623"/>
                </a:lnTo>
                <a:lnTo>
                  <a:pt x="4164" y="1628"/>
                </a:lnTo>
                <a:lnTo>
                  <a:pt x="4163" y="1631"/>
                </a:lnTo>
                <a:lnTo>
                  <a:pt x="4159" y="1638"/>
                </a:lnTo>
                <a:lnTo>
                  <a:pt x="4156" y="1645"/>
                </a:lnTo>
                <a:lnTo>
                  <a:pt x="4149" y="1653"/>
                </a:lnTo>
                <a:lnTo>
                  <a:pt x="4147" y="1655"/>
                </a:lnTo>
                <a:lnTo>
                  <a:pt x="4142" y="1664"/>
                </a:lnTo>
                <a:lnTo>
                  <a:pt x="4141" y="1670"/>
                </a:lnTo>
                <a:lnTo>
                  <a:pt x="4142" y="1675"/>
                </a:lnTo>
                <a:lnTo>
                  <a:pt x="4139" y="1682"/>
                </a:lnTo>
                <a:lnTo>
                  <a:pt x="4137" y="1692"/>
                </a:lnTo>
                <a:lnTo>
                  <a:pt x="4135" y="1696"/>
                </a:lnTo>
                <a:lnTo>
                  <a:pt x="4132" y="1704"/>
                </a:lnTo>
                <a:lnTo>
                  <a:pt x="4130" y="1708"/>
                </a:lnTo>
                <a:lnTo>
                  <a:pt x="4124" y="1715"/>
                </a:lnTo>
                <a:lnTo>
                  <a:pt x="4122" y="1718"/>
                </a:lnTo>
                <a:lnTo>
                  <a:pt x="4117" y="1723"/>
                </a:lnTo>
                <a:lnTo>
                  <a:pt x="4110" y="1728"/>
                </a:lnTo>
                <a:lnTo>
                  <a:pt x="4103" y="1735"/>
                </a:lnTo>
                <a:lnTo>
                  <a:pt x="4093" y="1742"/>
                </a:lnTo>
                <a:lnTo>
                  <a:pt x="4086" y="1747"/>
                </a:lnTo>
                <a:lnTo>
                  <a:pt x="4078" y="1755"/>
                </a:lnTo>
                <a:lnTo>
                  <a:pt x="4067" y="1764"/>
                </a:lnTo>
                <a:lnTo>
                  <a:pt x="4066" y="1764"/>
                </a:lnTo>
                <a:lnTo>
                  <a:pt x="4057" y="1772"/>
                </a:lnTo>
                <a:lnTo>
                  <a:pt x="4052" y="1776"/>
                </a:lnTo>
                <a:lnTo>
                  <a:pt x="4052" y="1779"/>
                </a:lnTo>
                <a:lnTo>
                  <a:pt x="4047" y="1774"/>
                </a:lnTo>
                <a:lnTo>
                  <a:pt x="4047" y="1777"/>
                </a:lnTo>
                <a:lnTo>
                  <a:pt x="4040" y="1774"/>
                </a:lnTo>
                <a:lnTo>
                  <a:pt x="4033" y="1774"/>
                </a:lnTo>
                <a:lnTo>
                  <a:pt x="4039" y="1777"/>
                </a:lnTo>
                <a:lnTo>
                  <a:pt x="4032" y="1777"/>
                </a:lnTo>
                <a:lnTo>
                  <a:pt x="4037" y="1783"/>
                </a:lnTo>
                <a:lnTo>
                  <a:pt x="4042" y="1777"/>
                </a:lnTo>
                <a:lnTo>
                  <a:pt x="4049" y="1781"/>
                </a:lnTo>
                <a:lnTo>
                  <a:pt x="4042" y="1786"/>
                </a:lnTo>
                <a:lnTo>
                  <a:pt x="4037" y="1791"/>
                </a:lnTo>
                <a:lnTo>
                  <a:pt x="4028" y="1798"/>
                </a:lnTo>
                <a:lnTo>
                  <a:pt x="4027" y="1800"/>
                </a:lnTo>
                <a:lnTo>
                  <a:pt x="4015" y="1803"/>
                </a:lnTo>
                <a:lnTo>
                  <a:pt x="4010" y="1805"/>
                </a:lnTo>
                <a:lnTo>
                  <a:pt x="4003" y="1808"/>
                </a:lnTo>
                <a:lnTo>
                  <a:pt x="3994" y="1812"/>
                </a:lnTo>
                <a:lnTo>
                  <a:pt x="3982" y="1815"/>
                </a:lnTo>
                <a:lnTo>
                  <a:pt x="3972" y="1817"/>
                </a:lnTo>
                <a:lnTo>
                  <a:pt x="3962" y="1822"/>
                </a:lnTo>
                <a:lnTo>
                  <a:pt x="3954" y="1830"/>
                </a:lnTo>
                <a:lnTo>
                  <a:pt x="3948" y="1835"/>
                </a:lnTo>
                <a:lnTo>
                  <a:pt x="3940" y="1844"/>
                </a:lnTo>
                <a:lnTo>
                  <a:pt x="3935" y="1849"/>
                </a:lnTo>
                <a:lnTo>
                  <a:pt x="3928" y="1854"/>
                </a:lnTo>
                <a:lnTo>
                  <a:pt x="3926" y="1857"/>
                </a:lnTo>
                <a:lnTo>
                  <a:pt x="3920" y="1866"/>
                </a:lnTo>
                <a:lnTo>
                  <a:pt x="3916" y="1868"/>
                </a:lnTo>
                <a:lnTo>
                  <a:pt x="3911" y="1874"/>
                </a:lnTo>
                <a:lnTo>
                  <a:pt x="3906" y="1878"/>
                </a:lnTo>
                <a:lnTo>
                  <a:pt x="3904" y="1880"/>
                </a:lnTo>
                <a:lnTo>
                  <a:pt x="3894" y="1888"/>
                </a:lnTo>
                <a:lnTo>
                  <a:pt x="3892" y="1890"/>
                </a:lnTo>
                <a:lnTo>
                  <a:pt x="3889" y="1891"/>
                </a:lnTo>
                <a:lnTo>
                  <a:pt x="3886" y="1897"/>
                </a:lnTo>
                <a:lnTo>
                  <a:pt x="3879" y="1902"/>
                </a:lnTo>
                <a:lnTo>
                  <a:pt x="3870" y="1912"/>
                </a:lnTo>
                <a:lnTo>
                  <a:pt x="3867" y="1914"/>
                </a:lnTo>
                <a:lnTo>
                  <a:pt x="3862" y="1920"/>
                </a:lnTo>
                <a:lnTo>
                  <a:pt x="3853" y="1927"/>
                </a:lnTo>
                <a:lnTo>
                  <a:pt x="3848" y="1932"/>
                </a:lnTo>
                <a:lnTo>
                  <a:pt x="3847" y="1936"/>
                </a:lnTo>
                <a:lnTo>
                  <a:pt x="3841" y="1939"/>
                </a:lnTo>
                <a:lnTo>
                  <a:pt x="3836" y="1948"/>
                </a:lnTo>
                <a:lnTo>
                  <a:pt x="3833" y="1951"/>
                </a:lnTo>
                <a:lnTo>
                  <a:pt x="3831" y="1953"/>
                </a:lnTo>
                <a:lnTo>
                  <a:pt x="3828" y="1958"/>
                </a:lnTo>
                <a:lnTo>
                  <a:pt x="3819" y="1965"/>
                </a:lnTo>
                <a:lnTo>
                  <a:pt x="3816" y="1973"/>
                </a:lnTo>
                <a:lnTo>
                  <a:pt x="3814" y="1975"/>
                </a:lnTo>
                <a:lnTo>
                  <a:pt x="3806" y="1982"/>
                </a:lnTo>
                <a:lnTo>
                  <a:pt x="3806" y="1983"/>
                </a:lnTo>
                <a:lnTo>
                  <a:pt x="3799" y="1994"/>
                </a:lnTo>
                <a:lnTo>
                  <a:pt x="3790" y="2002"/>
                </a:lnTo>
                <a:lnTo>
                  <a:pt x="3789" y="2007"/>
                </a:lnTo>
                <a:lnTo>
                  <a:pt x="3787" y="2009"/>
                </a:lnTo>
                <a:lnTo>
                  <a:pt x="3780" y="2019"/>
                </a:lnTo>
                <a:lnTo>
                  <a:pt x="3779" y="2024"/>
                </a:lnTo>
                <a:lnTo>
                  <a:pt x="3772" y="2034"/>
                </a:lnTo>
                <a:lnTo>
                  <a:pt x="3770" y="2036"/>
                </a:lnTo>
                <a:lnTo>
                  <a:pt x="3767" y="2045"/>
                </a:lnTo>
                <a:lnTo>
                  <a:pt x="3765" y="2056"/>
                </a:lnTo>
                <a:lnTo>
                  <a:pt x="3768" y="2062"/>
                </a:lnTo>
                <a:lnTo>
                  <a:pt x="3765" y="2063"/>
                </a:lnTo>
                <a:lnTo>
                  <a:pt x="3760" y="2060"/>
                </a:lnTo>
                <a:lnTo>
                  <a:pt x="3753" y="2065"/>
                </a:lnTo>
                <a:lnTo>
                  <a:pt x="3756" y="2070"/>
                </a:lnTo>
                <a:lnTo>
                  <a:pt x="3756" y="2063"/>
                </a:lnTo>
                <a:lnTo>
                  <a:pt x="3765" y="2065"/>
                </a:lnTo>
                <a:lnTo>
                  <a:pt x="3762" y="2067"/>
                </a:lnTo>
                <a:lnTo>
                  <a:pt x="3770" y="2060"/>
                </a:lnTo>
                <a:lnTo>
                  <a:pt x="3770" y="2065"/>
                </a:lnTo>
                <a:lnTo>
                  <a:pt x="3763" y="2072"/>
                </a:lnTo>
                <a:lnTo>
                  <a:pt x="3758" y="2075"/>
                </a:lnTo>
                <a:lnTo>
                  <a:pt x="3756" y="2079"/>
                </a:lnTo>
                <a:lnTo>
                  <a:pt x="3751" y="2085"/>
                </a:lnTo>
                <a:lnTo>
                  <a:pt x="3745" y="2092"/>
                </a:lnTo>
                <a:lnTo>
                  <a:pt x="3741" y="2094"/>
                </a:lnTo>
                <a:lnTo>
                  <a:pt x="3738" y="2097"/>
                </a:lnTo>
                <a:lnTo>
                  <a:pt x="3733" y="2101"/>
                </a:lnTo>
                <a:lnTo>
                  <a:pt x="3728" y="2106"/>
                </a:lnTo>
                <a:lnTo>
                  <a:pt x="3722" y="2113"/>
                </a:lnTo>
                <a:lnTo>
                  <a:pt x="3716" y="2121"/>
                </a:lnTo>
                <a:lnTo>
                  <a:pt x="3712" y="2131"/>
                </a:lnTo>
                <a:lnTo>
                  <a:pt x="3709" y="2135"/>
                </a:lnTo>
                <a:lnTo>
                  <a:pt x="3704" y="2142"/>
                </a:lnTo>
                <a:lnTo>
                  <a:pt x="3699" y="2150"/>
                </a:lnTo>
                <a:lnTo>
                  <a:pt x="3697" y="2155"/>
                </a:lnTo>
                <a:lnTo>
                  <a:pt x="3694" y="2164"/>
                </a:lnTo>
                <a:lnTo>
                  <a:pt x="3687" y="2169"/>
                </a:lnTo>
                <a:lnTo>
                  <a:pt x="3687" y="2174"/>
                </a:lnTo>
                <a:lnTo>
                  <a:pt x="3683" y="2177"/>
                </a:lnTo>
                <a:lnTo>
                  <a:pt x="3680" y="2186"/>
                </a:lnTo>
                <a:lnTo>
                  <a:pt x="3677" y="2189"/>
                </a:lnTo>
                <a:lnTo>
                  <a:pt x="3671" y="2196"/>
                </a:lnTo>
                <a:lnTo>
                  <a:pt x="3668" y="2201"/>
                </a:lnTo>
                <a:lnTo>
                  <a:pt x="3663" y="2208"/>
                </a:lnTo>
                <a:lnTo>
                  <a:pt x="3663" y="2211"/>
                </a:lnTo>
                <a:lnTo>
                  <a:pt x="3658" y="2220"/>
                </a:lnTo>
                <a:lnTo>
                  <a:pt x="3653" y="2227"/>
                </a:lnTo>
                <a:lnTo>
                  <a:pt x="3649" y="2233"/>
                </a:lnTo>
                <a:lnTo>
                  <a:pt x="3644" y="2240"/>
                </a:lnTo>
                <a:lnTo>
                  <a:pt x="3639" y="2245"/>
                </a:lnTo>
                <a:lnTo>
                  <a:pt x="3634" y="2254"/>
                </a:lnTo>
                <a:lnTo>
                  <a:pt x="3629" y="2259"/>
                </a:lnTo>
                <a:lnTo>
                  <a:pt x="3627" y="2264"/>
                </a:lnTo>
                <a:lnTo>
                  <a:pt x="3620" y="2271"/>
                </a:lnTo>
                <a:lnTo>
                  <a:pt x="3617" y="2276"/>
                </a:lnTo>
                <a:lnTo>
                  <a:pt x="3610" y="2284"/>
                </a:lnTo>
                <a:lnTo>
                  <a:pt x="3610" y="2286"/>
                </a:lnTo>
                <a:lnTo>
                  <a:pt x="3605" y="2291"/>
                </a:lnTo>
                <a:lnTo>
                  <a:pt x="3600" y="2300"/>
                </a:lnTo>
                <a:lnTo>
                  <a:pt x="3595" y="2307"/>
                </a:lnTo>
                <a:lnTo>
                  <a:pt x="3588" y="2317"/>
                </a:lnTo>
                <a:lnTo>
                  <a:pt x="3586" y="2318"/>
                </a:lnTo>
                <a:lnTo>
                  <a:pt x="3586" y="2320"/>
                </a:lnTo>
                <a:lnTo>
                  <a:pt x="3580" y="2325"/>
                </a:lnTo>
                <a:lnTo>
                  <a:pt x="3573" y="2335"/>
                </a:lnTo>
                <a:lnTo>
                  <a:pt x="3568" y="2341"/>
                </a:lnTo>
                <a:lnTo>
                  <a:pt x="3563" y="2346"/>
                </a:lnTo>
                <a:lnTo>
                  <a:pt x="3559" y="2352"/>
                </a:lnTo>
                <a:lnTo>
                  <a:pt x="3556" y="2356"/>
                </a:lnTo>
                <a:lnTo>
                  <a:pt x="3551" y="2363"/>
                </a:lnTo>
                <a:lnTo>
                  <a:pt x="3547" y="2368"/>
                </a:lnTo>
                <a:lnTo>
                  <a:pt x="3541" y="2375"/>
                </a:lnTo>
                <a:lnTo>
                  <a:pt x="3541" y="2378"/>
                </a:lnTo>
                <a:lnTo>
                  <a:pt x="3530" y="2385"/>
                </a:lnTo>
                <a:lnTo>
                  <a:pt x="3525" y="2393"/>
                </a:lnTo>
                <a:lnTo>
                  <a:pt x="3522" y="2397"/>
                </a:lnTo>
                <a:lnTo>
                  <a:pt x="3520" y="2400"/>
                </a:lnTo>
                <a:lnTo>
                  <a:pt x="3515" y="2403"/>
                </a:lnTo>
                <a:lnTo>
                  <a:pt x="3512" y="2409"/>
                </a:lnTo>
                <a:lnTo>
                  <a:pt x="3505" y="2414"/>
                </a:lnTo>
                <a:lnTo>
                  <a:pt x="3498" y="2421"/>
                </a:lnTo>
                <a:lnTo>
                  <a:pt x="3496" y="2426"/>
                </a:lnTo>
                <a:lnTo>
                  <a:pt x="3491" y="2429"/>
                </a:lnTo>
                <a:lnTo>
                  <a:pt x="3490" y="2434"/>
                </a:lnTo>
                <a:lnTo>
                  <a:pt x="3481" y="2439"/>
                </a:lnTo>
                <a:lnTo>
                  <a:pt x="3478" y="2444"/>
                </a:lnTo>
                <a:lnTo>
                  <a:pt x="3469" y="2448"/>
                </a:lnTo>
                <a:lnTo>
                  <a:pt x="3467" y="2453"/>
                </a:lnTo>
                <a:lnTo>
                  <a:pt x="3459" y="2460"/>
                </a:lnTo>
                <a:lnTo>
                  <a:pt x="3456" y="2461"/>
                </a:lnTo>
                <a:lnTo>
                  <a:pt x="3454" y="2463"/>
                </a:lnTo>
                <a:lnTo>
                  <a:pt x="3454" y="2465"/>
                </a:lnTo>
                <a:lnTo>
                  <a:pt x="3445" y="2468"/>
                </a:lnTo>
                <a:lnTo>
                  <a:pt x="3440" y="2475"/>
                </a:lnTo>
                <a:lnTo>
                  <a:pt x="3433" y="2478"/>
                </a:lnTo>
                <a:lnTo>
                  <a:pt x="3422" y="2480"/>
                </a:lnTo>
                <a:lnTo>
                  <a:pt x="3415" y="2482"/>
                </a:lnTo>
                <a:lnTo>
                  <a:pt x="3405" y="2490"/>
                </a:lnTo>
                <a:lnTo>
                  <a:pt x="3405" y="2492"/>
                </a:lnTo>
                <a:lnTo>
                  <a:pt x="3396" y="2502"/>
                </a:lnTo>
                <a:lnTo>
                  <a:pt x="3396" y="2504"/>
                </a:lnTo>
                <a:lnTo>
                  <a:pt x="3388" y="2511"/>
                </a:lnTo>
                <a:lnTo>
                  <a:pt x="3382" y="2512"/>
                </a:lnTo>
                <a:lnTo>
                  <a:pt x="3379" y="2517"/>
                </a:lnTo>
                <a:lnTo>
                  <a:pt x="3371" y="2523"/>
                </a:lnTo>
                <a:lnTo>
                  <a:pt x="3367" y="2524"/>
                </a:lnTo>
                <a:lnTo>
                  <a:pt x="3359" y="2529"/>
                </a:lnTo>
                <a:lnTo>
                  <a:pt x="3357" y="2533"/>
                </a:lnTo>
                <a:lnTo>
                  <a:pt x="3347" y="2538"/>
                </a:lnTo>
                <a:lnTo>
                  <a:pt x="3343" y="2541"/>
                </a:lnTo>
                <a:lnTo>
                  <a:pt x="3335" y="2543"/>
                </a:lnTo>
                <a:lnTo>
                  <a:pt x="3325" y="2546"/>
                </a:lnTo>
                <a:lnTo>
                  <a:pt x="3320" y="2553"/>
                </a:lnTo>
                <a:lnTo>
                  <a:pt x="3320" y="2558"/>
                </a:lnTo>
                <a:lnTo>
                  <a:pt x="3311" y="2562"/>
                </a:lnTo>
                <a:lnTo>
                  <a:pt x="3308" y="2565"/>
                </a:lnTo>
                <a:lnTo>
                  <a:pt x="3306" y="2577"/>
                </a:lnTo>
                <a:lnTo>
                  <a:pt x="3297" y="2579"/>
                </a:lnTo>
                <a:lnTo>
                  <a:pt x="3292" y="2582"/>
                </a:lnTo>
                <a:lnTo>
                  <a:pt x="3286" y="2591"/>
                </a:lnTo>
                <a:lnTo>
                  <a:pt x="3282" y="2592"/>
                </a:lnTo>
                <a:lnTo>
                  <a:pt x="3282" y="2597"/>
                </a:lnTo>
                <a:lnTo>
                  <a:pt x="3277" y="2599"/>
                </a:lnTo>
                <a:lnTo>
                  <a:pt x="3272" y="2609"/>
                </a:lnTo>
                <a:lnTo>
                  <a:pt x="3269" y="2611"/>
                </a:lnTo>
                <a:lnTo>
                  <a:pt x="3269" y="2614"/>
                </a:lnTo>
                <a:lnTo>
                  <a:pt x="3260" y="2616"/>
                </a:lnTo>
                <a:lnTo>
                  <a:pt x="3252" y="2625"/>
                </a:lnTo>
                <a:lnTo>
                  <a:pt x="3248" y="2628"/>
                </a:lnTo>
                <a:lnTo>
                  <a:pt x="3246" y="2633"/>
                </a:lnTo>
                <a:lnTo>
                  <a:pt x="3238" y="2643"/>
                </a:lnTo>
                <a:lnTo>
                  <a:pt x="3235" y="2645"/>
                </a:lnTo>
                <a:lnTo>
                  <a:pt x="3235" y="2650"/>
                </a:lnTo>
                <a:lnTo>
                  <a:pt x="3228" y="2655"/>
                </a:lnTo>
                <a:lnTo>
                  <a:pt x="3216" y="2660"/>
                </a:lnTo>
                <a:lnTo>
                  <a:pt x="3212" y="2669"/>
                </a:lnTo>
                <a:lnTo>
                  <a:pt x="3204" y="2677"/>
                </a:lnTo>
                <a:lnTo>
                  <a:pt x="3201" y="2679"/>
                </a:lnTo>
                <a:lnTo>
                  <a:pt x="3197" y="2684"/>
                </a:lnTo>
                <a:lnTo>
                  <a:pt x="3190" y="2693"/>
                </a:lnTo>
                <a:lnTo>
                  <a:pt x="3184" y="2694"/>
                </a:lnTo>
                <a:lnTo>
                  <a:pt x="3180" y="2703"/>
                </a:lnTo>
                <a:lnTo>
                  <a:pt x="3172" y="2708"/>
                </a:lnTo>
                <a:lnTo>
                  <a:pt x="3165" y="2710"/>
                </a:lnTo>
                <a:lnTo>
                  <a:pt x="3161" y="2716"/>
                </a:lnTo>
                <a:lnTo>
                  <a:pt x="3153" y="2720"/>
                </a:lnTo>
                <a:lnTo>
                  <a:pt x="3144" y="2728"/>
                </a:lnTo>
                <a:lnTo>
                  <a:pt x="3143" y="2734"/>
                </a:lnTo>
                <a:lnTo>
                  <a:pt x="3138" y="2735"/>
                </a:lnTo>
                <a:lnTo>
                  <a:pt x="3131" y="2742"/>
                </a:lnTo>
                <a:lnTo>
                  <a:pt x="3127" y="2744"/>
                </a:lnTo>
                <a:lnTo>
                  <a:pt x="3119" y="2751"/>
                </a:lnTo>
                <a:lnTo>
                  <a:pt x="3117" y="2757"/>
                </a:lnTo>
                <a:lnTo>
                  <a:pt x="3105" y="2762"/>
                </a:lnTo>
                <a:lnTo>
                  <a:pt x="3104" y="2766"/>
                </a:lnTo>
                <a:lnTo>
                  <a:pt x="3099" y="2768"/>
                </a:lnTo>
                <a:lnTo>
                  <a:pt x="3092" y="2776"/>
                </a:lnTo>
                <a:lnTo>
                  <a:pt x="3090" y="2781"/>
                </a:lnTo>
                <a:lnTo>
                  <a:pt x="3083" y="2783"/>
                </a:lnTo>
                <a:lnTo>
                  <a:pt x="3080" y="2790"/>
                </a:lnTo>
                <a:lnTo>
                  <a:pt x="3073" y="2791"/>
                </a:lnTo>
                <a:lnTo>
                  <a:pt x="3070" y="2793"/>
                </a:lnTo>
                <a:lnTo>
                  <a:pt x="3059" y="2796"/>
                </a:lnTo>
                <a:lnTo>
                  <a:pt x="3054" y="2803"/>
                </a:lnTo>
                <a:lnTo>
                  <a:pt x="3049" y="2807"/>
                </a:lnTo>
                <a:lnTo>
                  <a:pt x="3044" y="2812"/>
                </a:lnTo>
                <a:lnTo>
                  <a:pt x="3042" y="2817"/>
                </a:lnTo>
                <a:lnTo>
                  <a:pt x="3036" y="2817"/>
                </a:lnTo>
                <a:lnTo>
                  <a:pt x="3025" y="2822"/>
                </a:lnTo>
                <a:lnTo>
                  <a:pt x="3020" y="2825"/>
                </a:lnTo>
                <a:lnTo>
                  <a:pt x="3015" y="2830"/>
                </a:lnTo>
                <a:lnTo>
                  <a:pt x="3005" y="2836"/>
                </a:lnTo>
                <a:lnTo>
                  <a:pt x="2993" y="2837"/>
                </a:lnTo>
                <a:lnTo>
                  <a:pt x="2990" y="2839"/>
                </a:lnTo>
                <a:lnTo>
                  <a:pt x="2981" y="2844"/>
                </a:lnTo>
                <a:lnTo>
                  <a:pt x="2976" y="2849"/>
                </a:lnTo>
                <a:lnTo>
                  <a:pt x="2976" y="2856"/>
                </a:lnTo>
                <a:lnTo>
                  <a:pt x="2973" y="2858"/>
                </a:lnTo>
                <a:lnTo>
                  <a:pt x="2969" y="2866"/>
                </a:lnTo>
                <a:lnTo>
                  <a:pt x="2964" y="2870"/>
                </a:lnTo>
                <a:lnTo>
                  <a:pt x="2966" y="2871"/>
                </a:lnTo>
                <a:lnTo>
                  <a:pt x="2959" y="2873"/>
                </a:lnTo>
                <a:lnTo>
                  <a:pt x="2952" y="2880"/>
                </a:lnTo>
                <a:lnTo>
                  <a:pt x="2946" y="2883"/>
                </a:lnTo>
                <a:lnTo>
                  <a:pt x="2940" y="2887"/>
                </a:lnTo>
                <a:lnTo>
                  <a:pt x="2934" y="2890"/>
                </a:lnTo>
                <a:lnTo>
                  <a:pt x="2930" y="2895"/>
                </a:lnTo>
                <a:lnTo>
                  <a:pt x="2923" y="2899"/>
                </a:lnTo>
                <a:lnTo>
                  <a:pt x="2922" y="2902"/>
                </a:lnTo>
                <a:lnTo>
                  <a:pt x="2917" y="2900"/>
                </a:lnTo>
                <a:lnTo>
                  <a:pt x="2920" y="2904"/>
                </a:lnTo>
                <a:lnTo>
                  <a:pt x="2923" y="2902"/>
                </a:lnTo>
                <a:lnTo>
                  <a:pt x="2918" y="2907"/>
                </a:lnTo>
                <a:lnTo>
                  <a:pt x="2913" y="2907"/>
                </a:lnTo>
                <a:lnTo>
                  <a:pt x="2903" y="2914"/>
                </a:lnTo>
                <a:lnTo>
                  <a:pt x="2900" y="2916"/>
                </a:lnTo>
                <a:lnTo>
                  <a:pt x="2898" y="2917"/>
                </a:lnTo>
                <a:lnTo>
                  <a:pt x="2893" y="2919"/>
                </a:lnTo>
                <a:lnTo>
                  <a:pt x="2886" y="2922"/>
                </a:lnTo>
                <a:lnTo>
                  <a:pt x="2881" y="2922"/>
                </a:lnTo>
                <a:lnTo>
                  <a:pt x="2872" y="2927"/>
                </a:lnTo>
                <a:lnTo>
                  <a:pt x="2864" y="2936"/>
                </a:lnTo>
                <a:lnTo>
                  <a:pt x="2855" y="2941"/>
                </a:lnTo>
                <a:lnTo>
                  <a:pt x="2847" y="2948"/>
                </a:lnTo>
                <a:lnTo>
                  <a:pt x="2842" y="2950"/>
                </a:lnTo>
                <a:lnTo>
                  <a:pt x="2838" y="2955"/>
                </a:lnTo>
                <a:lnTo>
                  <a:pt x="2833" y="2955"/>
                </a:lnTo>
                <a:lnTo>
                  <a:pt x="2832" y="2958"/>
                </a:lnTo>
                <a:lnTo>
                  <a:pt x="2820" y="2963"/>
                </a:lnTo>
                <a:lnTo>
                  <a:pt x="2816" y="2967"/>
                </a:lnTo>
                <a:lnTo>
                  <a:pt x="2808" y="2972"/>
                </a:lnTo>
                <a:lnTo>
                  <a:pt x="2806" y="2975"/>
                </a:lnTo>
                <a:lnTo>
                  <a:pt x="2794" y="2978"/>
                </a:lnTo>
                <a:lnTo>
                  <a:pt x="2789" y="2985"/>
                </a:lnTo>
                <a:lnTo>
                  <a:pt x="2779" y="2990"/>
                </a:lnTo>
                <a:lnTo>
                  <a:pt x="2774" y="2992"/>
                </a:lnTo>
                <a:lnTo>
                  <a:pt x="2769" y="2995"/>
                </a:lnTo>
                <a:lnTo>
                  <a:pt x="2765" y="2997"/>
                </a:lnTo>
                <a:lnTo>
                  <a:pt x="2764" y="2999"/>
                </a:lnTo>
                <a:lnTo>
                  <a:pt x="2759" y="3001"/>
                </a:lnTo>
                <a:lnTo>
                  <a:pt x="2750" y="3007"/>
                </a:lnTo>
                <a:lnTo>
                  <a:pt x="2743" y="3011"/>
                </a:lnTo>
                <a:lnTo>
                  <a:pt x="2736" y="3018"/>
                </a:lnTo>
                <a:lnTo>
                  <a:pt x="2730" y="3019"/>
                </a:lnTo>
                <a:lnTo>
                  <a:pt x="2721" y="3023"/>
                </a:lnTo>
                <a:lnTo>
                  <a:pt x="2718" y="3024"/>
                </a:lnTo>
                <a:lnTo>
                  <a:pt x="2716" y="3029"/>
                </a:lnTo>
                <a:lnTo>
                  <a:pt x="2709" y="3035"/>
                </a:lnTo>
                <a:lnTo>
                  <a:pt x="2704" y="3035"/>
                </a:lnTo>
                <a:lnTo>
                  <a:pt x="2696" y="3038"/>
                </a:lnTo>
                <a:lnTo>
                  <a:pt x="2691" y="3043"/>
                </a:lnTo>
                <a:lnTo>
                  <a:pt x="2682" y="3047"/>
                </a:lnTo>
                <a:lnTo>
                  <a:pt x="2672" y="3048"/>
                </a:lnTo>
                <a:lnTo>
                  <a:pt x="2663" y="3050"/>
                </a:lnTo>
                <a:lnTo>
                  <a:pt x="2655" y="3055"/>
                </a:lnTo>
                <a:lnTo>
                  <a:pt x="2645" y="3062"/>
                </a:lnTo>
                <a:lnTo>
                  <a:pt x="2634" y="3064"/>
                </a:lnTo>
                <a:lnTo>
                  <a:pt x="2623" y="3067"/>
                </a:lnTo>
                <a:lnTo>
                  <a:pt x="2612" y="3069"/>
                </a:lnTo>
                <a:lnTo>
                  <a:pt x="2604" y="3074"/>
                </a:lnTo>
                <a:lnTo>
                  <a:pt x="2600" y="3077"/>
                </a:lnTo>
                <a:lnTo>
                  <a:pt x="2589" y="3081"/>
                </a:lnTo>
                <a:lnTo>
                  <a:pt x="2582" y="3086"/>
                </a:lnTo>
                <a:lnTo>
                  <a:pt x="2573" y="3087"/>
                </a:lnTo>
                <a:lnTo>
                  <a:pt x="2565" y="3094"/>
                </a:lnTo>
                <a:lnTo>
                  <a:pt x="2556" y="3096"/>
                </a:lnTo>
                <a:lnTo>
                  <a:pt x="2549" y="3099"/>
                </a:lnTo>
                <a:lnTo>
                  <a:pt x="2546" y="3099"/>
                </a:lnTo>
                <a:lnTo>
                  <a:pt x="2541" y="3101"/>
                </a:lnTo>
                <a:lnTo>
                  <a:pt x="2531" y="3098"/>
                </a:lnTo>
                <a:lnTo>
                  <a:pt x="2519" y="3098"/>
                </a:lnTo>
                <a:lnTo>
                  <a:pt x="2512" y="3098"/>
                </a:lnTo>
                <a:lnTo>
                  <a:pt x="2505" y="3099"/>
                </a:lnTo>
                <a:lnTo>
                  <a:pt x="2495" y="3098"/>
                </a:lnTo>
                <a:lnTo>
                  <a:pt x="2488" y="3094"/>
                </a:lnTo>
                <a:lnTo>
                  <a:pt x="2478" y="3091"/>
                </a:lnTo>
                <a:lnTo>
                  <a:pt x="2470" y="3089"/>
                </a:lnTo>
                <a:lnTo>
                  <a:pt x="2461" y="3086"/>
                </a:lnTo>
                <a:lnTo>
                  <a:pt x="2456" y="3086"/>
                </a:lnTo>
                <a:lnTo>
                  <a:pt x="2447" y="3084"/>
                </a:lnTo>
                <a:lnTo>
                  <a:pt x="2442" y="3082"/>
                </a:lnTo>
                <a:lnTo>
                  <a:pt x="2432" y="3082"/>
                </a:lnTo>
                <a:lnTo>
                  <a:pt x="2427" y="3082"/>
                </a:lnTo>
                <a:lnTo>
                  <a:pt x="2419" y="3082"/>
                </a:lnTo>
                <a:lnTo>
                  <a:pt x="2412" y="3084"/>
                </a:lnTo>
                <a:lnTo>
                  <a:pt x="2400" y="3084"/>
                </a:lnTo>
                <a:lnTo>
                  <a:pt x="2395" y="3086"/>
                </a:lnTo>
                <a:lnTo>
                  <a:pt x="2381" y="3087"/>
                </a:lnTo>
                <a:lnTo>
                  <a:pt x="2376" y="3089"/>
                </a:lnTo>
                <a:lnTo>
                  <a:pt x="2368" y="3092"/>
                </a:lnTo>
                <a:lnTo>
                  <a:pt x="2359" y="3099"/>
                </a:lnTo>
                <a:lnTo>
                  <a:pt x="2354" y="3099"/>
                </a:lnTo>
                <a:lnTo>
                  <a:pt x="2345" y="3106"/>
                </a:lnTo>
                <a:lnTo>
                  <a:pt x="2342" y="3113"/>
                </a:lnTo>
                <a:lnTo>
                  <a:pt x="2344" y="3108"/>
                </a:lnTo>
                <a:lnTo>
                  <a:pt x="2340" y="3108"/>
                </a:lnTo>
                <a:lnTo>
                  <a:pt x="2342" y="3109"/>
                </a:lnTo>
                <a:lnTo>
                  <a:pt x="2337" y="3113"/>
                </a:lnTo>
                <a:lnTo>
                  <a:pt x="2332" y="3118"/>
                </a:lnTo>
                <a:lnTo>
                  <a:pt x="2327" y="3125"/>
                </a:lnTo>
                <a:lnTo>
                  <a:pt x="2327" y="3126"/>
                </a:lnTo>
                <a:lnTo>
                  <a:pt x="2323" y="3133"/>
                </a:lnTo>
                <a:lnTo>
                  <a:pt x="2320" y="3140"/>
                </a:lnTo>
                <a:lnTo>
                  <a:pt x="2320" y="3147"/>
                </a:lnTo>
                <a:lnTo>
                  <a:pt x="2327" y="3149"/>
                </a:lnTo>
                <a:lnTo>
                  <a:pt x="2327" y="3152"/>
                </a:lnTo>
                <a:lnTo>
                  <a:pt x="2328" y="3149"/>
                </a:lnTo>
                <a:lnTo>
                  <a:pt x="2330" y="3155"/>
                </a:lnTo>
                <a:lnTo>
                  <a:pt x="2335" y="3157"/>
                </a:lnTo>
                <a:lnTo>
                  <a:pt x="2339" y="3160"/>
                </a:lnTo>
                <a:lnTo>
                  <a:pt x="2342" y="3169"/>
                </a:lnTo>
                <a:lnTo>
                  <a:pt x="2332" y="3169"/>
                </a:lnTo>
                <a:lnTo>
                  <a:pt x="2323" y="3174"/>
                </a:lnTo>
                <a:lnTo>
                  <a:pt x="2311" y="3174"/>
                </a:lnTo>
                <a:lnTo>
                  <a:pt x="2308" y="3174"/>
                </a:lnTo>
                <a:lnTo>
                  <a:pt x="2300" y="3172"/>
                </a:lnTo>
                <a:lnTo>
                  <a:pt x="2296" y="3171"/>
                </a:lnTo>
                <a:lnTo>
                  <a:pt x="2283" y="3169"/>
                </a:lnTo>
                <a:lnTo>
                  <a:pt x="2276" y="3171"/>
                </a:lnTo>
                <a:lnTo>
                  <a:pt x="2266" y="3171"/>
                </a:lnTo>
                <a:lnTo>
                  <a:pt x="2252" y="3166"/>
                </a:lnTo>
                <a:lnTo>
                  <a:pt x="2242" y="3159"/>
                </a:lnTo>
                <a:lnTo>
                  <a:pt x="2228" y="3155"/>
                </a:lnTo>
                <a:lnTo>
                  <a:pt x="2215" y="3152"/>
                </a:lnTo>
                <a:lnTo>
                  <a:pt x="2203" y="3152"/>
                </a:lnTo>
                <a:lnTo>
                  <a:pt x="2191" y="3152"/>
                </a:lnTo>
                <a:lnTo>
                  <a:pt x="2182" y="3152"/>
                </a:lnTo>
                <a:lnTo>
                  <a:pt x="2170" y="3154"/>
                </a:lnTo>
                <a:lnTo>
                  <a:pt x="2158" y="3155"/>
                </a:lnTo>
                <a:lnTo>
                  <a:pt x="2155" y="3159"/>
                </a:lnTo>
                <a:lnTo>
                  <a:pt x="2145" y="3166"/>
                </a:lnTo>
                <a:lnTo>
                  <a:pt x="2145" y="3171"/>
                </a:lnTo>
                <a:lnTo>
                  <a:pt x="2143" y="3176"/>
                </a:lnTo>
                <a:lnTo>
                  <a:pt x="2141" y="3183"/>
                </a:lnTo>
                <a:lnTo>
                  <a:pt x="2138" y="3184"/>
                </a:lnTo>
                <a:lnTo>
                  <a:pt x="2133" y="3191"/>
                </a:lnTo>
                <a:lnTo>
                  <a:pt x="2126" y="3194"/>
                </a:lnTo>
                <a:lnTo>
                  <a:pt x="2121" y="3200"/>
                </a:lnTo>
                <a:lnTo>
                  <a:pt x="2118" y="3206"/>
                </a:lnTo>
                <a:lnTo>
                  <a:pt x="2128" y="3213"/>
                </a:lnTo>
                <a:lnTo>
                  <a:pt x="2119" y="3213"/>
                </a:lnTo>
                <a:lnTo>
                  <a:pt x="2119" y="3218"/>
                </a:lnTo>
                <a:lnTo>
                  <a:pt x="2107" y="3213"/>
                </a:lnTo>
                <a:lnTo>
                  <a:pt x="2101" y="3213"/>
                </a:lnTo>
                <a:lnTo>
                  <a:pt x="2092" y="3212"/>
                </a:lnTo>
                <a:lnTo>
                  <a:pt x="2087" y="3213"/>
                </a:lnTo>
                <a:lnTo>
                  <a:pt x="2082" y="3212"/>
                </a:lnTo>
                <a:lnTo>
                  <a:pt x="2070" y="3206"/>
                </a:lnTo>
                <a:lnTo>
                  <a:pt x="2063" y="3208"/>
                </a:lnTo>
                <a:lnTo>
                  <a:pt x="2060" y="3212"/>
                </a:lnTo>
                <a:lnTo>
                  <a:pt x="2048" y="3208"/>
                </a:lnTo>
                <a:lnTo>
                  <a:pt x="2036" y="3206"/>
                </a:lnTo>
                <a:lnTo>
                  <a:pt x="2031" y="3206"/>
                </a:lnTo>
                <a:lnTo>
                  <a:pt x="2026" y="3205"/>
                </a:lnTo>
                <a:lnTo>
                  <a:pt x="2019" y="3200"/>
                </a:lnTo>
                <a:lnTo>
                  <a:pt x="2014" y="3194"/>
                </a:lnTo>
                <a:lnTo>
                  <a:pt x="2009" y="3193"/>
                </a:lnTo>
                <a:lnTo>
                  <a:pt x="2004" y="3189"/>
                </a:lnTo>
                <a:lnTo>
                  <a:pt x="1999" y="3189"/>
                </a:lnTo>
                <a:lnTo>
                  <a:pt x="1985" y="3188"/>
                </a:lnTo>
                <a:lnTo>
                  <a:pt x="1980" y="3186"/>
                </a:lnTo>
                <a:lnTo>
                  <a:pt x="1970" y="3183"/>
                </a:lnTo>
                <a:lnTo>
                  <a:pt x="1963" y="3181"/>
                </a:lnTo>
                <a:lnTo>
                  <a:pt x="1961" y="3181"/>
                </a:lnTo>
                <a:lnTo>
                  <a:pt x="1953" y="3176"/>
                </a:lnTo>
                <a:lnTo>
                  <a:pt x="1939" y="3174"/>
                </a:lnTo>
                <a:lnTo>
                  <a:pt x="1937" y="3176"/>
                </a:lnTo>
                <a:lnTo>
                  <a:pt x="1927" y="3172"/>
                </a:lnTo>
                <a:lnTo>
                  <a:pt x="1924" y="3174"/>
                </a:lnTo>
                <a:lnTo>
                  <a:pt x="1917" y="3172"/>
                </a:lnTo>
                <a:lnTo>
                  <a:pt x="1910" y="3171"/>
                </a:lnTo>
                <a:lnTo>
                  <a:pt x="1903" y="3171"/>
                </a:lnTo>
                <a:lnTo>
                  <a:pt x="1902" y="3171"/>
                </a:lnTo>
                <a:lnTo>
                  <a:pt x="1900" y="3171"/>
                </a:lnTo>
                <a:lnTo>
                  <a:pt x="1893" y="3169"/>
                </a:lnTo>
                <a:lnTo>
                  <a:pt x="1883" y="3167"/>
                </a:lnTo>
                <a:lnTo>
                  <a:pt x="1881" y="3167"/>
                </a:lnTo>
                <a:lnTo>
                  <a:pt x="1880" y="3167"/>
                </a:lnTo>
                <a:lnTo>
                  <a:pt x="1868" y="3166"/>
                </a:lnTo>
                <a:lnTo>
                  <a:pt x="1861" y="3164"/>
                </a:lnTo>
                <a:lnTo>
                  <a:pt x="1849" y="3164"/>
                </a:lnTo>
                <a:lnTo>
                  <a:pt x="1839" y="3159"/>
                </a:lnTo>
                <a:lnTo>
                  <a:pt x="1839" y="3160"/>
                </a:lnTo>
                <a:lnTo>
                  <a:pt x="1827" y="3157"/>
                </a:lnTo>
                <a:lnTo>
                  <a:pt x="1817" y="3155"/>
                </a:lnTo>
                <a:lnTo>
                  <a:pt x="1805" y="3155"/>
                </a:lnTo>
                <a:lnTo>
                  <a:pt x="1798" y="3157"/>
                </a:lnTo>
                <a:lnTo>
                  <a:pt x="1793" y="3157"/>
                </a:lnTo>
                <a:lnTo>
                  <a:pt x="1786" y="3160"/>
                </a:lnTo>
                <a:lnTo>
                  <a:pt x="1776" y="3162"/>
                </a:lnTo>
                <a:lnTo>
                  <a:pt x="1766" y="3162"/>
                </a:lnTo>
                <a:lnTo>
                  <a:pt x="1756" y="3166"/>
                </a:lnTo>
                <a:lnTo>
                  <a:pt x="1747" y="3174"/>
                </a:lnTo>
                <a:lnTo>
                  <a:pt x="1745" y="3183"/>
                </a:lnTo>
                <a:lnTo>
                  <a:pt x="1745" y="3188"/>
                </a:lnTo>
                <a:lnTo>
                  <a:pt x="1754" y="3191"/>
                </a:lnTo>
                <a:lnTo>
                  <a:pt x="1744" y="3188"/>
                </a:lnTo>
                <a:lnTo>
                  <a:pt x="1742" y="3189"/>
                </a:lnTo>
                <a:lnTo>
                  <a:pt x="1739" y="3188"/>
                </a:lnTo>
                <a:lnTo>
                  <a:pt x="1728" y="3189"/>
                </a:lnTo>
                <a:lnTo>
                  <a:pt x="1718" y="3188"/>
                </a:lnTo>
                <a:lnTo>
                  <a:pt x="1715" y="3186"/>
                </a:lnTo>
                <a:lnTo>
                  <a:pt x="1705" y="3186"/>
                </a:lnTo>
                <a:lnTo>
                  <a:pt x="1701" y="3184"/>
                </a:lnTo>
                <a:lnTo>
                  <a:pt x="1693" y="3183"/>
                </a:lnTo>
                <a:lnTo>
                  <a:pt x="1684" y="3184"/>
                </a:lnTo>
                <a:lnTo>
                  <a:pt x="1676" y="3183"/>
                </a:lnTo>
                <a:lnTo>
                  <a:pt x="1672" y="3184"/>
                </a:lnTo>
                <a:lnTo>
                  <a:pt x="1660" y="3184"/>
                </a:lnTo>
                <a:lnTo>
                  <a:pt x="1652" y="3181"/>
                </a:lnTo>
                <a:lnTo>
                  <a:pt x="1645" y="3183"/>
                </a:lnTo>
                <a:lnTo>
                  <a:pt x="1645" y="3186"/>
                </a:lnTo>
                <a:lnTo>
                  <a:pt x="1640" y="3184"/>
                </a:lnTo>
                <a:lnTo>
                  <a:pt x="1633" y="3179"/>
                </a:lnTo>
                <a:lnTo>
                  <a:pt x="1620" y="3176"/>
                </a:lnTo>
                <a:lnTo>
                  <a:pt x="1609" y="3174"/>
                </a:lnTo>
                <a:lnTo>
                  <a:pt x="1598" y="3169"/>
                </a:lnTo>
                <a:lnTo>
                  <a:pt x="1591" y="3171"/>
                </a:lnTo>
                <a:lnTo>
                  <a:pt x="1579" y="3167"/>
                </a:lnTo>
                <a:lnTo>
                  <a:pt x="1572" y="3166"/>
                </a:lnTo>
                <a:lnTo>
                  <a:pt x="1565" y="3164"/>
                </a:lnTo>
                <a:lnTo>
                  <a:pt x="1558" y="3162"/>
                </a:lnTo>
                <a:lnTo>
                  <a:pt x="1555" y="3162"/>
                </a:lnTo>
                <a:lnTo>
                  <a:pt x="1543" y="3160"/>
                </a:lnTo>
                <a:lnTo>
                  <a:pt x="1536" y="3160"/>
                </a:lnTo>
                <a:lnTo>
                  <a:pt x="1533" y="3166"/>
                </a:lnTo>
                <a:lnTo>
                  <a:pt x="1526" y="3169"/>
                </a:lnTo>
                <a:lnTo>
                  <a:pt x="1518" y="3174"/>
                </a:lnTo>
                <a:lnTo>
                  <a:pt x="1514" y="3174"/>
                </a:lnTo>
                <a:lnTo>
                  <a:pt x="1502" y="3177"/>
                </a:lnTo>
                <a:lnTo>
                  <a:pt x="1494" y="3176"/>
                </a:lnTo>
                <a:lnTo>
                  <a:pt x="1490" y="3177"/>
                </a:lnTo>
                <a:lnTo>
                  <a:pt x="1485" y="3176"/>
                </a:lnTo>
                <a:lnTo>
                  <a:pt x="1472" y="3174"/>
                </a:lnTo>
                <a:lnTo>
                  <a:pt x="1463" y="3176"/>
                </a:lnTo>
                <a:lnTo>
                  <a:pt x="1455" y="3176"/>
                </a:lnTo>
                <a:lnTo>
                  <a:pt x="1445" y="3179"/>
                </a:lnTo>
                <a:lnTo>
                  <a:pt x="1434" y="3184"/>
                </a:lnTo>
                <a:lnTo>
                  <a:pt x="1426" y="3191"/>
                </a:lnTo>
                <a:lnTo>
                  <a:pt x="1422" y="3198"/>
                </a:lnTo>
                <a:lnTo>
                  <a:pt x="1421" y="3205"/>
                </a:lnTo>
                <a:lnTo>
                  <a:pt x="1431" y="3208"/>
                </a:lnTo>
                <a:lnTo>
                  <a:pt x="1434" y="3212"/>
                </a:lnTo>
                <a:lnTo>
                  <a:pt x="1421" y="3215"/>
                </a:lnTo>
                <a:lnTo>
                  <a:pt x="1417" y="3215"/>
                </a:lnTo>
                <a:lnTo>
                  <a:pt x="1416" y="3217"/>
                </a:lnTo>
                <a:lnTo>
                  <a:pt x="1409" y="3215"/>
                </a:lnTo>
                <a:lnTo>
                  <a:pt x="1404" y="3217"/>
                </a:lnTo>
                <a:lnTo>
                  <a:pt x="1395" y="3217"/>
                </a:lnTo>
                <a:lnTo>
                  <a:pt x="1388" y="3218"/>
                </a:lnTo>
                <a:lnTo>
                  <a:pt x="1382" y="3222"/>
                </a:lnTo>
                <a:lnTo>
                  <a:pt x="1373" y="3229"/>
                </a:lnTo>
                <a:lnTo>
                  <a:pt x="1370" y="3234"/>
                </a:lnTo>
                <a:lnTo>
                  <a:pt x="1370" y="3239"/>
                </a:lnTo>
                <a:lnTo>
                  <a:pt x="1378" y="3242"/>
                </a:lnTo>
                <a:lnTo>
                  <a:pt x="1368" y="3246"/>
                </a:lnTo>
                <a:lnTo>
                  <a:pt x="1370" y="3251"/>
                </a:lnTo>
                <a:lnTo>
                  <a:pt x="1361" y="3252"/>
                </a:lnTo>
                <a:lnTo>
                  <a:pt x="1358" y="3257"/>
                </a:lnTo>
                <a:lnTo>
                  <a:pt x="1349" y="3261"/>
                </a:lnTo>
                <a:lnTo>
                  <a:pt x="1339" y="3263"/>
                </a:lnTo>
                <a:lnTo>
                  <a:pt x="1326" y="3264"/>
                </a:lnTo>
                <a:lnTo>
                  <a:pt x="1322" y="3266"/>
                </a:lnTo>
                <a:lnTo>
                  <a:pt x="1314" y="3266"/>
                </a:lnTo>
                <a:lnTo>
                  <a:pt x="1312" y="3266"/>
                </a:lnTo>
                <a:lnTo>
                  <a:pt x="1310" y="3266"/>
                </a:lnTo>
                <a:lnTo>
                  <a:pt x="1297" y="3263"/>
                </a:lnTo>
                <a:lnTo>
                  <a:pt x="1285" y="3259"/>
                </a:lnTo>
                <a:lnTo>
                  <a:pt x="1283" y="3257"/>
                </a:lnTo>
                <a:lnTo>
                  <a:pt x="1273" y="3256"/>
                </a:lnTo>
                <a:lnTo>
                  <a:pt x="1269" y="3256"/>
                </a:lnTo>
                <a:lnTo>
                  <a:pt x="1261" y="3259"/>
                </a:lnTo>
                <a:lnTo>
                  <a:pt x="1251" y="3259"/>
                </a:lnTo>
                <a:lnTo>
                  <a:pt x="1246" y="3261"/>
                </a:lnTo>
                <a:lnTo>
                  <a:pt x="1244" y="3266"/>
                </a:lnTo>
                <a:lnTo>
                  <a:pt x="1242" y="3266"/>
                </a:lnTo>
                <a:lnTo>
                  <a:pt x="1241" y="3268"/>
                </a:lnTo>
                <a:lnTo>
                  <a:pt x="1230" y="3274"/>
                </a:lnTo>
                <a:lnTo>
                  <a:pt x="1225" y="3273"/>
                </a:lnTo>
                <a:lnTo>
                  <a:pt x="1220" y="3276"/>
                </a:lnTo>
                <a:lnTo>
                  <a:pt x="1212" y="3278"/>
                </a:lnTo>
                <a:lnTo>
                  <a:pt x="1208" y="3278"/>
                </a:lnTo>
                <a:lnTo>
                  <a:pt x="1198" y="3273"/>
                </a:lnTo>
                <a:lnTo>
                  <a:pt x="1191" y="3271"/>
                </a:lnTo>
                <a:lnTo>
                  <a:pt x="1181" y="3266"/>
                </a:lnTo>
                <a:lnTo>
                  <a:pt x="1169" y="3263"/>
                </a:lnTo>
                <a:lnTo>
                  <a:pt x="1161" y="3261"/>
                </a:lnTo>
                <a:lnTo>
                  <a:pt x="1152" y="3261"/>
                </a:lnTo>
                <a:lnTo>
                  <a:pt x="1147" y="3259"/>
                </a:lnTo>
                <a:lnTo>
                  <a:pt x="1145" y="3259"/>
                </a:lnTo>
                <a:lnTo>
                  <a:pt x="1135" y="3257"/>
                </a:lnTo>
                <a:lnTo>
                  <a:pt x="1130" y="3259"/>
                </a:lnTo>
                <a:lnTo>
                  <a:pt x="1118" y="3259"/>
                </a:lnTo>
                <a:lnTo>
                  <a:pt x="1108" y="3261"/>
                </a:lnTo>
                <a:lnTo>
                  <a:pt x="1098" y="3268"/>
                </a:lnTo>
                <a:lnTo>
                  <a:pt x="1096" y="3269"/>
                </a:lnTo>
                <a:lnTo>
                  <a:pt x="1101" y="3276"/>
                </a:lnTo>
                <a:lnTo>
                  <a:pt x="1101" y="3281"/>
                </a:lnTo>
                <a:lnTo>
                  <a:pt x="1096" y="3288"/>
                </a:lnTo>
                <a:lnTo>
                  <a:pt x="1093" y="3286"/>
                </a:lnTo>
                <a:lnTo>
                  <a:pt x="1089" y="3286"/>
                </a:lnTo>
                <a:lnTo>
                  <a:pt x="1079" y="3285"/>
                </a:lnTo>
                <a:lnTo>
                  <a:pt x="1065" y="3281"/>
                </a:lnTo>
                <a:lnTo>
                  <a:pt x="1064" y="3283"/>
                </a:lnTo>
                <a:lnTo>
                  <a:pt x="1057" y="3281"/>
                </a:lnTo>
                <a:lnTo>
                  <a:pt x="1048" y="3281"/>
                </a:lnTo>
                <a:lnTo>
                  <a:pt x="1037" y="3281"/>
                </a:lnTo>
                <a:lnTo>
                  <a:pt x="1026" y="3283"/>
                </a:lnTo>
                <a:lnTo>
                  <a:pt x="1021" y="3285"/>
                </a:lnTo>
                <a:lnTo>
                  <a:pt x="1014" y="3286"/>
                </a:lnTo>
                <a:lnTo>
                  <a:pt x="1013" y="3288"/>
                </a:lnTo>
                <a:lnTo>
                  <a:pt x="1001" y="3291"/>
                </a:lnTo>
                <a:lnTo>
                  <a:pt x="992" y="3297"/>
                </a:lnTo>
                <a:lnTo>
                  <a:pt x="987" y="3303"/>
                </a:lnTo>
                <a:lnTo>
                  <a:pt x="980" y="3314"/>
                </a:lnTo>
                <a:lnTo>
                  <a:pt x="977" y="3314"/>
                </a:lnTo>
                <a:lnTo>
                  <a:pt x="967" y="3319"/>
                </a:lnTo>
                <a:lnTo>
                  <a:pt x="962" y="3324"/>
                </a:lnTo>
                <a:lnTo>
                  <a:pt x="953" y="3327"/>
                </a:lnTo>
                <a:lnTo>
                  <a:pt x="946" y="3331"/>
                </a:lnTo>
                <a:lnTo>
                  <a:pt x="940" y="3332"/>
                </a:lnTo>
                <a:lnTo>
                  <a:pt x="936" y="3337"/>
                </a:lnTo>
                <a:lnTo>
                  <a:pt x="936" y="3346"/>
                </a:lnTo>
                <a:lnTo>
                  <a:pt x="933" y="3344"/>
                </a:lnTo>
                <a:lnTo>
                  <a:pt x="919" y="3346"/>
                </a:lnTo>
                <a:lnTo>
                  <a:pt x="907" y="3351"/>
                </a:lnTo>
                <a:lnTo>
                  <a:pt x="897" y="3358"/>
                </a:lnTo>
                <a:lnTo>
                  <a:pt x="890" y="3363"/>
                </a:lnTo>
                <a:lnTo>
                  <a:pt x="889" y="3368"/>
                </a:lnTo>
                <a:lnTo>
                  <a:pt x="892" y="3375"/>
                </a:lnTo>
                <a:lnTo>
                  <a:pt x="884" y="3378"/>
                </a:lnTo>
                <a:lnTo>
                  <a:pt x="877" y="3383"/>
                </a:lnTo>
                <a:lnTo>
                  <a:pt x="867" y="3382"/>
                </a:lnTo>
                <a:lnTo>
                  <a:pt x="865" y="3378"/>
                </a:lnTo>
                <a:lnTo>
                  <a:pt x="861" y="3378"/>
                </a:lnTo>
                <a:lnTo>
                  <a:pt x="856" y="3373"/>
                </a:lnTo>
                <a:lnTo>
                  <a:pt x="848" y="3370"/>
                </a:lnTo>
                <a:lnTo>
                  <a:pt x="843" y="3365"/>
                </a:lnTo>
                <a:lnTo>
                  <a:pt x="831" y="3365"/>
                </a:lnTo>
                <a:lnTo>
                  <a:pt x="824" y="3366"/>
                </a:lnTo>
                <a:lnTo>
                  <a:pt x="817" y="3365"/>
                </a:lnTo>
                <a:lnTo>
                  <a:pt x="812" y="3366"/>
                </a:lnTo>
                <a:lnTo>
                  <a:pt x="799" y="3365"/>
                </a:lnTo>
                <a:lnTo>
                  <a:pt x="793" y="3370"/>
                </a:lnTo>
                <a:lnTo>
                  <a:pt x="783" y="3370"/>
                </a:lnTo>
                <a:lnTo>
                  <a:pt x="782" y="3361"/>
                </a:lnTo>
                <a:lnTo>
                  <a:pt x="775" y="3361"/>
                </a:lnTo>
                <a:lnTo>
                  <a:pt x="773" y="3354"/>
                </a:lnTo>
                <a:lnTo>
                  <a:pt x="768" y="3354"/>
                </a:lnTo>
                <a:lnTo>
                  <a:pt x="768" y="3353"/>
                </a:lnTo>
                <a:lnTo>
                  <a:pt x="763" y="3349"/>
                </a:lnTo>
                <a:lnTo>
                  <a:pt x="756" y="3341"/>
                </a:lnTo>
                <a:lnTo>
                  <a:pt x="753" y="3339"/>
                </a:lnTo>
                <a:lnTo>
                  <a:pt x="751" y="3341"/>
                </a:lnTo>
                <a:lnTo>
                  <a:pt x="746" y="3337"/>
                </a:lnTo>
                <a:lnTo>
                  <a:pt x="736" y="3336"/>
                </a:lnTo>
                <a:lnTo>
                  <a:pt x="731" y="3325"/>
                </a:lnTo>
                <a:lnTo>
                  <a:pt x="725" y="3322"/>
                </a:lnTo>
                <a:lnTo>
                  <a:pt x="712" y="3325"/>
                </a:lnTo>
                <a:lnTo>
                  <a:pt x="710" y="3327"/>
                </a:lnTo>
                <a:lnTo>
                  <a:pt x="698" y="3329"/>
                </a:lnTo>
                <a:lnTo>
                  <a:pt x="705" y="3324"/>
                </a:lnTo>
                <a:lnTo>
                  <a:pt x="710" y="3317"/>
                </a:lnTo>
                <a:lnTo>
                  <a:pt x="712" y="3310"/>
                </a:lnTo>
                <a:lnTo>
                  <a:pt x="719" y="3305"/>
                </a:lnTo>
                <a:lnTo>
                  <a:pt x="715" y="3295"/>
                </a:lnTo>
                <a:lnTo>
                  <a:pt x="714" y="3290"/>
                </a:lnTo>
                <a:lnTo>
                  <a:pt x="710" y="3285"/>
                </a:lnTo>
                <a:lnTo>
                  <a:pt x="703" y="3276"/>
                </a:lnTo>
                <a:lnTo>
                  <a:pt x="695" y="3271"/>
                </a:lnTo>
                <a:lnTo>
                  <a:pt x="688" y="3271"/>
                </a:lnTo>
                <a:lnTo>
                  <a:pt x="678" y="3278"/>
                </a:lnTo>
                <a:lnTo>
                  <a:pt x="666" y="3273"/>
                </a:lnTo>
                <a:lnTo>
                  <a:pt x="659" y="3274"/>
                </a:lnTo>
                <a:lnTo>
                  <a:pt x="654" y="3271"/>
                </a:lnTo>
                <a:lnTo>
                  <a:pt x="654" y="3266"/>
                </a:lnTo>
                <a:lnTo>
                  <a:pt x="649" y="3261"/>
                </a:lnTo>
                <a:lnTo>
                  <a:pt x="640" y="3254"/>
                </a:lnTo>
                <a:lnTo>
                  <a:pt x="634" y="3252"/>
                </a:lnTo>
                <a:lnTo>
                  <a:pt x="623" y="3252"/>
                </a:lnTo>
                <a:lnTo>
                  <a:pt x="615" y="3257"/>
                </a:lnTo>
                <a:lnTo>
                  <a:pt x="606" y="3256"/>
                </a:lnTo>
                <a:lnTo>
                  <a:pt x="601" y="3256"/>
                </a:lnTo>
                <a:lnTo>
                  <a:pt x="596" y="3261"/>
                </a:lnTo>
                <a:lnTo>
                  <a:pt x="588" y="3261"/>
                </a:lnTo>
                <a:lnTo>
                  <a:pt x="588" y="3264"/>
                </a:lnTo>
                <a:lnTo>
                  <a:pt x="583" y="3263"/>
                </a:lnTo>
                <a:lnTo>
                  <a:pt x="579" y="3264"/>
                </a:lnTo>
                <a:lnTo>
                  <a:pt x="574" y="3254"/>
                </a:lnTo>
                <a:lnTo>
                  <a:pt x="579" y="3251"/>
                </a:lnTo>
                <a:lnTo>
                  <a:pt x="576" y="3240"/>
                </a:lnTo>
                <a:lnTo>
                  <a:pt x="578" y="3240"/>
                </a:lnTo>
                <a:lnTo>
                  <a:pt x="581" y="3235"/>
                </a:lnTo>
                <a:lnTo>
                  <a:pt x="588" y="3229"/>
                </a:lnTo>
                <a:lnTo>
                  <a:pt x="586" y="3225"/>
                </a:lnTo>
                <a:lnTo>
                  <a:pt x="581" y="3218"/>
                </a:lnTo>
                <a:lnTo>
                  <a:pt x="578" y="3212"/>
                </a:lnTo>
                <a:lnTo>
                  <a:pt x="581" y="3208"/>
                </a:lnTo>
                <a:lnTo>
                  <a:pt x="591" y="3203"/>
                </a:lnTo>
                <a:lnTo>
                  <a:pt x="588" y="3201"/>
                </a:lnTo>
                <a:lnTo>
                  <a:pt x="579" y="3191"/>
                </a:lnTo>
                <a:lnTo>
                  <a:pt x="576" y="3188"/>
                </a:lnTo>
                <a:lnTo>
                  <a:pt x="569" y="3184"/>
                </a:lnTo>
                <a:lnTo>
                  <a:pt x="557" y="3181"/>
                </a:lnTo>
                <a:lnTo>
                  <a:pt x="547" y="3181"/>
                </a:lnTo>
                <a:lnTo>
                  <a:pt x="545" y="3181"/>
                </a:lnTo>
                <a:lnTo>
                  <a:pt x="535" y="3181"/>
                </a:lnTo>
                <a:lnTo>
                  <a:pt x="527" y="3181"/>
                </a:lnTo>
                <a:lnTo>
                  <a:pt x="520" y="3183"/>
                </a:lnTo>
                <a:lnTo>
                  <a:pt x="511" y="3184"/>
                </a:lnTo>
                <a:lnTo>
                  <a:pt x="498" y="3188"/>
                </a:lnTo>
                <a:lnTo>
                  <a:pt x="491" y="3189"/>
                </a:lnTo>
                <a:lnTo>
                  <a:pt x="481" y="3196"/>
                </a:lnTo>
                <a:lnTo>
                  <a:pt x="481" y="3201"/>
                </a:lnTo>
                <a:lnTo>
                  <a:pt x="477" y="3212"/>
                </a:lnTo>
                <a:lnTo>
                  <a:pt x="484" y="3213"/>
                </a:lnTo>
                <a:lnTo>
                  <a:pt x="491" y="3223"/>
                </a:lnTo>
                <a:lnTo>
                  <a:pt x="487" y="3232"/>
                </a:lnTo>
                <a:lnTo>
                  <a:pt x="489" y="3235"/>
                </a:lnTo>
                <a:lnTo>
                  <a:pt x="486" y="3246"/>
                </a:lnTo>
                <a:lnTo>
                  <a:pt x="487" y="3252"/>
                </a:lnTo>
                <a:lnTo>
                  <a:pt x="494" y="3256"/>
                </a:lnTo>
                <a:lnTo>
                  <a:pt x="487" y="3256"/>
                </a:lnTo>
                <a:lnTo>
                  <a:pt x="484" y="3251"/>
                </a:lnTo>
                <a:lnTo>
                  <a:pt x="477" y="3249"/>
                </a:lnTo>
                <a:lnTo>
                  <a:pt x="470" y="3244"/>
                </a:lnTo>
                <a:lnTo>
                  <a:pt x="465" y="3234"/>
                </a:lnTo>
                <a:lnTo>
                  <a:pt x="467" y="3232"/>
                </a:lnTo>
                <a:lnTo>
                  <a:pt x="465" y="3229"/>
                </a:lnTo>
                <a:lnTo>
                  <a:pt x="465" y="3222"/>
                </a:lnTo>
                <a:lnTo>
                  <a:pt x="462" y="3215"/>
                </a:lnTo>
                <a:lnTo>
                  <a:pt x="464" y="3213"/>
                </a:lnTo>
                <a:lnTo>
                  <a:pt x="455" y="3208"/>
                </a:lnTo>
                <a:lnTo>
                  <a:pt x="450" y="3201"/>
                </a:lnTo>
                <a:lnTo>
                  <a:pt x="459" y="3193"/>
                </a:lnTo>
                <a:lnTo>
                  <a:pt x="459" y="3186"/>
                </a:lnTo>
                <a:lnTo>
                  <a:pt x="464" y="3177"/>
                </a:lnTo>
                <a:lnTo>
                  <a:pt x="462" y="3174"/>
                </a:lnTo>
                <a:lnTo>
                  <a:pt x="457" y="3177"/>
                </a:lnTo>
                <a:lnTo>
                  <a:pt x="448" y="3172"/>
                </a:lnTo>
                <a:lnTo>
                  <a:pt x="453" y="3167"/>
                </a:lnTo>
                <a:lnTo>
                  <a:pt x="459" y="3159"/>
                </a:lnTo>
                <a:lnTo>
                  <a:pt x="465" y="3154"/>
                </a:lnTo>
                <a:lnTo>
                  <a:pt x="467" y="3150"/>
                </a:lnTo>
                <a:lnTo>
                  <a:pt x="467" y="3140"/>
                </a:lnTo>
                <a:lnTo>
                  <a:pt x="472" y="3135"/>
                </a:lnTo>
                <a:lnTo>
                  <a:pt x="482" y="3133"/>
                </a:lnTo>
                <a:lnTo>
                  <a:pt x="477" y="3137"/>
                </a:lnTo>
                <a:lnTo>
                  <a:pt x="486" y="3140"/>
                </a:lnTo>
                <a:lnTo>
                  <a:pt x="482" y="3135"/>
                </a:lnTo>
                <a:lnTo>
                  <a:pt x="489" y="3138"/>
                </a:lnTo>
                <a:lnTo>
                  <a:pt x="494" y="3130"/>
                </a:lnTo>
                <a:lnTo>
                  <a:pt x="496" y="3121"/>
                </a:lnTo>
                <a:lnTo>
                  <a:pt x="494" y="3118"/>
                </a:lnTo>
                <a:lnTo>
                  <a:pt x="487" y="3108"/>
                </a:lnTo>
                <a:lnTo>
                  <a:pt x="489" y="3108"/>
                </a:lnTo>
                <a:lnTo>
                  <a:pt x="486" y="3101"/>
                </a:lnTo>
                <a:lnTo>
                  <a:pt x="482" y="3091"/>
                </a:lnTo>
                <a:lnTo>
                  <a:pt x="484" y="3079"/>
                </a:lnTo>
                <a:lnTo>
                  <a:pt x="479" y="3075"/>
                </a:lnTo>
                <a:lnTo>
                  <a:pt x="482" y="3075"/>
                </a:lnTo>
                <a:lnTo>
                  <a:pt x="481" y="3075"/>
                </a:lnTo>
                <a:lnTo>
                  <a:pt x="481" y="3072"/>
                </a:lnTo>
                <a:lnTo>
                  <a:pt x="476" y="3064"/>
                </a:lnTo>
                <a:lnTo>
                  <a:pt x="467" y="3055"/>
                </a:lnTo>
                <a:lnTo>
                  <a:pt x="464" y="3055"/>
                </a:lnTo>
                <a:lnTo>
                  <a:pt x="464" y="3048"/>
                </a:lnTo>
                <a:lnTo>
                  <a:pt x="452" y="3045"/>
                </a:lnTo>
                <a:lnTo>
                  <a:pt x="453" y="3036"/>
                </a:lnTo>
                <a:lnTo>
                  <a:pt x="457" y="3033"/>
                </a:lnTo>
                <a:lnTo>
                  <a:pt x="452" y="3023"/>
                </a:lnTo>
                <a:lnTo>
                  <a:pt x="443" y="3014"/>
                </a:lnTo>
                <a:lnTo>
                  <a:pt x="435" y="3006"/>
                </a:lnTo>
                <a:lnTo>
                  <a:pt x="428" y="3001"/>
                </a:lnTo>
                <a:lnTo>
                  <a:pt x="418" y="2994"/>
                </a:lnTo>
                <a:lnTo>
                  <a:pt x="416" y="2994"/>
                </a:lnTo>
                <a:lnTo>
                  <a:pt x="411" y="2989"/>
                </a:lnTo>
                <a:lnTo>
                  <a:pt x="414" y="2982"/>
                </a:lnTo>
                <a:lnTo>
                  <a:pt x="411" y="2975"/>
                </a:lnTo>
                <a:lnTo>
                  <a:pt x="408" y="2968"/>
                </a:lnTo>
                <a:lnTo>
                  <a:pt x="402" y="2960"/>
                </a:lnTo>
                <a:lnTo>
                  <a:pt x="396" y="2953"/>
                </a:lnTo>
                <a:lnTo>
                  <a:pt x="391" y="2946"/>
                </a:lnTo>
                <a:lnTo>
                  <a:pt x="380" y="2938"/>
                </a:lnTo>
                <a:lnTo>
                  <a:pt x="379" y="2936"/>
                </a:lnTo>
                <a:lnTo>
                  <a:pt x="367" y="2931"/>
                </a:lnTo>
                <a:lnTo>
                  <a:pt x="368" y="2926"/>
                </a:lnTo>
                <a:lnTo>
                  <a:pt x="363" y="2924"/>
                </a:lnTo>
                <a:lnTo>
                  <a:pt x="370" y="2919"/>
                </a:lnTo>
                <a:lnTo>
                  <a:pt x="368" y="2912"/>
                </a:lnTo>
                <a:lnTo>
                  <a:pt x="374" y="2914"/>
                </a:lnTo>
                <a:lnTo>
                  <a:pt x="377" y="2919"/>
                </a:lnTo>
                <a:lnTo>
                  <a:pt x="370" y="2921"/>
                </a:lnTo>
                <a:lnTo>
                  <a:pt x="379" y="2921"/>
                </a:lnTo>
                <a:lnTo>
                  <a:pt x="379" y="2927"/>
                </a:lnTo>
                <a:lnTo>
                  <a:pt x="384" y="2929"/>
                </a:lnTo>
                <a:lnTo>
                  <a:pt x="382" y="2933"/>
                </a:lnTo>
                <a:lnTo>
                  <a:pt x="387" y="2936"/>
                </a:lnTo>
                <a:lnTo>
                  <a:pt x="391" y="2941"/>
                </a:lnTo>
                <a:lnTo>
                  <a:pt x="397" y="2946"/>
                </a:lnTo>
                <a:lnTo>
                  <a:pt x="399" y="2950"/>
                </a:lnTo>
                <a:lnTo>
                  <a:pt x="406" y="2946"/>
                </a:lnTo>
                <a:lnTo>
                  <a:pt x="406" y="2943"/>
                </a:lnTo>
                <a:lnTo>
                  <a:pt x="397" y="2941"/>
                </a:lnTo>
                <a:lnTo>
                  <a:pt x="399" y="2933"/>
                </a:lnTo>
                <a:lnTo>
                  <a:pt x="391" y="2929"/>
                </a:lnTo>
                <a:lnTo>
                  <a:pt x="384" y="2922"/>
                </a:lnTo>
                <a:lnTo>
                  <a:pt x="382" y="2917"/>
                </a:lnTo>
                <a:lnTo>
                  <a:pt x="387" y="2909"/>
                </a:lnTo>
                <a:lnTo>
                  <a:pt x="384" y="2902"/>
                </a:lnTo>
                <a:lnTo>
                  <a:pt x="377" y="2897"/>
                </a:lnTo>
                <a:lnTo>
                  <a:pt x="372" y="2904"/>
                </a:lnTo>
                <a:lnTo>
                  <a:pt x="375" y="2895"/>
                </a:lnTo>
                <a:lnTo>
                  <a:pt x="368" y="2893"/>
                </a:lnTo>
                <a:lnTo>
                  <a:pt x="362" y="2900"/>
                </a:lnTo>
                <a:lnTo>
                  <a:pt x="368" y="2907"/>
                </a:lnTo>
                <a:lnTo>
                  <a:pt x="362" y="2902"/>
                </a:lnTo>
                <a:lnTo>
                  <a:pt x="353" y="2909"/>
                </a:lnTo>
                <a:lnTo>
                  <a:pt x="348" y="2905"/>
                </a:lnTo>
                <a:lnTo>
                  <a:pt x="351" y="2899"/>
                </a:lnTo>
                <a:lnTo>
                  <a:pt x="343" y="2893"/>
                </a:lnTo>
                <a:lnTo>
                  <a:pt x="346" y="2890"/>
                </a:lnTo>
                <a:lnTo>
                  <a:pt x="345" y="2888"/>
                </a:lnTo>
                <a:lnTo>
                  <a:pt x="346" y="2885"/>
                </a:lnTo>
                <a:lnTo>
                  <a:pt x="346" y="2876"/>
                </a:lnTo>
                <a:lnTo>
                  <a:pt x="340" y="2870"/>
                </a:lnTo>
                <a:lnTo>
                  <a:pt x="346" y="2863"/>
                </a:lnTo>
                <a:lnTo>
                  <a:pt x="346" y="2858"/>
                </a:lnTo>
                <a:lnTo>
                  <a:pt x="346" y="2854"/>
                </a:lnTo>
                <a:lnTo>
                  <a:pt x="336" y="2849"/>
                </a:lnTo>
                <a:lnTo>
                  <a:pt x="346" y="2842"/>
                </a:lnTo>
                <a:lnTo>
                  <a:pt x="351" y="2842"/>
                </a:lnTo>
                <a:lnTo>
                  <a:pt x="353" y="2836"/>
                </a:lnTo>
                <a:lnTo>
                  <a:pt x="351" y="2827"/>
                </a:lnTo>
                <a:lnTo>
                  <a:pt x="357" y="2819"/>
                </a:lnTo>
                <a:lnTo>
                  <a:pt x="365" y="2820"/>
                </a:lnTo>
                <a:lnTo>
                  <a:pt x="370" y="2815"/>
                </a:lnTo>
                <a:lnTo>
                  <a:pt x="374" y="2817"/>
                </a:lnTo>
                <a:lnTo>
                  <a:pt x="372" y="2822"/>
                </a:lnTo>
                <a:lnTo>
                  <a:pt x="382" y="2825"/>
                </a:lnTo>
                <a:lnTo>
                  <a:pt x="380" y="2829"/>
                </a:lnTo>
                <a:lnTo>
                  <a:pt x="389" y="2832"/>
                </a:lnTo>
                <a:lnTo>
                  <a:pt x="392" y="2837"/>
                </a:lnTo>
                <a:lnTo>
                  <a:pt x="397" y="2836"/>
                </a:lnTo>
                <a:lnTo>
                  <a:pt x="406" y="2837"/>
                </a:lnTo>
                <a:lnTo>
                  <a:pt x="413" y="2834"/>
                </a:lnTo>
                <a:lnTo>
                  <a:pt x="419" y="2829"/>
                </a:lnTo>
                <a:lnTo>
                  <a:pt x="426" y="2822"/>
                </a:lnTo>
                <a:lnTo>
                  <a:pt x="428" y="2819"/>
                </a:lnTo>
                <a:lnTo>
                  <a:pt x="436" y="2813"/>
                </a:lnTo>
                <a:lnTo>
                  <a:pt x="442" y="2810"/>
                </a:lnTo>
                <a:lnTo>
                  <a:pt x="445" y="2805"/>
                </a:lnTo>
                <a:lnTo>
                  <a:pt x="450" y="2796"/>
                </a:lnTo>
                <a:lnTo>
                  <a:pt x="453" y="2791"/>
                </a:lnTo>
                <a:lnTo>
                  <a:pt x="457" y="2785"/>
                </a:lnTo>
                <a:lnTo>
                  <a:pt x="460" y="2774"/>
                </a:lnTo>
                <a:lnTo>
                  <a:pt x="462" y="2771"/>
                </a:lnTo>
                <a:lnTo>
                  <a:pt x="464" y="2761"/>
                </a:lnTo>
                <a:lnTo>
                  <a:pt x="465" y="2752"/>
                </a:lnTo>
                <a:lnTo>
                  <a:pt x="465" y="2745"/>
                </a:lnTo>
                <a:lnTo>
                  <a:pt x="465" y="2737"/>
                </a:lnTo>
                <a:lnTo>
                  <a:pt x="464" y="2727"/>
                </a:lnTo>
                <a:lnTo>
                  <a:pt x="460" y="2718"/>
                </a:lnTo>
                <a:lnTo>
                  <a:pt x="460" y="2713"/>
                </a:lnTo>
                <a:lnTo>
                  <a:pt x="467" y="2713"/>
                </a:lnTo>
                <a:lnTo>
                  <a:pt x="469" y="2703"/>
                </a:lnTo>
                <a:lnTo>
                  <a:pt x="467" y="2693"/>
                </a:lnTo>
                <a:lnTo>
                  <a:pt x="464" y="2684"/>
                </a:lnTo>
                <a:lnTo>
                  <a:pt x="464" y="2682"/>
                </a:lnTo>
                <a:lnTo>
                  <a:pt x="460" y="2676"/>
                </a:lnTo>
                <a:lnTo>
                  <a:pt x="460" y="2671"/>
                </a:lnTo>
                <a:lnTo>
                  <a:pt x="460" y="2669"/>
                </a:lnTo>
                <a:lnTo>
                  <a:pt x="459" y="2659"/>
                </a:lnTo>
                <a:lnTo>
                  <a:pt x="462" y="2647"/>
                </a:lnTo>
                <a:lnTo>
                  <a:pt x="460" y="2643"/>
                </a:lnTo>
                <a:lnTo>
                  <a:pt x="457" y="2635"/>
                </a:lnTo>
                <a:lnTo>
                  <a:pt x="457" y="2631"/>
                </a:lnTo>
                <a:lnTo>
                  <a:pt x="455" y="2628"/>
                </a:lnTo>
                <a:lnTo>
                  <a:pt x="455" y="2625"/>
                </a:lnTo>
                <a:lnTo>
                  <a:pt x="452" y="2614"/>
                </a:lnTo>
                <a:lnTo>
                  <a:pt x="450" y="2613"/>
                </a:lnTo>
                <a:lnTo>
                  <a:pt x="455" y="2601"/>
                </a:lnTo>
                <a:lnTo>
                  <a:pt x="450" y="2592"/>
                </a:lnTo>
                <a:lnTo>
                  <a:pt x="443" y="2582"/>
                </a:lnTo>
                <a:lnTo>
                  <a:pt x="443" y="2580"/>
                </a:lnTo>
                <a:lnTo>
                  <a:pt x="442" y="2580"/>
                </a:lnTo>
                <a:lnTo>
                  <a:pt x="443" y="2579"/>
                </a:lnTo>
                <a:lnTo>
                  <a:pt x="442" y="2575"/>
                </a:lnTo>
                <a:lnTo>
                  <a:pt x="440" y="2565"/>
                </a:lnTo>
                <a:lnTo>
                  <a:pt x="442" y="2560"/>
                </a:lnTo>
                <a:lnTo>
                  <a:pt x="440" y="2560"/>
                </a:lnTo>
                <a:lnTo>
                  <a:pt x="433" y="2550"/>
                </a:lnTo>
                <a:lnTo>
                  <a:pt x="431" y="2550"/>
                </a:lnTo>
                <a:lnTo>
                  <a:pt x="431" y="2546"/>
                </a:lnTo>
                <a:lnTo>
                  <a:pt x="425" y="2538"/>
                </a:lnTo>
                <a:lnTo>
                  <a:pt x="423" y="2538"/>
                </a:lnTo>
                <a:lnTo>
                  <a:pt x="418" y="2528"/>
                </a:lnTo>
                <a:lnTo>
                  <a:pt x="418" y="2524"/>
                </a:lnTo>
                <a:lnTo>
                  <a:pt x="414" y="2523"/>
                </a:lnTo>
                <a:lnTo>
                  <a:pt x="413" y="2516"/>
                </a:lnTo>
                <a:lnTo>
                  <a:pt x="409" y="2511"/>
                </a:lnTo>
                <a:lnTo>
                  <a:pt x="402" y="2504"/>
                </a:lnTo>
                <a:lnTo>
                  <a:pt x="396" y="2499"/>
                </a:lnTo>
                <a:lnTo>
                  <a:pt x="394" y="2494"/>
                </a:lnTo>
                <a:lnTo>
                  <a:pt x="387" y="2489"/>
                </a:lnTo>
                <a:lnTo>
                  <a:pt x="384" y="2483"/>
                </a:lnTo>
                <a:lnTo>
                  <a:pt x="380" y="2478"/>
                </a:lnTo>
                <a:lnTo>
                  <a:pt x="372" y="2470"/>
                </a:lnTo>
                <a:lnTo>
                  <a:pt x="367" y="2463"/>
                </a:lnTo>
                <a:lnTo>
                  <a:pt x="360" y="2456"/>
                </a:lnTo>
                <a:lnTo>
                  <a:pt x="355" y="2448"/>
                </a:lnTo>
                <a:lnTo>
                  <a:pt x="355" y="2438"/>
                </a:lnTo>
                <a:lnTo>
                  <a:pt x="351" y="2431"/>
                </a:lnTo>
                <a:lnTo>
                  <a:pt x="343" y="2424"/>
                </a:lnTo>
                <a:lnTo>
                  <a:pt x="340" y="2422"/>
                </a:lnTo>
                <a:lnTo>
                  <a:pt x="340" y="2421"/>
                </a:lnTo>
                <a:lnTo>
                  <a:pt x="334" y="2417"/>
                </a:lnTo>
                <a:lnTo>
                  <a:pt x="333" y="2414"/>
                </a:lnTo>
                <a:lnTo>
                  <a:pt x="328" y="2409"/>
                </a:lnTo>
                <a:lnTo>
                  <a:pt x="324" y="2403"/>
                </a:lnTo>
                <a:lnTo>
                  <a:pt x="319" y="2395"/>
                </a:lnTo>
                <a:lnTo>
                  <a:pt x="316" y="2385"/>
                </a:lnTo>
                <a:lnTo>
                  <a:pt x="311" y="2380"/>
                </a:lnTo>
                <a:lnTo>
                  <a:pt x="312" y="2378"/>
                </a:lnTo>
                <a:lnTo>
                  <a:pt x="307" y="2369"/>
                </a:lnTo>
                <a:lnTo>
                  <a:pt x="306" y="2363"/>
                </a:lnTo>
                <a:lnTo>
                  <a:pt x="300" y="2358"/>
                </a:lnTo>
                <a:lnTo>
                  <a:pt x="299" y="2354"/>
                </a:lnTo>
                <a:lnTo>
                  <a:pt x="292" y="2346"/>
                </a:lnTo>
                <a:lnTo>
                  <a:pt x="285" y="2341"/>
                </a:lnTo>
                <a:lnTo>
                  <a:pt x="283" y="2334"/>
                </a:lnTo>
                <a:lnTo>
                  <a:pt x="278" y="2325"/>
                </a:lnTo>
                <a:lnTo>
                  <a:pt x="280" y="2322"/>
                </a:lnTo>
                <a:lnTo>
                  <a:pt x="273" y="2313"/>
                </a:lnTo>
                <a:lnTo>
                  <a:pt x="268" y="2303"/>
                </a:lnTo>
                <a:lnTo>
                  <a:pt x="266" y="2293"/>
                </a:lnTo>
                <a:lnTo>
                  <a:pt x="260" y="2284"/>
                </a:lnTo>
                <a:lnTo>
                  <a:pt x="256" y="2281"/>
                </a:lnTo>
                <a:lnTo>
                  <a:pt x="255" y="2279"/>
                </a:lnTo>
                <a:lnTo>
                  <a:pt x="253" y="2278"/>
                </a:lnTo>
                <a:lnTo>
                  <a:pt x="251" y="2269"/>
                </a:lnTo>
                <a:lnTo>
                  <a:pt x="243" y="2262"/>
                </a:lnTo>
                <a:lnTo>
                  <a:pt x="246" y="2256"/>
                </a:lnTo>
                <a:lnTo>
                  <a:pt x="238" y="2245"/>
                </a:lnTo>
                <a:lnTo>
                  <a:pt x="238" y="2238"/>
                </a:lnTo>
                <a:lnTo>
                  <a:pt x="229" y="2230"/>
                </a:lnTo>
                <a:lnTo>
                  <a:pt x="227" y="2230"/>
                </a:lnTo>
                <a:lnTo>
                  <a:pt x="222" y="2220"/>
                </a:lnTo>
                <a:lnTo>
                  <a:pt x="224" y="2218"/>
                </a:lnTo>
                <a:lnTo>
                  <a:pt x="222" y="2216"/>
                </a:lnTo>
                <a:lnTo>
                  <a:pt x="221" y="2213"/>
                </a:lnTo>
                <a:lnTo>
                  <a:pt x="215" y="2204"/>
                </a:lnTo>
                <a:lnTo>
                  <a:pt x="212" y="2201"/>
                </a:lnTo>
                <a:lnTo>
                  <a:pt x="212" y="2196"/>
                </a:lnTo>
                <a:lnTo>
                  <a:pt x="207" y="2193"/>
                </a:lnTo>
                <a:lnTo>
                  <a:pt x="204" y="2186"/>
                </a:lnTo>
                <a:lnTo>
                  <a:pt x="204" y="2181"/>
                </a:lnTo>
                <a:lnTo>
                  <a:pt x="204" y="2172"/>
                </a:lnTo>
                <a:lnTo>
                  <a:pt x="200" y="2165"/>
                </a:lnTo>
                <a:lnTo>
                  <a:pt x="195" y="2157"/>
                </a:lnTo>
                <a:lnTo>
                  <a:pt x="192" y="2147"/>
                </a:lnTo>
                <a:lnTo>
                  <a:pt x="192" y="2140"/>
                </a:lnTo>
                <a:lnTo>
                  <a:pt x="185" y="2133"/>
                </a:lnTo>
                <a:lnTo>
                  <a:pt x="181" y="2121"/>
                </a:lnTo>
                <a:lnTo>
                  <a:pt x="183" y="2119"/>
                </a:lnTo>
                <a:lnTo>
                  <a:pt x="180" y="2109"/>
                </a:lnTo>
                <a:lnTo>
                  <a:pt x="176" y="2099"/>
                </a:lnTo>
                <a:lnTo>
                  <a:pt x="176" y="2092"/>
                </a:lnTo>
                <a:lnTo>
                  <a:pt x="170" y="2082"/>
                </a:lnTo>
                <a:lnTo>
                  <a:pt x="166" y="2079"/>
                </a:lnTo>
                <a:lnTo>
                  <a:pt x="164" y="2070"/>
                </a:lnTo>
                <a:lnTo>
                  <a:pt x="161" y="2065"/>
                </a:lnTo>
                <a:lnTo>
                  <a:pt x="163" y="2062"/>
                </a:lnTo>
                <a:lnTo>
                  <a:pt x="159" y="2056"/>
                </a:lnTo>
                <a:lnTo>
                  <a:pt x="156" y="2046"/>
                </a:lnTo>
                <a:lnTo>
                  <a:pt x="156" y="2045"/>
                </a:lnTo>
                <a:lnTo>
                  <a:pt x="156" y="2043"/>
                </a:lnTo>
                <a:lnTo>
                  <a:pt x="156" y="2041"/>
                </a:lnTo>
                <a:lnTo>
                  <a:pt x="151" y="2031"/>
                </a:lnTo>
                <a:lnTo>
                  <a:pt x="151" y="2021"/>
                </a:lnTo>
                <a:lnTo>
                  <a:pt x="151" y="2019"/>
                </a:lnTo>
                <a:lnTo>
                  <a:pt x="151" y="2014"/>
                </a:lnTo>
                <a:lnTo>
                  <a:pt x="146" y="2004"/>
                </a:lnTo>
                <a:lnTo>
                  <a:pt x="146" y="1994"/>
                </a:lnTo>
                <a:lnTo>
                  <a:pt x="142" y="1990"/>
                </a:lnTo>
                <a:lnTo>
                  <a:pt x="137" y="1982"/>
                </a:lnTo>
                <a:lnTo>
                  <a:pt x="137" y="1977"/>
                </a:lnTo>
                <a:lnTo>
                  <a:pt x="136" y="1966"/>
                </a:lnTo>
                <a:lnTo>
                  <a:pt x="134" y="1965"/>
                </a:lnTo>
                <a:lnTo>
                  <a:pt x="132" y="1954"/>
                </a:lnTo>
                <a:lnTo>
                  <a:pt x="130" y="1949"/>
                </a:lnTo>
                <a:lnTo>
                  <a:pt x="130" y="1946"/>
                </a:lnTo>
                <a:lnTo>
                  <a:pt x="124" y="1939"/>
                </a:lnTo>
                <a:lnTo>
                  <a:pt x="124" y="1929"/>
                </a:lnTo>
                <a:lnTo>
                  <a:pt x="122" y="1925"/>
                </a:lnTo>
                <a:lnTo>
                  <a:pt x="115" y="1920"/>
                </a:lnTo>
                <a:lnTo>
                  <a:pt x="112" y="1914"/>
                </a:lnTo>
                <a:lnTo>
                  <a:pt x="107" y="1908"/>
                </a:lnTo>
                <a:lnTo>
                  <a:pt x="107" y="1905"/>
                </a:lnTo>
                <a:lnTo>
                  <a:pt x="105" y="1897"/>
                </a:lnTo>
                <a:lnTo>
                  <a:pt x="96" y="1886"/>
                </a:lnTo>
                <a:lnTo>
                  <a:pt x="98" y="1880"/>
                </a:lnTo>
                <a:lnTo>
                  <a:pt x="96" y="1874"/>
                </a:lnTo>
                <a:lnTo>
                  <a:pt x="93" y="1864"/>
                </a:lnTo>
                <a:lnTo>
                  <a:pt x="91" y="1859"/>
                </a:lnTo>
                <a:lnTo>
                  <a:pt x="91" y="1856"/>
                </a:lnTo>
                <a:lnTo>
                  <a:pt x="88" y="1851"/>
                </a:lnTo>
                <a:lnTo>
                  <a:pt x="83" y="1846"/>
                </a:lnTo>
                <a:lnTo>
                  <a:pt x="74" y="1842"/>
                </a:lnTo>
                <a:lnTo>
                  <a:pt x="69" y="1832"/>
                </a:lnTo>
                <a:lnTo>
                  <a:pt x="68" y="1830"/>
                </a:lnTo>
                <a:lnTo>
                  <a:pt x="68" y="1825"/>
                </a:lnTo>
                <a:lnTo>
                  <a:pt x="62" y="1822"/>
                </a:lnTo>
                <a:lnTo>
                  <a:pt x="59" y="1810"/>
                </a:lnTo>
                <a:lnTo>
                  <a:pt x="52" y="1805"/>
                </a:lnTo>
                <a:lnTo>
                  <a:pt x="40" y="1798"/>
                </a:lnTo>
                <a:lnTo>
                  <a:pt x="37" y="1796"/>
                </a:lnTo>
                <a:lnTo>
                  <a:pt x="37" y="1788"/>
                </a:lnTo>
                <a:lnTo>
                  <a:pt x="32" y="1783"/>
                </a:lnTo>
                <a:lnTo>
                  <a:pt x="32" y="1777"/>
                </a:lnTo>
                <a:lnTo>
                  <a:pt x="30" y="1769"/>
                </a:lnTo>
                <a:lnTo>
                  <a:pt x="27" y="1767"/>
                </a:lnTo>
                <a:lnTo>
                  <a:pt x="30" y="1757"/>
                </a:lnTo>
                <a:lnTo>
                  <a:pt x="20" y="1752"/>
                </a:lnTo>
                <a:lnTo>
                  <a:pt x="15" y="1742"/>
                </a:lnTo>
                <a:lnTo>
                  <a:pt x="13" y="1742"/>
                </a:lnTo>
                <a:lnTo>
                  <a:pt x="11" y="1740"/>
                </a:lnTo>
                <a:lnTo>
                  <a:pt x="6" y="1737"/>
                </a:lnTo>
                <a:lnTo>
                  <a:pt x="0" y="1732"/>
                </a:lnTo>
                <a:lnTo>
                  <a:pt x="1" y="1721"/>
                </a:lnTo>
                <a:lnTo>
                  <a:pt x="8" y="1715"/>
                </a:lnTo>
                <a:lnTo>
                  <a:pt x="20" y="1711"/>
                </a:lnTo>
                <a:lnTo>
                  <a:pt x="25" y="1709"/>
                </a:lnTo>
                <a:lnTo>
                  <a:pt x="37" y="1706"/>
                </a:lnTo>
                <a:lnTo>
                  <a:pt x="39" y="1706"/>
                </a:lnTo>
                <a:lnTo>
                  <a:pt x="44" y="1698"/>
                </a:lnTo>
                <a:lnTo>
                  <a:pt x="51" y="1692"/>
                </a:lnTo>
                <a:lnTo>
                  <a:pt x="57" y="1689"/>
                </a:lnTo>
                <a:lnTo>
                  <a:pt x="62" y="1691"/>
                </a:lnTo>
                <a:lnTo>
                  <a:pt x="64" y="1696"/>
                </a:lnTo>
                <a:lnTo>
                  <a:pt x="73" y="1696"/>
                </a:lnTo>
                <a:lnTo>
                  <a:pt x="78" y="1687"/>
                </a:lnTo>
                <a:lnTo>
                  <a:pt x="85" y="1682"/>
                </a:lnTo>
                <a:lnTo>
                  <a:pt x="83" y="1672"/>
                </a:lnTo>
                <a:lnTo>
                  <a:pt x="83" y="1669"/>
                </a:lnTo>
                <a:lnTo>
                  <a:pt x="91" y="1662"/>
                </a:lnTo>
                <a:lnTo>
                  <a:pt x="93" y="1660"/>
                </a:lnTo>
                <a:lnTo>
                  <a:pt x="88" y="1657"/>
                </a:lnTo>
                <a:lnTo>
                  <a:pt x="86" y="1650"/>
                </a:lnTo>
                <a:lnTo>
                  <a:pt x="79" y="1645"/>
                </a:lnTo>
                <a:lnTo>
                  <a:pt x="79" y="1636"/>
                </a:lnTo>
                <a:lnTo>
                  <a:pt x="85" y="1633"/>
                </a:lnTo>
                <a:lnTo>
                  <a:pt x="91" y="1638"/>
                </a:lnTo>
                <a:lnTo>
                  <a:pt x="98" y="1636"/>
                </a:lnTo>
                <a:lnTo>
                  <a:pt x="98" y="1630"/>
                </a:lnTo>
                <a:lnTo>
                  <a:pt x="93" y="1623"/>
                </a:lnTo>
                <a:lnTo>
                  <a:pt x="95" y="1621"/>
                </a:lnTo>
                <a:lnTo>
                  <a:pt x="107" y="1621"/>
                </a:lnTo>
                <a:lnTo>
                  <a:pt x="100" y="1612"/>
                </a:lnTo>
                <a:lnTo>
                  <a:pt x="100" y="1609"/>
                </a:lnTo>
                <a:lnTo>
                  <a:pt x="110" y="1612"/>
                </a:lnTo>
                <a:lnTo>
                  <a:pt x="115" y="1611"/>
                </a:lnTo>
                <a:lnTo>
                  <a:pt x="115" y="1599"/>
                </a:lnTo>
                <a:lnTo>
                  <a:pt x="113" y="1589"/>
                </a:lnTo>
                <a:lnTo>
                  <a:pt x="119" y="1584"/>
                </a:lnTo>
                <a:lnTo>
                  <a:pt x="132" y="1584"/>
                </a:lnTo>
                <a:lnTo>
                  <a:pt x="137" y="1580"/>
                </a:lnTo>
                <a:lnTo>
                  <a:pt x="144" y="1584"/>
                </a:lnTo>
                <a:lnTo>
                  <a:pt x="149" y="1578"/>
                </a:lnTo>
                <a:lnTo>
                  <a:pt x="158" y="1577"/>
                </a:lnTo>
                <a:lnTo>
                  <a:pt x="164" y="1573"/>
                </a:lnTo>
                <a:lnTo>
                  <a:pt x="170" y="1575"/>
                </a:lnTo>
                <a:lnTo>
                  <a:pt x="176" y="1582"/>
                </a:lnTo>
                <a:lnTo>
                  <a:pt x="180" y="1589"/>
                </a:lnTo>
                <a:lnTo>
                  <a:pt x="190" y="1590"/>
                </a:lnTo>
                <a:lnTo>
                  <a:pt x="193" y="1592"/>
                </a:lnTo>
                <a:lnTo>
                  <a:pt x="195" y="1599"/>
                </a:lnTo>
                <a:lnTo>
                  <a:pt x="193" y="1604"/>
                </a:lnTo>
                <a:lnTo>
                  <a:pt x="192" y="1612"/>
                </a:lnTo>
                <a:lnTo>
                  <a:pt x="190" y="1618"/>
                </a:lnTo>
                <a:lnTo>
                  <a:pt x="193" y="1624"/>
                </a:lnTo>
                <a:lnTo>
                  <a:pt x="198" y="1630"/>
                </a:lnTo>
                <a:lnTo>
                  <a:pt x="210" y="1628"/>
                </a:lnTo>
                <a:lnTo>
                  <a:pt x="215" y="1630"/>
                </a:lnTo>
                <a:lnTo>
                  <a:pt x="224" y="1624"/>
                </a:lnTo>
                <a:lnTo>
                  <a:pt x="229" y="1624"/>
                </a:lnTo>
                <a:lnTo>
                  <a:pt x="236" y="1631"/>
                </a:lnTo>
                <a:lnTo>
                  <a:pt x="238" y="1636"/>
                </a:lnTo>
                <a:lnTo>
                  <a:pt x="243" y="1643"/>
                </a:lnTo>
                <a:lnTo>
                  <a:pt x="241" y="1650"/>
                </a:lnTo>
                <a:lnTo>
                  <a:pt x="248" y="1658"/>
                </a:lnTo>
                <a:lnTo>
                  <a:pt x="249" y="1664"/>
                </a:lnTo>
                <a:lnTo>
                  <a:pt x="249" y="1670"/>
                </a:lnTo>
                <a:lnTo>
                  <a:pt x="243" y="1681"/>
                </a:lnTo>
                <a:lnTo>
                  <a:pt x="232" y="1681"/>
                </a:lnTo>
                <a:lnTo>
                  <a:pt x="229" y="1691"/>
                </a:lnTo>
                <a:lnTo>
                  <a:pt x="231" y="1696"/>
                </a:lnTo>
                <a:lnTo>
                  <a:pt x="238" y="1699"/>
                </a:lnTo>
                <a:lnTo>
                  <a:pt x="239" y="1706"/>
                </a:lnTo>
                <a:lnTo>
                  <a:pt x="241" y="1716"/>
                </a:lnTo>
                <a:lnTo>
                  <a:pt x="249" y="1713"/>
                </a:lnTo>
                <a:lnTo>
                  <a:pt x="253" y="1716"/>
                </a:lnTo>
                <a:lnTo>
                  <a:pt x="251" y="1723"/>
                </a:lnTo>
                <a:lnTo>
                  <a:pt x="253" y="1728"/>
                </a:lnTo>
                <a:lnTo>
                  <a:pt x="253" y="1737"/>
                </a:lnTo>
                <a:lnTo>
                  <a:pt x="248" y="1743"/>
                </a:lnTo>
                <a:lnTo>
                  <a:pt x="248" y="1754"/>
                </a:lnTo>
                <a:lnTo>
                  <a:pt x="249" y="1755"/>
                </a:lnTo>
                <a:lnTo>
                  <a:pt x="261" y="1750"/>
                </a:lnTo>
                <a:lnTo>
                  <a:pt x="263" y="1752"/>
                </a:lnTo>
                <a:lnTo>
                  <a:pt x="268" y="1749"/>
                </a:lnTo>
                <a:lnTo>
                  <a:pt x="277" y="1750"/>
                </a:lnTo>
                <a:lnTo>
                  <a:pt x="282" y="1750"/>
                </a:lnTo>
                <a:lnTo>
                  <a:pt x="289" y="1747"/>
                </a:lnTo>
                <a:lnTo>
                  <a:pt x="297" y="1749"/>
                </a:lnTo>
                <a:lnTo>
                  <a:pt x="299" y="1754"/>
                </a:lnTo>
                <a:lnTo>
                  <a:pt x="299" y="1762"/>
                </a:lnTo>
                <a:lnTo>
                  <a:pt x="300" y="1766"/>
                </a:lnTo>
                <a:lnTo>
                  <a:pt x="309" y="1771"/>
                </a:lnTo>
                <a:lnTo>
                  <a:pt x="317" y="1767"/>
                </a:lnTo>
                <a:lnTo>
                  <a:pt x="323" y="1762"/>
                </a:lnTo>
                <a:lnTo>
                  <a:pt x="331" y="1766"/>
                </a:lnTo>
                <a:lnTo>
                  <a:pt x="334" y="1760"/>
                </a:lnTo>
                <a:lnTo>
                  <a:pt x="343" y="1766"/>
                </a:lnTo>
                <a:lnTo>
                  <a:pt x="353" y="1766"/>
                </a:lnTo>
                <a:lnTo>
                  <a:pt x="355" y="1767"/>
                </a:lnTo>
                <a:lnTo>
                  <a:pt x="362" y="1767"/>
                </a:lnTo>
                <a:lnTo>
                  <a:pt x="368" y="1767"/>
                </a:lnTo>
                <a:lnTo>
                  <a:pt x="375" y="1769"/>
                </a:lnTo>
                <a:lnTo>
                  <a:pt x="379" y="1767"/>
                </a:lnTo>
                <a:lnTo>
                  <a:pt x="384" y="1774"/>
                </a:lnTo>
                <a:lnTo>
                  <a:pt x="391" y="1772"/>
                </a:lnTo>
                <a:lnTo>
                  <a:pt x="397" y="1779"/>
                </a:lnTo>
                <a:lnTo>
                  <a:pt x="402" y="1784"/>
                </a:lnTo>
                <a:lnTo>
                  <a:pt x="402" y="1788"/>
                </a:lnTo>
                <a:lnTo>
                  <a:pt x="406" y="1789"/>
                </a:lnTo>
                <a:lnTo>
                  <a:pt x="411" y="1796"/>
                </a:lnTo>
                <a:lnTo>
                  <a:pt x="421" y="1796"/>
                </a:lnTo>
                <a:lnTo>
                  <a:pt x="425" y="1798"/>
                </a:lnTo>
                <a:lnTo>
                  <a:pt x="433" y="1803"/>
                </a:lnTo>
                <a:lnTo>
                  <a:pt x="442" y="1803"/>
                </a:lnTo>
                <a:lnTo>
                  <a:pt x="448" y="1808"/>
                </a:lnTo>
                <a:lnTo>
                  <a:pt x="455" y="1801"/>
                </a:lnTo>
                <a:lnTo>
                  <a:pt x="465" y="1803"/>
                </a:lnTo>
                <a:lnTo>
                  <a:pt x="467" y="1798"/>
                </a:lnTo>
                <a:lnTo>
                  <a:pt x="477" y="1800"/>
                </a:lnTo>
                <a:lnTo>
                  <a:pt x="491" y="1798"/>
                </a:lnTo>
                <a:lnTo>
                  <a:pt x="494" y="1801"/>
                </a:lnTo>
                <a:lnTo>
                  <a:pt x="504" y="1803"/>
                </a:lnTo>
                <a:lnTo>
                  <a:pt x="510" y="1803"/>
                </a:lnTo>
                <a:lnTo>
                  <a:pt x="515" y="1801"/>
                </a:lnTo>
                <a:lnTo>
                  <a:pt x="521" y="1800"/>
                </a:lnTo>
                <a:lnTo>
                  <a:pt x="532" y="1801"/>
                </a:lnTo>
                <a:lnTo>
                  <a:pt x="538" y="1795"/>
                </a:lnTo>
                <a:lnTo>
                  <a:pt x="547" y="1793"/>
                </a:lnTo>
                <a:lnTo>
                  <a:pt x="555" y="1791"/>
                </a:lnTo>
                <a:lnTo>
                  <a:pt x="562" y="1788"/>
                </a:lnTo>
                <a:lnTo>
                  <a:pt x="571" y="1789"/>
                </a:lnTo>
                <a:lnTo>
                  <a:pt x="578" y="1788"/>
                </a:lnTo>
                <a:lnTo>
                  <a:pt x="589" y="1786"/>
                </a:lnTo>
                <a:lnTo>
                  <a:pt x="595" y="1786"/>
                </a:lnTo>
                <a:lnTo>
                  <a:pt x="601" y="1789"/>
                </a:lnTo>
                <a:lnTo>
                  <a:pt x="613" y="1788"/>
                </a:lnTo>
                <a:lnTo>
                  <a:pt x="618" y="1789"/>
                </a:lnTo>
                <a:lnTo>
                  <a:pt x="622" y="1789"/>
                </a:lnTo>
                <a:lnTo>
                  <a:pt x="634" y="1791"/>
                </a:lnTo>
                <a:lnTo>
                  <a:pt x="642" y="1793"/>
                </a:lnTo>
                <a:lnTo>
                  <a:pt x="651" y="1796"/>
                </a:lnTo>
                <a:lnTo>
                  <a:pt x="656" y="1800"/>
                </a:lnTo>
                <a:lnTo>
                  <a:pt x="661" y="1812"/>
                </a:lnTo>
                <a:lnTo>
                  <a:pt x="669" y="1812"/>
                </a:lnTo>
                <a:lnTo>
                  <a:pt x="676" y="1818"/>
                </a:lnTo>
                <a:lnTo>
                  <a:pt x="683" y="1822"/>
                </a:lnTo>
                <a:lnTo>
                  <a:pt x="688" y="1822"/>
                </a:lnTo>
                <a:lnTo>
                  <a:pt x="698" y="1820"/>
                </a:lnTo>
                <a:lnTo>
                  <a:pt x="708" y="1817"/>
                </a:lnTo>
                <a:lnTo>
                  <a:pt x="715" y="1810"/>
                </a:lnTo>
                <a:lnTo>
                  <a:pt x="719" y="1806"/>
                </a:lnTo>
                <a:lnTo>
                  <a:pt x="722" y="1805"/>
                </a:lnTo>
                <a:lnTo>
                  <a:pt x="731" y="1806"/>
                </a:lnTo>
                <a:lnTo>
                  <a:pt x="736" y="1801"/>
                </a:lnTo>
                <a:lnTo>
                  <a:pt x="734" y="1798"/>
                </a:lnTo>
                <a:lnTo>
                  <a:pt x="725" y="1793"/>
                </a:lnTo>
                <a:lnTo>
                  <a:pt x="722" y="1784"/>
                </a:lnTo>
                <a:lnTo>
                  <a:pt x="720" y="1781"/>
                </a:lnTo>
                <a:lnTo>
                  <a:pt x="720" y="1779"/>
                </a:lnTo>
                <a:lnTo>
                  <a:pt x="725" y="1771"/>
                </a:lnTo>
                <a:lnTo>
                  <a:pt x="725" y="1766"/>
                </a:lnTo>
                <a:lnTo>
                  <a:pt x="729" y="1762"/>
                </a:lnTo>
                <a:lnTo>
                  <a:pt x="737" y="1759"/>
                </a:lnTo>
                <a:lnTo>
                  <a:pt x="749" y="1762"/>
                </a:lnTo>
                <a:lnTo>
                  <a:pt x="759" y="1759"/>
                </a:lnTo>
                <a:lnTo>
                  <a:pt x="763" y="1760"/>
                </a:lnTo>
                <a:lnTo>
                  <a:pt x="771" y="1755"/>
                </a:lnTo>
                <a:lnTo>
                  <a:pt x="780" y="1752"/>
                </a:lnTo>
                <a:lnTo>
                  <a:pt x="787" y="1745"/>
                </a:lnTo>
                <a:lnTo>
                  <a:pt x="788" y="1733"/>
                </a:lnTo>
                <a:lnTo>
                  <a:pt x="790" y="1732"/>
                </a:lnTo>
                <a:lnTo>
                  <a:pt x="790" y="1725"/>
                </a:lnTo>
                <a:lnTo>
                  <a:pt x="799" y="1720"/>
                </a:lnTo>
                <a:lnTo>
                  <a:pt x="802" y="1708"/>
                </a:lnTo>
                <a:lnTo>
                  <a:pt x="807" y="1704"/>
                </a:lnTo>
                <a:lnTo>
                  <a:pt x="812" y="1704"/>
                </a:lnTo>
                <a:lnTo>
                  <a:pt x="822" y="1699"/>
                </a:lnTo>
                <a:lnTo>
                  <a:pt x="834" y="1706"/>
                </a:lnTo>
                <a:lnTo>
                  <a:pt x="834" y="1703"/>
                </a:lnTo>
                <a:lnTo>
                  <a:pt x="841" y="1701"/>
                </a:lnTo>
                <a:lnTo>
                  <a:pt x="846" y="1696"/>
                </a:lnTo>
                <a:lnTo>
                  <a:pt x="851" y="1692"/>
                </a:lnTo>
                <a:lnTo>
                  <a:pt x="858" y="1694"/>
                </a:lnTo>
                <a:lnTo>
                  <a:pt x="863" y="1698"/>
                </a:lnTo>
                <a:lnTo>
                  <a:pt x="872" y="1699"/>
                </a:lnTo>
                <a:lnTo>
                  <a:pt x="878" y="1692"/>
                </a:lnTo>
                <a:lnTo>
                  <a:pt x="880" y="1686"/>
                </a:lnTo>
                <a:lnTo>
                  <a:pt x="889" y="1682"/>
                </a:lnTo>
                <a:lnTo>
                  <a:pt x="897" y="1682"/>
                </a:lnTo>
                <a:lnTo>
                  <a:pt x="906" y="1681"/>
                </a:lnTo>
                <a:lnTo>
                  <a:pt x="912" y="1677"/>
                </a:lnTo>
                <a:lnTo>
                  <a:pt x="919" y="1677"/>
                </a:lnTo>
                <a:lnTo>
                  <a:pt x="921" y="1631"/>
                </a:lnTo>
                <a:lnTo>
                  <a:pt x="923" y="1589"/>
                </a:lnTo>
                <a:lnTo>
                  <a:pt x="923" y="1560"/>
                </a:lnTo>
                <a:lnTo>
                  <a:pt x="924" y="1504"/>
                </a:lnTo>
                <a:lnTo>
                  <a:pt x="926" y="1429"/>
                </a:lnTo>
                <a:lnTo>
                  <a:pt x="926" y="1390"/>
                </a:lnTo>
                <a:lnTo>
                  <a:pt x="929" y="1288"/>
                </a:lnTo>
                <a:lnTo>
                  <a:pt x="929" y="1250"/>
                </a:lnTo>
                <a:lnTo>
                  <a:pt x="929" y="1233"/>
                </a:lnTo>
                <a:lnTo>
                  <a:pt x="931" y="1196"/>
                </a:lnTo>
                <a:lnTo>
                  <a:pt x="931" y="1153"/>
                </a:lnTo>
                <a:lnTo>
                  <a:pt x="931" y="1150"/>
                </a:lnTo>
                <a:lnTo>
                  <a:pt x="933" y="1124"/>
                </a:lnTo>
                <a:lnTo>
                  <a:pt x="933" y="1106"/>
                </a:lnTo>
                <a:lnTo>
                  <a:pt x="933" y="1070"/>
                </a:lnTo>
                <a:lnTo>
                  <a:pt x="933" y="1063"/>
                </a:lnTo>
                <a:lnTo>
                  <a:pt x="933" y="1056"/>
                </a:lnTo>
                <a:lnTo>
                  <a:pt x="935" y="1031"/>
                </a:lnTo>
                <a:lnTo>
                  <a:pt x="935" y="1010"/>
                </a:lnTo>
                <a:lnTo>
                  <a:pt x="935" y="973"/>
                </a:lnTo>
                <a:lnTo>
                  <a:pt x="936" y="969"/>
                </a:lnTo>
                <a:lnTo>
                  <a:pt x="936" y="932"/>
                </a:lnTo>
                <a:lnTo>
                  <a:pt x="936" y="927"/>
                </a:lnTo>
                <a:lnTo>
                  <a:pt x="936" y="907"/>
                </a:lnTo>
                <a:lnTo>
                  <a:pt x="938" y="878"/>
                </a:lnTo>
                <a:lnTo>
                  <a:pt x="938" y="839"/>
                </a:lnTo>
                <a:lnTo>
                  <a:pt x="940" y="793"/>
                </a:lnTo>
                <a:lnTo>
                  <a:pt x="940" y="764"/>
                </a:lnTo>
                <a:lnTo>
                  <a:pt x="940" y="748"/>
                </a:lnTo>
                <a:lnTo>
                  <a:pt x="940" y="721"/>
                </a:lnTo>
                <a:lnTo>
                  <a:pt x="941" y="702"/>
                </a:lnTo>
                <a:lnTo>
                  <a:pt x="948" y="709"/>
                </a:lnTo>
                <a:lnTo>
                  <a:pt x="952" y="714"/>
                </a:lnTo>
                <a:lnTo>
                  <a:pt x="958" y="716"/>
                </a:lnTo>
                <a:lnTo>
                  <a:pt x="958" y="719"/>
                </a:lnTo>
                <a:lnTo>
                  <a:pt x="963" y="721"/>
                </a:lnTo>
                <a:lnTo>
                  <a:pt x="963" y="726"/>
                </a:lnTo>
                <a:lnTo>
                  <a:pt x="972" y="735"/>
                </a:lnTo>
                <a:lnTo>
                  <a:pt x="979" y="733"/>
                </a:lnTo>
                <a:lnTo>
                  <a:pt x="987" y="742"/>
                </a:lnTo>
                <a:lnTo>
                  <a:pt x="994" y="738"/>
                </a:lnTo>
                <a:lnTo>
                  <a:pt x="997" y="743"/>
                </a:lnTo>
                <a:lnTo>
                  <a:pt x="1008" y="745"/>
                </a:lnTo>
                <a:lnTo>
                  <a:pt x="1014" y="753"/>
                </a:lnTo>
                <a:lnTo>
                  <a:pt x="1018" y="760"/>
                </a:lnTo>
                <a:lnTo>
                  <a:pt x="1025" y="767"/>
                </a:lnTo>
                <a:lnTo>
                  <a:pt x="1031" y="767"/>
                </a:lnTo>
                <a:lnTo>
                  <a:pt x="1033" y="772"/>
                </a:lnTo>
                <a:lnTo>
                  <a:pt x="1040" y="774"/>
                </a:lnTo>
                <a:lnTo>
                  <a:pt x="1038" y="782"/>
                </a:lnTo>
                <a:lnTo>
                  <a:pt x="1047" y="787"/>
                </a:lnTo>
                <a:lnTo>
                  <a:pt x="1047" y="793"/>
                </a:lnTo>
                <a:lnTo>
                  <a:pt x="1052" y="796"/>
                </a:lnTo>
                <a:lnTo>
                  <a:pt x="1052" y="806"/>
                </a:lnTo>
                <a:lnTo>
                  <a:pt x="1060" y="808"/>
                </a:lnTo>
                <a:lnTo>
                  <a:pt x="1060" y="813"/>
                </a:lnTo>
                <a:lnTo>
                  <a:pt x="1055" y="818"/>
                </a:lnTo>
                <a:lnTo>
                  <a:pt x="1062" y="827"/>
                </a:lnTo>
                <a:lnTo>
                  <a:pt x="1069" y="827"/>
                </a:lnTo>
                <a:lnTo>
                  <a:pt x="1065" y="833"/>
                </a:lnTo>
                <a:lnTo>
                  <a:pt x="1069" y="839"/>
                </a:lnTo>
                <a:lnTo>
                  <a:pt x="1081" y="842"/>
                </a:lnTo>
                <a:lnTo>
                  <a:pt x="1072" y="850"/>
                </a:lnTo>
                <a:lnTo>
                  <a:pt x="1081" y="850"/>
                </a:lnTo>
                <a:lnTo>
                  <a:pt x="1079" y="857"/>
                </a:lnTo>
                <a:lnTo>
                  <a:pt x="1081" y="864"/>
                </a:lnTo>
                <a:lnTo>
                  <a:pt x="1084" y="869"/>
                </a:lnTo>
                <a:lnTo>
                  <a:pt x="1094" y="871"/>
                </a:lnTo>
                <a:lnTo>
                  <a:pt x="1094" y="879"/>
                </a:lnTo>
                <a:lnTo>
                  <a:pt x="1101" y="879"/>
                </a:lnTo>
                <a:lnTo>
                  <a:pt x="1098" y="884"/>
                </a:lnTo>
                <a:lnTo>
                  <a:pt x="1099" y="888"/>
                </a:lnTo>
                <a:lnTo>
                  <a:pt x="1110" y="884"/>
                </a:lnTo>
                <a:lnTo>
                  <a:pt x="1113" y="886"/>
                </a:lnTo>
                <a:lnTo>
                  <a:pt x="1111" y="890"/>
                </a:lnTo>
                <a:lnTo>
                  <a:pt x="1103" y="891"/>
                </a:lnTo>
                <a:lnTo>
                  <a:pt x="1105" y="898"/>
                </a:lnTo>
                <a:lnTo>
                  <a:pt x="1101" y="905"/>
                </a:lnTo>
                <a:lnTo>
                  <a:pt x="1111" y="912"/>
                </a:lnTo>
                <a:lnTo>
                  <a:pt x="1113" y="917"/>
                </a:lnTo>
                <a:lnTo>
                  <a:pt x="1118" y="922"/>
                </a:lnTo>
                <a:lnTo>
                  <a:pt x="1118" y="924"/>
                </a:lnTo>
                <a:lnTo>
                  <a:pt x="1110" y="927"/>
                </a:lnTo>
                <a:lnTo>
                  <a:pt x="1106" y="935"/>
                </a:lnTo>
                <a:lnTo>
                  <a:pt x="1115" y="934"/>
                </a:lnTo>
                <a:lnTo>
                  <a:pt x="1111" y="944"/>
                </a:lnTo>
                <a:lnTo>
                  <a:pt x="1113" y="949"/>
                </a:lnTo>
                <a:lnTo>
                  <a:pt x="1120" y="954"/>
                </a:lnTo>
                <a:lnTo>
                  <a:pt x="1123" y="956"/>
                </a:lnTo>
                <a:lnTo>
                  <a:pt x="1127" y="964"/>
                </a:lnTo>
                <a:lnTo>
                  <a:pt x="1127" y="971"/>
                </a:lnTo>
                <a:lnTo>
                  <a:pt x="1135" y="973"/>
                </a:lnTo>
                <a:lnTo>
                  <a:pt x="1135" y="975"/>
                </a:lnTo>
                <a:lnTo>
                  <a:pt x="1128" y="985"/>
                </a:lnTo>
                <a:lnTo>
                  <a:pt x="1132" y="985"/>
                </a:lnTo>
                <a:lnTo>
                  <a:pt x="1140" y="980"/>
                </a:lnTo>
                <a:lnTo>
                  <a:pt x="1140" y="988"/>
                </a:lnTo>
                <a:lnTo>
                  <a:pt x="1139" y="993"/>
                </a:lnTo>
                <a:lnTo>
                  <a:pt x="1147" y="997"/>
                </a:lnTo>
                <a:lnTo>
                  <a:pt x="1142" y="1005"/>
                </a:lnTo>
                <a:lnTo>
                  <a:pt x="1144" y="1010"/>
                </a:lnTo>
                <a:lnTo>
                  <a:pt x="1152" y="1019"/>
                </a:lnTo>
                <a:lnTo>
                  <a:pt x="1154" y="1021"/>
                </a:lnTo>
                <a:lnTo>
                  <a:pt x="1150" y="1029"/>
                </a:lnTo>
                <a:lnTo>
                  <a:pt x="1147" y="1032"/>
                </a:lnTo>
                <a:lnTo>
                  <a:pt x="1152" y="1041"/>
                </a:lnTo>
                <a:lnTo>
                  <a:pt x="1147" y="1048"/>
                </a:lnTo>
                <a:lnTo>
                  <a:pt x="1152" y="1053"/>
                </a:lnTo>
                <a:lnTo>
                  <a:pt x="1147" y="1060"/>
                </a:lnTo>
                <a:lnTo>
                  <a:pt x="1152" y="1065"/>
                </a:lnTo>
                <a:lnTo>
                  <a:pt x="1159" y="1066"/>
                </a:lnTo>
                <a:lnTo>
                  <a:pt x="1154" y="1075"/>
                </a:lnTo>
                <a:lnTo>
                  <a:pt x="1147" y="1080"/>
                </a:lnTo>
                <a:lnTo>
                  <a:pt x="1145" y="1089"/>
                </a:lnTo>
                <a:lnTo>
                  <a:pt x="1142" y="1097"/>
                </a:lnTo>
                <a:lnTo>
                  <a:pt x="1139" y="1100"/>
                </a:lnTo>
                <a:lnTo>
                  <a:pt x="1139" y="1104"/>
                </a:lnTo>
                <a:lnTo>
                  <a:pt x="1130" y="1107"/>
                </a:lnTo>
                <a:lnTo>
                  <a:pt x="1127" y="1116"/>
                </a:lnTo>
                <a:lnTo>
                  <a:pt x="1120" y="1121"/>
                </a:lnTo>
                <a:lnTo>
                  <a:pt x="1113" y="1129"/>
                </a:lnTo>
                <a:lnTo>
                  <a:pt x="1113" y="1138"/>
                </a:lnTo>
                <a:lnTo>
                  <a:pt x="1108" y="1138"/>
                </a:lnTo>
                <a:lnTo>
                  <a:pt x="1101" y="1146"/>
                </a:lnTo>
                <a:lnTo>
                  <a:pt x="1093" y="1150"/>
                </a:lnTo>
                <a:lnTo>
                  <a:pt x="1093" y="1157"/>
                </a:lnTo>
                <a:lnTo>
                  <a:pt x="1091" y="1165"/>
                </a:lnTo>
                <a:lnTo>
                  <a:pt x="1089" y="1169"/>
                </a:lnTo>
                <a:lnTo>
                  <a:pt x="1089" y="1174"/>
                </a:lnTo>
                <a:lnTo>
                  <a:pt x="1089" y="1180"/>
                </a:lnTo>
                <a:lnTo>
                  <a:pt x="1096" y="1189"/>
                </a:lnTo>
                <a:lnTo>
                  <a:pt x="1096" y="1196"/>
                </a:lnTo>
                <a:lnTo>
                  <a:pt x="1094" y="1203"/>
                </a:lnTo>
                <a:lnTo>
                  <a:pt x="1096" y="1209"/>
                </a:lnTo>
                <a:lnTo>
                  <a:pt x="1091" y="1214"/>
                </a:lnTo>
                <a:lnTo>
                  <a:pt x="1094" y="1225"/>
                </a:lnTo>
                <a:lnTo>
                  <a:pt x="1093" y="1231"/>
                </a:lnTo>
                <a:lnTo>
                  <a:pt x="1096" y="1237"/>
                </a:lnTo>
                <a:lnTo>
                  <a:pt x="1091" y="1242"/>
                </a:lnTo>
                <a:lnTo>
                  <a:pt x="1099" y="1247"/>
                </a:lnTo>
                <a:lnTo>
                  <a:pt x="1098" y="1252"/>
                </a:lnTo>
                <a:lnTo>
                  <a:pt x="1106" y="1255"/>
                </a:lnTo>
                <a:lnTo>
                  <a:pt x="1105" y="1260"/>
                </a:lnTo>
                <a:lnTo>
                  <a:pt x="1108" y="1272"/>
                </a:lnTo>
                <a:lnTo>
                  <a:pt x="1110" y="1271"/>
                </a:lnTo>
                <a:lnTo>
                  <a:pt x="1115" y="1264"/>
                </a:lnTo>
                <a:lnTo>
                  <a:pt x="1128" y="1262"/>
                </a:lnTo>
                <a:lnTo>
                  <a:pt x="1133" y="1255"/>
                </a:lnTo>
                <a:lnTo>
                  <a:pt x="1142" y="1255"/>
                </a:lnTo>
                <a:lnTo>
                  <a:pt x="1144" y="1250"/>
                </a:lnTo>
                <a:lnTo>
                  <a:pt x="1149" y="1250"/>
                </a:lnTo>
                <a:lnTo>
                  <a:pt x="1161" y="1243"/>
                </a:lnTo>
                <a:lnTo>
                  <a:pt x="1164" y="1243"/>
                </a:lnTo>
                <a:lnTo>
                  <a:pt x="1166" y="1243"/>
                </a:lnTo>
                <a:lnTo>
                  <a:pt x="1176" y="1248"/>
                </a:lnTo>
                <a:lnTo>
                  <a:pt x="1183" y="1247"/>
                </a:lnTo>
                <a:lnTo>
                  <a:pt x="1186" y="1252"/>
                </a:lnTo>
                <a:lnTo>
                  <a:pt x="1193" y="1257"/>
                </a:lnTo>
                <a:lnTo>
                  <a:pt x="1205" y="1259"/>
                </a:lnTo>
                <a:lnTo>
                  <a:pt x="1210" y="1257"/>
                </a:lnTo>
                <a:lnTo>
                  <a:pt x="1220" y="1260"/>
                </a:lnTo>
                <a:lnTo>
                  <a:pt x="1224" y="1264"/>
                </a:lnTo>
                <a:lnTo>
                  <a:pt x="1235" y="1262"/>
                </a:lnTo>
                <a:lnTo>
                  <a:pt x="1239" y="1259"/>
                </a:lnTo>
                <a:lnTo>
                  <a:pt x="1247" y="1257"/>
                </a:lnTo>
                <a:lnTo>
                  <a:pt x="1259" y="1255"/>
                </a:lnTo>
                <a:lnTo>
                  <a:pt x="1268" y="1257"/>
                </a:lnTo>
                <a:lnTo>
                  <a:pt x="1276" y="1252"/>
                </a:lnTo>
                <a:lnTo>
                  <a:pt x="1288" y="1252"/>
                </a:lnTo>
                <a:lnTo>
                  <a:pt x="1295" y="1250"/>
                </a:lnTo>
                <a:lnTo>
                  <a:pt x="1305" y="1252"/>
                </a:lnTo>
                <a:lnTo>
                  <a:pt x="1310" y="1255"/>
                </a:lnTo>
                <a:lnTo>
                  <a:pt x="1315" y="1255"/>
                </a:lnTo>
                <a:lnTo>
                  <a:pt x="1326" y="1260"/>
                </a:lnTo>
                <a:lnTo>
                  <a:pt x="1331" y="1255"/>
                </a:lnTo>
                <a:lnTo>
                  <a:pt x="1339" y="1255"/>
                </a:lnTo>
                <a:lnTo>
                  <a:pt x="1346" y="1257"/>
                </a:lnTo>
                <a:lnTo>
                  <a:pt x="1353" y="1262"/>
                </a:lnTo>
                <a:lnTo>
                  <a:pt x="1361" y="1262"/>
                </a:lnTo>
                <a:lnTo>
                  <a:pt x="1366" y="1259"/>
                </a:lnTo>
                <a:lnTo>
                  <a:pt x="1371" y="1260"/>
                </a:lnTo>
                <a:lnTo>
                  <a:pt x="1382" y="1252"/>
                </a:lnTo>
                <a:lnTo>
                  <a:pt x="1388" y="1248"/>
                </a:lnTo>
                <a:lnTo>
                  <a:pt x="1390" y="1245"/>
                </a:lnTo>
                <a:lnTo>
                  <a:pt x="1394" y="1245"/>
                </a:lnTo>
                <a:lnTo>
                  <a:pt x="1397" y="1237"/>
                </a:lnTo>
                <a:lnTo>
                  <a:pt x="1394" y="1231"/>
                </a:lnTo>
                <a:lnTo>
                  <a:pt x="1395" y="1225"/>
                </a:lnTo>
                <a:lnTo>
                  <a:pt x="1390" y="1216"/>
                </a:lnTo>
                <a:lnTo>
                  <a:pt x="1395" y="1211"/>
                </a:lnTo>
                <a:lnTo>
                  <a:pt x="1405" y="1208"/>
                </a:lnTo>
                <a:lnTo>
                  <a:pt x="1409" y="1209"/>
                </a:lnTo>
                <a:lnTo>
                  <a:pt x="1421" y="1209"/>
                </a:lnTo>
                <a:lnTo>
                  <a:pt x="1431" y="1209"/>
                </a:lnTo>
                <a:lnTo>
                  <a:pt x="1438" y="1209"/>
                </a:lnTo>
                <a:lnTo>
                  <a:pt x="1446" y="1204"/>
                </a:lnTo>
                <a:lnTo>
                  <a:pt x="1451" y="1204"/>
                </a:lnTo>
                <a:lnTo>
                  <a:pt x="1455" y="1201"/>
                </a:lnTo>
                <a:lnTo>
                  <a:pt x="1465" y="1201"/>
                </a:lnTo>
                <a:lnTo>
                  <a:pt x="1468" y="1194"/>
                </a:lnTo>
                <a:lnTo>
                  <a:pt x="1472" y="1186"/>
                </a:lnTo>
                <a:lnTo>
                  <a:pt x="1480" y="1177"/>
                </a:lnTo>
                <a:lnTo>
                  <a:pt x="1485" y="1177"/>
                </a:lnTo>
                <a:lnTo>
                  <a:pt x="1487" y="1170"/>
                </a:lnTo>
                <a:lnTo>
                  <a:pt x="1494" y="1167"/>
                </a:lnTo>
                <a:lnTo>
                  <a:pt x="1494" y="1160"/>
                </a:lnTo>
                <a:lnTo>
                  <a:pt x="1499" y="1157"/>
                </a:lnTo>
                <a:lnTo>
                  <a:pt x="1499" y="1148"/>
                </a:lnTo>
                <a:lnTo>
                  <a:pt x="1504" y="1145"/>
                </a:lnTo>
                <a:lnTo>
                  <a:pt x="1502" y="1138"/>
                </a:lnTo>
                <a:lnTo>
                  <a:pt x="1502" y="1136"/>
                </a:lnTo>
                <a:lnTo>
                  <a:pt x="1507" y="1134"/>
                </a:lnTo>
                <a:lnTo>
                  <a:pt x="1514" y="1129"/>
                </a:lnTo>
                <a:lnTo>
                  <a:pt x="1516" y="1124"/>
                </a:lnTo>
                <a:lnTo>
                  <a:pt x="1528" y="1123"/>
                </a:lnTo>
                <a:lnTo>
                  <a:pt x="1533" y="1123"/>
                </a:lnTo>
                <a:lnTo>
                  <a:pt x="1538" y="1117"/>
                </a:lnTo>
                <a:lnTo>
                  <a:pt x="1547" y="1117"/>
                </a:lnTo>
                <a:lnTo>
                  <a:pt x="1548" y="1107"/>
                </a:lnTo>
                <a:lnTo>
                  <a:pt x="1558" y="1104"/>
                </a:lnTo>
                <a:lnTo>
                  <a:pt x="1557" y="1097"/>
                </a:lnTo>
                <a:lnTo>
                  <a:pt x="1564" y="1092"/>
                </a:lnTo>
                <a:lnTo>
                  <a:pt x="1572" y="1092"/>
                </a:lnTo>
                <a:lnTo>
                  <a:pt x="1577" y="1085"/>
                </a:lnTo>
                <a:lnTo>
                  <a:pt x="1587" y="1089"/>
                </a:lnTo>
                <a:lnTo>
                  <a:pt x="1591" y="1092"/>
                </a:lnTo>
                <a:lnTo>
                  <a:pt x="1598" y="1092"/>
                </a:lnTo>
                <a:lnTo>
                  <a:pt x="1604" y="1082"/>
                </a:lnTo>
                <a:lnTo>
                  <a:pt x="1604" y="1072"/>
                </a:lnTo>
                <a:lnTo>
                  <a:pt x="1604" y="1070"/>
                </a:lnTo>
                <a:lnTo>
                  <a:pt x="1609" y="1072"/>
                </a:lnTo>
                <a:lnTo>
                  <a:pt x="1613" y="1066"/>
                </a:lnTo>
                <a:lnTo>
                  <a:pt x="1618" y="1063"/>
                </a:lnTo>
                <a:lnTo>
                  <a:pt x="1618" y="1058"/>
                </a:lnTo>
                <a:lnTo>
                  <a:pt x="1620" y="1056"/>
                </a:lnTo>
                <a:lnTo>
                  <a:pt x="1630" y="1051"/>
                </a:lnTo>
                <a:lnTo>
                  <a:pt x="1630" y="1043"/>
                </a:lnTo>
                <a:lnTo>
                  <a:pt x="1628" y="1038"/>
                </a:lnTo>
                <a:lnTo>
                  <a:pt x="1628" y="1036"/>
                </a:lnTo>
                <a:lnTo>
                  <a:pt x="1640" y="1038"/>
                </a:lnTo>
                <a:lnTo>
                  <a:pt x="1643" y="1036"/>
                </a:lnTo>
                <a:lnTo>
                  <a:pt x="1645" y="1024"/>
                </a:lnTo>
                <a:lnTo>
                  <a:pt x="1643" y="1019"/>
                </a:lnTo>
                <a:lnTo>
                  <a:pt x="1650" y="1010"/>
                </a:lnTo>
                <a:lnTo>
                  <a:pt x="1642" y="1004"/>
                </a:lnTo>
                <a:lnTo>
                  <a:pt x="1649" y="1000"/>
                </a:lnTo>
                <a:lnTo>
                  <a:pt x="1647" y="993"/>
                </a:lnTo>
                <a:lnTo>
                  <a:pt x="1657" y="990"/>
                </a:lnTo>
                <a:lnTo>
                  <a:pt x="1660" y="985"/>
                </a:lnTo>
                <a:lnTo>
                  <a:pt x="1659" y="981"/>
                </a:lnTo>
                <a:lnTo>
                  <a:pt x="1647" y="976"/>
                </a:lnTo>
                <a:lnTo>
                  <a:pt x="1654" y="975"/>
                </a:lnTo>
                <a:lnTo>
                  <a:pt x="1655" y="973"/>
                </a:lnTo>
                <a:lnTo>
                  <a:pt x="1655" y="964"/>
                </a:lnTo>
                <a:lnTo>
                  <a:pt x="1657" y="961"/>
                </a:lnTo>
                <a:lnTo>
                  <a:pt x="1666" y="958"/>
                </a:lnTo>
                <a:lnTo>
                  <a:pt x="1671" y="949"/>
                </a:lnTo>
                <a:lnTo>
                  <a:pt x="1674" y="941"/>
                </a:lnTo>
                <a:lnTo>
                  <a:pt x="1666" y="934"/>
                </a:lnTo>
                <a:lnTo>
                  <a:pt x="1677" y="930"/>
                </a:lnTo>
                <a:lnTo>
                  <a:pt x="1679" y="929"/>
                </a:lnTo>
                <a:lnTo>
                  <a:pt x="1679" y="927"/>
                </a:lnTo>
                <a:lnTo>
                  <a:pt x="1669" y="920"/>
                </a:lnTo>
                <a:lnTo>
                  <a:pt x="1672" y="918"/>
                </a:lnTo>
                <a:lnTo>
                  <a:pt x="1677" y="910"/>
                </a:lnTo>
                <a:lnTo>
                  <a:pt x="1681" y="907"/>
                </a:lnTo>
                <a:lnTo>
                  <a:pt x="1683" y="900"/>
                </a:lnTo>
                <a:lnTo>
                  <a:pt x="1679" y="896"/>
                </a:lnTo>
                <a:lnTo>
                  <a:pt x="1684" y="893"/>
                </a:lnTo>
                <a:lnTo>
                  <a:pt x="1693" y="895"/>
                </a:lnTo>
                <a:lnTo>
                  <a:pt x="1689" y="890"/>
                </a:lnTo>
                <a:lnTo>
                  <a:pt x="1693" y="886"/>
                </a:lnTo>
                <a:lnTo>
                  <a:pt x="1696" y="878"/>
                </a:lnTo>
                <a:lnTo>
                  <a:pt x="1698" y="876"/>
                </a:lnTo>
                <a:lnTo>
                  <a:pt x="1701" y="874"/>
                </a:lnTo>
                <a:lnTo>
                  <a:pt x="1711" y="867"/>
                </a:lnTo>
                <a:lnTo>
                  <a:pt x="1715" y="856"/>
                </a:lnTo>
                <a:lnTo>
                  <a:pt x="1723" y="856"/>
                </a:lnTo>
                <a:lnTo>
                  <a:pt x="1722" y="845"/>
                </a:lnTo>
                <a:lnTo>
                  <a:pt x="1728" y="849"/>
                </a:lnTo>
                <a:lnTo>
                  <a:pt x="1734" y="842"/>
                </a:lnTo>
                <a:lnTo>
                  <a:pt x="1734" y="850"/>
                </a:lnTo>
                <a:lnTo>
                  <a:pt x="1740" y="854"/>
                </a:lnTo>
                <a:lnTo>
                  <a:pt x="1749" y="847"/>
                </a:lnTo>
                <a:lnTo>
                  <a:pt x="1756" y="850"/>
                </a:lnTo>
                <a:lnTo>
                  <a:pt x="1762" y="847"/>
                </a:lnTo>
                <a:lnTo>
                  <a:pt x="1769" y="840"/>
                </a:lnTo>
                <a:lnTo>
                  <a:pt x="1776" y="839"/>
                </a:lnTo>
                <a:lnTo>
                  <a:pt x="1781" y="840"/>
                </a:lnTo>
                <a:lnTo>
                  <a:pt x="1793" y="839"/>
                </a:lnTo>
                <a:lnTo>
                  <a:pt x="1796" y="844"/>
                </a:lnTo>
                <a:lnTo>
                  <a:pt x="1802" y="840"/>
                </a:lnTo>
                <a:lnTo>
                  <a:pt x="1805" y="844"/>
                </a:lnTo>
                <a:lnTo>
                  <a:pt x="1813" y="842"/>
                </a:lnTo>
                <a:lnTo>
                  <a:pt x="1817" y="845"/>
                </a:lnTo>
                <a:lnTo>
                  <a:pt x="1829" y="849"/>
                </a:lnTo>
                <a:lnTo>
                  <a:pt x="1832" y="844"/>
                </a:lnTo>
                <a:lnTo>
                  <a:pt x="1836" y="839"/>
                </a:lnTo>
                <a:lnTo>
                  <a:pt x="1842" y="839"/>
                </a:lnTo>
                <a:lnTo>
                  <a:pt x="1839" y="845"/>
                </a:lnTo>
                <a:lnTo>
                  <a:pt x="1844" y="845"/>
                </a:lnTo>
                <a:lnTo>
                  <a:pt x="1849" y="850"/>
                </a:lnTo>
                <a:lnTo>
                  <a:pt x="1849" y="859"/>
                </a:lnTo>
                <a:lnTo>
                  <a:pt x="1856" y="856"/>
                </a:lnTo>
                <a:lnTo>
                  <a:pt x="1866" y="861"/>
                </a:lnTo>
                <a:lnTo>
                  <a:pt x="1864" y="864"/>
                </a:lnTo>
                <a:lnTo>
                  <a:pt x="1871" y="866"/>
                </a:lnTo>
                <a:lnTo>
                  <a:pt x="1873" y="871"/>
                </a:lnTo>
                <a:lnTo>
                  <a:pt x="1880" y="867"/>
                </a:lnTo>
                <a:lnTo>
                  <a:pt x="1878" y="873"/>
                </a:lnTo>
                <a:lnTo>
                  <a:pt x="1885" y="874"/>
                </a:lnTo>
                <a:lnTo>
                  <a:pt x="1885" y="881"/>
                </a:lnTo>
                <a:lnTo>
                  <a:pt x="1893" y="876"/>
                </a:lnTo>
                <a:lnTo>
                  <a:pt x="1893" y="883"/>
                </a:lnTo>
                <a:lnTo>
                  <a:pt x="1900" y="884"/>
                </a:lnTo>
                <a:lnTo>
                  <a:pt x="1902" y="888"/>
                </a:lnTo>
                <a:lnTo>
                  <a:pt x="1909" y="884"/>
                </a:lnTo>
                <a:lnTo>
                  <a:pt x="1917" y="890"/>
                </a:lnTo>
                <a:lnTo>
                  <a:pt x="1917" y="900"/>
                </a:lnTo>
                <a:lnTo>
                  <a:pt x="1924" y="901"/>
                </a:lnTo>
                <a:lnTo>
                  <a:pt x="1932" y="901"/>
                </a:lnTo>
                <a:lnTo>
                  <a:pt x="1929" y="910"/>
                </a:lnTo>
                <a:lnTo>
                  <a:pt x="1936" y="910"/>
                </a:lnTo>
                <a:lnTo>
                  <a:pt x="1937" y="917"/>
                </a:lnTo>
                <a:lnTo>
                  <a:pt x="1948" y="918"/>
                </a:lnTo>
                <a:lnTo>
                  <a:pt x="1948" y="924"/>
                </a:lnTo>
                <a:lnTo>
                  <a:pt x="1954" y="927"/>
                </a:lnTo>
                <a:lnTo>
                  <a:pt x="1953" y="932"/>
                </a:lnTo>
                <a:lnTo>
                  <a:pt x="1965" y="935"/>
                </a:lnTo>
                <a:lnTo>
                  <a:pt x="1971" y="929"/>
                </a:lnTo>
                <a:lnTo>
                  <a:pt x="1982" y="932"/>
                </a:lnTo>
                <a:lnTo>
                  <a:pt x="1980" y="939"/>
                </a:lnTo>
                <a:lnTo>
                  <a:pt x="1987" y="934"/>
                </a:lnTo>
                <a:lnTo>
                  <a:pt x="1994" y="939"/>
                </a:lnTo>
                <a:lnTo>
                  <a:pt x="1995" y="934"/>
                </a:lnTo>
                <a:lnTo>
                  <a:pt x="2000" y="937"/>
                </a:lnTo>
                <a:lnTo>
                  <a:pt x="2005" y="934"/>
                </a:lnTo>
                <a:lnTo>
                  <a:pt x="2014" y="932"/>
                </a:lnTo>
                <a:lnTo>
                  <a:pt x="2019" y="927"/>
                </a:lnTo>
                <a:lnTo>
                  <a:pt x="2019" y="934"/>
                </a:lnTo>
                <a:lnTo>
                  <a:pt x="2028" y="930"/>
                </a:lnTo>
                <a:lnTo>
                  <a:pt x="2038" y="937"/>
                </a:lnTo>
                <a:lnTo>
                  <a:pt x="2043" y="946"/>
                </a:lnTo>
                <a:lnTo>
                  <a:pt x="2046" y="954"/>
                </a:lnTo>
                <a:lnTo>
                  <a:pt x="2053" y="951"/>
                </a:lnTo>
                <a:lnTo>
                  <a:pt x="2051" y="959"/>
                </a:lnTo>
                <a:lnTo>
                  <a:pt x="2062" y="954"/>
                </a:lnTo>
                <a:lnTo>
                  <a:pt x="2062" y="961"/>
                </a:lnTo>
                <a:lnTo>
                  <a:pt x="2070" y="966"/>
                </a:lnTo>
                <a:lnTo>
                  <a:pt x="2075" y="969"/>
                </a:lnTo>
                <a:lnTo>
                  <a:pt x="2082" y="968"/>
                </a:lnTo>
                <a:lnTo>
                  <a:pt x="2084" y="964"/>
                </a:lnTo>
                <a:lnTo>
                  <a:pt x="2089" y="966"/>
                </a:lnTo>
                <a:lnTo>
                  <a:pt x="2094" y="961"/>
                </a:lnTo>
                <a:lnTo>
                  <a:pt x="2097" y="963"/>
                </a:lnTo>
                <a:lnTo>
                  <a:pt x="2099" y="961"/>
                </a:lnTo>
                <a:lnTo>
                  <a:pt x="2101" y="964"/>
                </a:lnTo>
                <a:lnTo>
                  <a:pt x="2106" y="966"/>
                </a:lnTo>
                <a:lnTo>
                  <a:pt x="2113" y="968"/>
                </a:lnTo>
                <a:lnTo>
                  <a:pt x="2119" y="971"/>
                </a:lnTo>
                <a:lnTo>
                  <a:pt x="2126" y="971"/>
                </a:lnTo>
                <a:lnTo>
                  <a:pt x="2131" y="976"/>
                </a:lnTo>
                <a:lnTo>
                  <a:pt x="2136" y="978"/>
                </a:lnTo>
                <a:lnTo>
                  <a:pt x="2143" y="980"/>
                </a:lnTo>
                <a:lnTo>
                  <a:pt x="2150" y="983"/>
                </a:lnTo>
                <a:lnTo>
                  <a:pt x="2153" y="983"/>
                </a:lnTo>
                <a:lnTo>
                  <a:pt x="2155" y="985"/>
                </a:lnTo>
                <a:lnTo>
                  <a:pt x="2158" y="981"/>
                </a:lnTo>
                <a:lnTo>
                  <a:pt x="2167" y="980"/>
                </a:lnTo>
                <a:lnTo>
                  <a:pt x="2172" y="981"/>
                </a:lnTo>
                <a:lnTo>
                  <a:pt x="2182" y="983"/>
                </a:lnTo>
                <a:lnTo>
                  <a:pt x="2184" y="985"/>
                </a:lnTo>
                <a:lnTo>
                  <a:pt x="2189" y="981"/>
                </a:lnTo>
                <a:lnTo>
                  <a:pt x="2191" y="983"/>
                </a:lnTo>
                <a:lnTo>
                  <a:pt x="2192" y="981"/>
                </a:lnTo>
                <a:lnTo>
                  <a:pt x="2204" y="980"/>
                </a:lnTo>
                <a:lnTo>
                  <a:pt x="2211" y="981"/>
                </a:lnTo>
                <a:lnTo>
                  <a:pt x="2215" y="975"/>
                </a:lnTo>
                <a:lnTo>
                  <a:pt x="2220" y="975"/>
                </a:lnTo>
                <a:lnTo>
                  <a:pt x="2226" y="968"/>
                </a:lnTo>
                <a:lnTo>
                  <a:pt x="2230" y="969"/>
                </a:lnTo>
                <a:lnTo>
                  <a:pt x="2238" y="963"/>
                </a:lnTo>
                <a:lnTo>
                  <a:pt x="2238" y="959"/>
                </a:lnTo>
                <a:lnTo>
                  <a:pt x="2249" y="958"/>
                </a:lnTo>
                <a:lnTo>
                  <a:pt x="2254" y="961"/>
                </a:lnTo>
                <a:lnTo>
                  <a:pt x="2266" y="963"/>
                </a:lnTo>
                <a:lnTo>
                  <a:pt x="2269" y="969"/>
                </a:lnTo>
                <a:lnTo>
                  <a:pt x="2276" y="966"/>
                </a:lnTo>
                <a:lnTo>
                  <a:pt x="2283" y="969"/>
                </a:lnTo>
                <a:lnTo>
                  <a:pt x="2291" y="968"/>
                </a:lnTo>
                <a:lnTo>
                  <a:pt x="2294" y="969"/>
                </a:lnTo>
                <a:lnTo>
                  <a:pt x="2306" y="969"/>
                </a:lnTo>
                <a:lnTo>
                  <a:pt x="2317" y="969"/>
                </a:lnTo>
                <a:lnTo>
                  <a:pt x="2322" y="971"/>
                </a:lnTo>
                <a:lnTo>
                  <a:pt x="2327" y="969"/>
                </a:lnTo>
                <a:lnTo>
                  <a:pt x="2334" y="968"/>
                </a:lnTo>
                <a:lnTo>
                  <a:pt x="2339" y="964"/>
                </a:lnTo>
                <a:lnTo>
                  <a:pt x="2349" y="959"/>
                </a:lnTo>
                <a:lnTo>
                  <a:pt x="2357" y="954"/>
                </a:lnTo>
                <a:lnTo>
                  <a:pt x="2361" y="951"/>
                </a:lnTo>
                <a:lnTo>
                  <a:pt x="2373" y="947"/>
                </a:lnTo>
                <a:lnTo>
                  <a:pt x="2378" y="942"/>
                </a:lnTo>
                <a:lnTo>
                  <a:pt x="2385" y="939"/>
                </a:lnTo>
                <a:lnTo>
                  <a:pt x="2390" y="935"/>
                </a:lnTo>
                <a:lnTo>
                  <a:pt x="2403" y="908"/>
                </a:lnTo>
                <a:lnTo>
                  <a:pt x="2403" y="907"/>
                </a:lnTo>
                <a:lnTo>
                  <a:pt x="2410" y="896"/>
                </a:lnTo>
                <a:lnTo>
                  <a:pt x="2410" y="895"/>
                </a:lnTo>
                <a:lnTo>
                  <a:pt x="2412" y="891"/>
                </a:lnTo>
                <a:lnTo>
                  <a:pt x="2413" y="890"/>
                </a:lnTo>
                <a:lnTo>
                  <a:pt x="2415" y="879"/>
                </a:lnTo>
                <a:lnTo>
                  <a:pt x="2419" y="873"/>
                </a:lnTo>
                <a:lnTo>
                  <a:pt x="2420" y="866"/>
                </a:lnTo>
                <a:lnTo>
                  <a:pt x="2420" y="862"/>
                </a:lnTo>
                <a:lnTo>
                  <a:pt x="2422" y="857"/>
                </a:lnTo>
                <a:lnTo>
                  <a:pt x="2422" y="850"/>
                </a:lnTo>
                <a:lnTo>
                  <a:pt x="2424" y="844"/>
                </a:lnTo>
                <a:lnTo>
                  <a:pt x="2432" y="833"/>
                </a:lnTo>
                <a:lnTo>
                  <a:pt x="2436" y="823"/>
                </a:lnTo>
                <a:lnTo>
                  <a:pt x="2439" y="816"/>
                </a:lnTo>
                <a:lnTo>
                  <a:pt x="2446" y="803"/>
                </a:lnTo>
                <a:lnTo>
                  <a:pt x="2453" y="786"/>
                </a:lnTo>
                <a:lnTo>
                  <a:pt x="2459" y="767"/>
                </a:lnTo>
                <a:lnTo>
                  <a:pt x="2463" y="760"/>
                </a:lnTo>
                <a:lnTo>
                  <a:pt x="2464" y="759"/>
                </a:lnTo>
                <a:lnTo>
                  <a:pt x="2464" y="755"/>
                </a:lnTo>
                <a:lnTo>
                  <a:pt x="2470" y="745"/>
                </a:lnTo>
                <a:lnTo>
                  <a:pt x="2468" y="745"/>
                </a:lnTo>
                <a:lnTo>
                  <a:pt x="2475" y="743"/>
                </a:lnTo>
                <a:lnTo>
                  <a:pt x="2471" y="740"/>
                </a:lnTo>
                <a:lnTo>
                  <a:pt x="2476" y="735"/>
                </a:lnTo>
                <a:lnTo>
                  <a:pt x="2473" y="726"/>
                </a:lnTo>
                <a:lnTo>
                  <a:pt x="2473" y="719"/>
                </a:lnTo>
                <a:lnTo>
                  <a:pt x="2470" y="719"/>
                </a:lnTo>
                <a:lnTo>
                  <a:pt x="2470" y="714"/>
                </a:lnTo>
                <a:lnTo>
                  <a:pt x="2464" y="709"/>
                </a:lnTo>
                <a:lnTo>
                  <a:pt x="2466" y="701"/>
                </a:lnTo>
                <a:lnTo>
                  <a:pt x="2470" y="701"/>
                </a:lnTo>
                <a:lnTo>
                  <a:pt x="2483" y="699"/>
                </a:lnTo>
                <a:lnTo>
                  <a:pt x="2485" y="697"/>
                </a:lnTo>
                <a:lnTo>
                  <a:pt x="2497" y="699"/>
                </a:lnTo>
                <a:lnTo>
                  <a:pt x="2509" y="692"/>
                </a:lnTo>
                <a:lnTo>
                  <a:pt x="2524" y="689"/>
                </a:lnTo>
                <a:lnTo>
                  <a:pt x="2531" y="687"/>
                </a:lnTo>
                <a:lnTo>
                  <a:pt x="2532" y="687"/>
                </a:lnTo>
                <a:lnTo>
                  <a:pt x="2556" y="682"/>
                </a:lnTo>
                <a:lnTo>
                  <a:pt x="2570" y="679"/>
                </a:lnTo>
                <a:lnTo>
                  <a:pt x="2582" y="675"/>
                </a:lnTo>
                <a:lnTo>
                  <a:pt x="2597" y="672"/>
                </a:lnTo>
                <a:lnTo>
                  <a:pt x="2611" y="668"/>
                </a:lnTo>
                <a:lnTo>
                  <a:pt x="2614" y="672"/>
                </a:lnTo>
                <a:lnTo>
                  <a:pt x="2619" y="663"/>
                </a:lnTo>
                <a:lnTo>
                  <a:pt x="2626" y="662"/>
                </a:lnTo>
                <a:lnTo>
                  <a:pt x="2631" y="656"/>
                </a:lnTo>
                <a:lnTo>
                  <a:pt x="2633" y="648"/>
                </a:lnTo>
                <a:lnTo>
                  <a:pt x="2640" y="638"/>
                </a:lnTo>
                <a:lnTo>
                  <a:pt x="2640" y="634"/>
                </a:lnTo>
                <a:lnTo>
                  <a:pt x="2641" y="633"/>
                </a:lnTo>
                <a:lnTo>
                  <a:pt x="2641" y="629"/>
                </a:lnTo>
                <a:lnTo>
                  <a:pt x="2648" y="626"/>
                </a:lnTo>
                <a:lnTo>
                  <a:pt x="2653" y="619"/>
                </a:lnTo>
                <a:lnTo>
                  <a:pt x="2655" y="621"/>
                </a:lnTo>
                <a:lnTo>
                  <a:pt x="2662" y="612"/>
                </a:lnTo>
                <a:lnTo>
                  <a:pt x="2662" y="609"/>
                </a:lnTo>
                <a:lnTo>
                  <a:pt x="2668" y="607"/>
                </a:lnTo>
                <a:lnTo>
                  <a:pt x="2679" y="600"/>
                </a:lnTo>
                <a:lnTo>
                  <a:pt x="2680" y="602"/>
                </a:lnTo>
                <a:lnTo>
                  <a:pt x="2685" y="590"/>
                </a:lnTo>
                <a:lnTo>
                  <a:pt x="2692" y="590"/>
                </a:lnTo>
                <a:lnTo>
                  <a:pt x="2694" y="585"/>
                </a:lnTo>
                <a:lnTo>
                  <a:pt x="2701" y="580"/>
                </a:lnTo>
                <a:lnTo>
                  <a:pt x="2706" y="583"/>
                </a:lnTo>
                <a:lnTo>
                  <a:pt x="2714" y="580"/>
                </a:lnTo>
                <a:lnTo>
                  <a:pt x="2719" y="577"/>
                </a:lnTo>
                <a:lnTo>
                  <a:pt x="2730" y="571"/>
                </a:lnTo>
                <a:lnTo>
                  <a:pt x="2736" y="566"/>
                </a:lnTo>
                <a:lnTo>
                  <a:pt x="2735" y="558"/>
                </a:lnTo>
                <a:lnTo>
                  <a:pt x="2742" y="549"/>
                </a:lnTo>
                <a:lnTo>
                  <a:pt x="2736" y="548"/>
                </a:lnTo>
                <a:lnTo>
                  <a:pt x="2740" y="543"/>
                </a:lnTo>
                <a:lnTo>
                  <a:pt x="2736" y="536"/>
                </a:lnTo>
                <a:lnTo>
                  <a:pt x="2736" y="527"/>
                </a:lnTo>
                <a:lnTo>
                  <a:pt x="2743" y="524"/>
                </a:lnTo>
                <a:lnTo>
                  <a:pt x="2743" y="514"/>
                </a:lnTo>
                <a:lnTo>
                  <a:pt x="2750" y="507"/>
                </a:lnTo>
                <a:lnTo>
                  <a:pt x="2750" y="497"/>
                </a:lnTo>
                <a:lnTo>
                  <a:pt x="2752" y="491"/>
                </a:lnTo>
                <a:lnTo>
                  <a:pt x="2755" y="488"/>
                </a:lnTo>
                <a:lnTo>
                  <a:pt x="2755" y="478"/>
                </a:lnTo>
                <a:lnTo>
                  <a:pt x="2759" y="469"/>
                </a:lnTo>
                <a:lnTo>
                  <a:pt x="2762" y="466"/>
                </a:lnTo>
                <a:lnTo>
                  <a:pt x="2757" y="459"/>
                </a:lnTo>
                <a:lnTo>
                  <a:pt x="2764" y="454"/>
                </a:lnTo>
                <a:lnTo>
                  <a:pt x="2762" y="449"/>
                </a:lnTo>
                <a:lnTo>
                  <a:pt x="2765" y="440"/>
                </a:lnTo>
                <a:lnTo>
                  <a:pt x="2765" y="432"/>
                </a:lnTo>
                <a:lnTo>
                  <a:pt x="2769" y="423"/>
                </a:lnTo>
                <a:lnTo>
                  <a:pt x="2769" y="420"/>
                </a:lnTo>
                <a:lnTo>
                  <a:pt x="2776" y="417"/>
                </a:lnTo>
                <a:lnTo>
                  <a:pt x="2776" y="406"/>
                </a:lnTo>
                <a:lnTo>
                  <a:pt x="2779" y="403"/>
                </a:lnTo>
                <a:lnTo>
                  <a:pt x="2786" y="408"/>
                </a:lnTo>
                <a:lnTo>
                  <a:pt x="2786" y="415"/>
                </a:lnTo>
                <a:lnTo>
                  <a:pt x="2794" y="412"/>
                </a:lnTo>
                <a:lnTo>
                  <a:pt x="2798" y="405"/>
                </a:lnTo>
                <a:lnTo>
                  <a:pt x="2793" y="396"/>
                </a:lnTo>
                <a:lnTo>
                  <a:pt x="2803" y="393"/>
                </a:lnTo>
                <a:lnTo>
                  <a:pt x="2808" y="383"/>
                </a:lnTo>
                <a:lnTo>
                  <a:pt x="2811" y="386"/>
                </a:lnTo>
                <a:lnTo>
                  <a:pt x="2816" y="384"/>
                </a:lnTo>
                <a:lnTo>
                  <a:pt x="2813" y="378"/>
                </a:lnTo>
                <a:lnTo>
                  <a:pt x="2813" y="372"/>
                </a:lnTo>
                <a:lnTo>
                  <a:pt x="2818" y="376"/>
                </a:lnTo>
                <a:lnTo>
                  <a:pt x="2821" y="372"/>
                </a:lnTo>
                <a:lnTo>
                  <a:pt x="2830" y="376"/>
                </a:lnTo>
                <a:lnTo>
                  <a:pt x="2832" y="372"/>
                </a:lnTo>
                <a:lnTo>
                  <a:pt x="2828" y="366"/>
                </a:lnTo>
                <a:lnTo>
                  <a:pt x="2837" y="362"/>
                </a:lnTo>
                <a:lnTo>
                  <a:pt x="2838" y="366"/>
                </a:lnTo>
                <a:lnTo>
                  <a:pt x="2845" y="359"/>
                </a:lnTo>
                <a:lnTo>
                  <a:pt x="2857" y="355"/>
                </a:lnTo>
                <a:lnTo>
                  <a:pt x="2861" y="352"/>
                </a:lnTo>
                <a:lnTo>
                  <a:pt x="2862" y="342"/>
                </a:lnTo>
                <a:lnTo>
                  <a:pt x="2866" y="340"/>
                </a:lnTo>
                <a:lnTo>
                  <a:pt x="2871" y="340"/>
                </a:lnTo>
                <a:lnTo>
                  <a:pt x="2869" y="347"/>
                </a:lnTo>
                <a:lnTo>
                  <a:pt x="2876" y="347"/>
                </a:lnTo>
                <a:lnTo>
                  <a:pt x="2876" y="338"/>
                </a:lnTo>
                <a:lnTo>
                  <a:pt x="2884" y="337"/>
                </a:lnTo>
                <a:lnTo>
                  <a:pt x="2883" y="343"/>
                </a:lnTo>
                <a:lnTo>
                  <a:pt x="2888" y="347"/>
                </a:lnTo>
                <a:lnTo>
                  <a:pt x="2889" y="345"/>
                </a:lnTo>
                <a:lnTo>
                  <a:pt x="2895" y="335"/>
                </a:lnTo>
                <a:lnTo>
                  <a:pt x="2905" y="335"/>
                </a:lnTo>
                <a:lnTo>
                  <a:pt x="2906" y="337"/>
                </a:lnTo>
                <a:lnTo>
                  <a:pt x="2908" y="335"/>
                </a:lnTo>
                <a:lnTo>
                  <a:pt x="2910" y="337"/>
                </a:lnTo>
                <a:lnTo>
                  <a:pt x="2917" y="335"/>
                </a:lnTo>
                <a:lnTo>
                  <a:pt x="2918" y="330"/>
                </a:lnTo>
                <a:lnTo>
                  <a:pt x="2927" y="323"/>
                </a:lnTo>
                <a:lnTo>
                  <a:pt x="2925" y="316"/>
                </a:lnTo>
                <a:lnTo>
                  <a:pt x="2929" y="311"/>
                </a:lnTo>
                <a:lnTo>
                  <a:pt x="2929" y="304"/>
                </a:lnTo>
                <a:lnTo>
                  <a:pt x="2937" y="299"/>
                </a:lnTo>
                <a:lnTo>
                  <a:pt x="2937" y="291"/>
                </a:lnTo>
                <a:lnTo>
                  <a:pt x="2949" y="292"/>
                </a:lnTo>
                <a:lnTo>
                  <a:pt x="2956" y="286"/>
                </a:lnTo>
                <a:lnTo>
                  <a:pt x="2959" y="286"/>
                </a:lnTo>
                <a:lnTo>
                  <a:pt x="2966" y="294"/>
                </a:lnTo>
                <a:lnTo>
                  <a:pt x="2973" y="294"/>
                </a:lnTo>
                <a:lnTo>
                  <a:pt x="2978" y="284"/>
                </a:lnTo>
                <a:lnTo>
                  <a:pt x="2985" y="279"/>
                </a:lnTo>
                <a:lnTo>
                  <a:pt x="2981" y="269"/>
                </a:lnTo>
                <a:lnTo>
                  <a:pt x="2991" y="269"/>
                </a:lnTo>
                <a:lnTo>
                  <a:pt x="2993" y="262"/>
                </a:lnTo>
                <a:lnTo>
                  <a:pt x="3002" y="260"/>
                </a:lnTo>
                <a:lnTo>
                  <a:pt x="3012" y="257"/>
                </a:lnTo>
                <a:lnTo>
                  <a:pt x="3022" y="252"/>
                </a:lnTo>
                <a:lnTo>
                  <a:pt x="3027" y="243"/>
                </a:lnTo>
                <a:lnTo>
                  <a:pt x="3025" y="236"/>
                </a:lnTo>
                <a:lnTo>
                  <a:pt x="3027" y="231"/>
                </a:lnTo>
                <a:lnTo>
                  <a:pt x="3027" y="221"/>
                </a:lnTo>
                <a:lnTo>
                  <a:pt x="3032" y="223"/>
                </a:lnTo>
                <a:lnTo>
                  <a:pt x="3041" y="216"/>
                </a:lnTo>
                <a:lnTo>
                  <a:pt x="3048" y="214"/>
                </a:lnTo>
                <a:lnTo>
                  <a:pt x="3053" y="209"/>
                </a:lnTo>
                <a:lnTo>
                  <a:pt x="3058" y="202"/>
                </a:lnTo>
                <a:lnTo>
                  <a:pt x="3056" y="199"/>
                </a:lnTo>
                <a:lnTo>
                  <a:pt x="3054" y="189"/>
                </a:lnTo>
                <a:lnTo>
                  <a:pt x="3061" y="187"/>
                </a:lnTo>
                <a:lnTo>
                  <a:pt x="3070" y="184"/>
                </a:lnTo>
                <a:lnTo>
                  <a:pt x="3076" y="175"/>
                </a:lnTo>
                <a:lnTo>
                  <a:pt x="3085" y="172"/>
                </a:lnTo>
                <a:lnTo>
                  <a:pt x="3088" y="167"/>
                </a:lnTo>
                <a:lnTo>
                  <a:pt x="3087" y="158"/>
                </a:lnTo>
                <a:lnTo>
                  <a:pt x="3093" y="150"/>
                </a:lnTo>
                <a:lnTo>
                  <a:pt x="3100" y="144"/>
                </a:lnTo>
                <a:lnTo>
                  <a:pt x="3110" y="141"/>
                </a:lnTo>
                <a:lnTo>
                  <a:pt x="3116" y="138"/>
                </a:lnTo>
                <a:lnTo>
                  <a:pt x="3119" y="131"/>
                </a:lnTo>
                <a:lnTo>
                  <a:pt x="3127" y="127"/>
                </a:lnTo>
                <a:lnTo>
                  <a:pt x="3133" y="124"/>
                </a:lnTo>
                <a:lnTo>
                  <a:pt x="3138" y="119"/>
                </a:lnTo>
                <a:lnTo>
                  <a:pt x="3146" y="119"/>
                </a:lnTo>
                <a:lnTo>
                  <a:pt x="3156" y="119"/>
                </a:lnTo>
                <a:lnTo>
                  <a:pt x="3161" y="119"/>
                </a:lnTo>
                <a:lnTo>
                  <a:pt x="3172" y="119"/>
                </a:lnTo>
                <a:lnTo>
                  <a:pt x="3184" y="122"/>
                </a:lnTo>
                <a:lnTo>
                  <a:pt x="3189" y="121"/>
                </a:lnTo>
                <a:lnTo>
                  <a:pt x="3194" y="116"/>
                </a:lnTo>
                <a:lnTo>
                  <a:pt x="3197" y="116"/>
                </a:lnTo>
                <a:lnTo>
                  <a:pt x="3207" y="117"/>
                </a:lnTo>
                <a:lnTo>
                  <a:pt x="3214" y="116"/>
                </a:lnTo>
                <a:lnTo>
                  <a:pt x="3221" y="109"/>
                </a:lnTo>
                <a:lnTo>
                  <a:pt x="3226" y="109"/>
                </a:lnTo>
                <a:lnTo>
                  <a:pt x="3231" y="104"/>
                </a:lnTo>
                <a:lnTo>
                  <a:pt x="3240" y="100"/>
                </a:lnTo>
                <a:lnTo>
                  <a:pt x="3250" y="100"/>
                </a:lnTo>
                <a:lnTo>
                  <a:pt x="3253" y="99"/>
                </a:lnTo>
                <a:lnTo>
                  <a:pt x="3265" y="97"/>
                </a:lnTo>
                <a:lnTo>
                  <a:pt x="3263" y="90"/>
                </a:lnTo>
                <a:lnTo>
                  <a:pt x="3272" y="87"/>
                </a:lnTo>
                <a:lnTo>
                  <a:pt x="3277" y="87"/>
                </a:lnTo>
                <a:lnTo>
                  <a:pt x="3287" y="90"/>
                </a:lnTo>
                <a:lnTo>
                  <a:pt x="3294" y="82"/>
                </a:lnTo>
                <a:lnTo>
                  <a:pt x="3297" y="75"/>
                </a:lnTo>
                <a:lnTo>
                  <a:pt x="3303" y="68"/>
                </a:lnTo>
                <a:lnTo>
                  <a:pt x="3301" y="59"/>
                </a:lnTo>
                <a:lnTo>
                  <a:pt x="3301" y="49"/>
                </a:lnTo>
                <a:lnTo>
                  <a:pt x="3306" y="42"/>
                </a:lnTo>
                <a:lnTo>
                  <a:pt x="3311" y="41"/>
                </a:lnTo>
                <a:lnTo>
                  <a:pt x="3314" y="36"/>
                </a:lnTo>
                <a:lnTo>
                  <a:pt x="3314" y="29"/>
                </a:lnTo>
                <a:lnTo>
                  <a:pt x="3321" y="24"/>
                </a:lnTo>
                <a:lnTo>
                  <a:pt x="3331" y="25"/>
                </a:lnTo>
                <a:lnTo>
                  <a:pt x="3340" y="24"/>
                </a:lnTo>
                <a:lnTo>
                  <a:pt x="3350" y="24"/>
                </a:lnTo>
                <a:lnTo>
                  <a:pt x="3357" y="20"/>
                </a:lnTo>
                <a:lnTo>
                  <a:pt x="3360" y="17"/>
                </a:lnTo>
                <a:lnTo>
                  <a:pt x="3369" y="13"/>
                </a:lnTo>
                <a:lnTo>
                  <a:pt x="3379" y="19"/>
                </a:lnTo>
                <a:lnTo>
                  <a:pt x="3386" y="17"/>
                </a:lnTo>
                <a:lnTo>
                  <a:pt x="3394" y="17"/>
                </a:lnTo>
                <a:lnTo>
                  <a:pt x="3399" y="22"/>
                </a:lnTo>
                <a:lnTo>
                  <a:pt x="3401" y="19"/>
                </a:lnTo>
                <a:lnTo>
                  <a:pt x="3406" y="20"/>
                </a:lnTo>
                <a:lnTo>
                  <a:pt x="3418" y="15"/>
                </a:lnTo>
                <a:lnTo>
                  <a:pt x="3420" y="13"/>
                </a:lnTo>
                <a:lnTo>
                  <a:pt x="3433" y="12"/>
                </a:lnTo>
                <a:lnTo>
                  <a:pt x="3435" y="12"/>
                </a:lnTo>
                <a:lnTo>
                  <a:pt x="3445" y="13"/>
                </a:lnTo>
                <a:lnTo>
                  <a:pt x="3449" y="13"/>
                </a:lnTo>
                <a:lnTo>
                  <a:pt x="3452" y="7"/>
                </a:lnTo>
                <a:lnTo>
                  <a:pt x="3464" y="5"/>
                </a:lnTo>
                <a:lnTo>
                  <a:pt x="3471" y="8"/>
                </a:lnTo>
                <a:lnTo>
                  <a:pt x="3476" y="3"/>
                </a:lnTo>
                <a:lnTo>
                  <a:pt x="3483" y="0"/>
                </a:lnTo>
                <a:lnTo>
                  <a:pt x="3488" y="3"/>
                </a:lnTo>
                <a:lnTo>
                  <a:pt x="3500" y="5"/>
                </a:lnTo>
                <a:lnTo>
                  <a:pt x="3503" y="5"/>
                </a:lnTo>
                <a:lnTo>
                  <a:pt x="3513" y="5"/>
                </a:lnTo>
                <a:lnTo>
                  <a:pt x="3522" y="10"/>
                </a:lnTo>
                <a:lnTo>
                  <a:pt x="3529" y="13"/>
                </a:lnTo>
                <a:lnTo>
                  <a:pt x="3537" y="13"/>
                </a:lnTo>
                <a:lnTo>
                  <a:pt x="3542" y="19"/>
                </a:lnTo>
                <a:lnTo>
                  <a:pt x="3554" y="17"/>
                </a:lnTo>
                <a:lnTo>
                  <a:pt x="3563" y="24"/>
                </a:lnTo>
                <a:lnTo>
                  <a:pt x="3564" y="27"/>
                </a:lnTo>
                <a:lnTo>
                  <a:pt x="3578" y="27"/>
                </a:lnTo>
                <a:lnTo>
                  <a:pt x="3580" y="34"/>
                </a:lnTo>
                <a:lnTo>
                  <a:pt x="3588" y="36"/>
                </a:lnTo>
                <a:lnTo>
                  <a:pt x="3592" y="39"/>
                </a:lnTo>
                <a:lnTo>
                  <a:pt x="3598" y="42"/>
                </a:lnTo>
                <a:lnTo>
                  <a:pt x="3605" y="49"/>
                </a:lnTo>
                <a:lnTo>
                  <a:pt x="3614" y="46"/>
                </a:lnTo>
                <a:lnTo>
                  <a:pt x="3622" y="46"/>
                </a:lnTo>
                <a:lnTo>
                  <a:pt x="3632" y="46"/>
                </a:lnTo>
                <a:lnTo>
                  <a:pt x="3639" y="53"/>
                </a:lnTo>
                <a:lnTo>
                  <a:pt x="3643" y="59"/>
                </a:lnTo>
                <a:lnTo>
                  <a:pt x="3648" y="61"/>
                </a:lnTo>
                <a:lnTo>
                  <a:pt x="3654" y="59"/>
                </a:lnTo>
                <a:lnTo>
                  <a:pt x="3660" y="59"/>
                </a:lnTo>
                <a:lnTo>
                  <a:pt x="3671" y="59"/>
                </a:lnTo>
                <a:lnTo>
                  <a:pt x="3677" y="58"/>
                </a:lnTo>
                <a:lnTo>
                  <a:pt x="3687" y="56"/>
                </a:lnTo>
                <a:lnTo>
                  <a:pt x="3697" y="51"/>
                </a:lnTo>
                <a:lnTo>
                  <a:pt x="3700" y="51"/>
                </a:lnTo>
                <a:lnTo>
                  <a:pt x="3704" y="53"/>
                </a:lnTo>
                <a:lnTo>
                  <a:pt x="3717" y="54"/>
                </a:lnTo>
                <a:lnTo>
                  <a:pt x="3728" y="53"/>
                </a:lnTo>
                <a:lnTo>
                  <a:pt x="3738" y="56"/>
                </a:lnTo>
                <a:lnTo>
                  <a:pt x="3746" y="49"/>
                </a:lnTo>
                <a:lnTo>
                  <a:pt x="3758" y="51"/>
                </a:lnTo>
                <a:lnTo>
                  <a:pt x="3762" y="49"/>
                </a:lnTo>
                <a:lnTo>
                  <a:pt x="3772" y="48"/>
                </a:lnTo>
                <a:lnTo>
                  <a:pt x="3780" y="48"/>
                </a:lnTo>
                <a:lnTo>
                  <a:pt x="3790" y="44"/>
                </a:lnTo>
                <a:lnTo>
                  <a:pt x="3801" y="46"/>
                </a:lnTo>
                <a:lnTo>
                  <a:pt x="3802" y="48"/>
                </a:lnTo>
                <a:lnTo>
                  <a:pt x="3816" y="48"/>
                </a:lnTo>
                <a:lnTo>
                  <a:pt x="3826" y="51"/>
                </a:lnTo>
                <a:lnTo>
                  <a:pt x="3828" y="54"/>
                </a:lnTo>
                <a:lnTo>
                  <a:pt x="3833" y="51"/>
                </a:lnTo>
                <a:lnTo>
                  <a:pt x="3840" y="53"/>
                </a:lnTo>
                <a:lnTo>
                  <a:pt x="3847" y="56"/>
                </a:lnTo>
                <a:lnTo>
                  <a:pt x="3857" y="59"/>
                </a:lnTo>
                <a:lnTo>
                  <a:pt x="3858" y="59"/>
                </a:lnTo>
                <a:lnTo>
                  <a:pt x="3870" y="54"/>
                </a:lnTo>
                <a:lnTo>
                  <a:pt x="3877" y="54"/>
                </a:lnTo>
                <a:lnTo>
                  <a:pt x="3882" y="58"/>
                </a:lnTo>
                <a:lnTo>
                  <a:pt x="3889" y="65"/>
                </a:lnTo>
                <a:lnTo>
                  <a:pt x="3899" y="63"/>
                </a:lnTo>
                <a:lnTo>
                  <a:pt x="3904" y="65"/>
                </a:lnTo>
                <a:lnTo>
                  <a:pt x="3908" y="75"/>
                </a:lnTo>
                <a:lnTo>
                  <a:pt x="3914" y="80"/>
                </a:lnTo>
                <a:lnTo>
                  <a:pt x="3913" y="80"/>
                </a:lnTo>
                <a:lnTo>
                  <a:pt x="3914" y="80"/>
                </a:lnTo>
                <a:lnTo>
                  <a:pt x="3921" y="109"/>
                </a:lnTo>
                <a:lnTo>
                  <a:pt x="3923" y="110"/>
                </a:lnTo>
                <a:lnTo>
                  <a:pt x="3952" y="213"/>
                </a:lnTo>
                <a:lnTo>
                  <a:pt x="3969" y="270"/>
                </a:lnTo>
                <a:lnTo>
                  <a:pt x="3972" y="286"/>
                </a:lnTo>
                <a:lnTo>
                  <a:pt x="3972" y="294"/>
                </a:lnTo>
                <a:lnTo>
                  <a:pt x="3971" y="304"/>
                </a:lnTo>
                <a:lnTo>
                  <a:pt x="3967" y="342"/>
                </a:lnTo>
                <a:lnTo>
                  <a:pt x="3969" y="361"/>
                </a:lnTo>
                <a:lnTo>
                  <a:pt x="3996" y="391"/>
                </a:lnTo>
                <a:lnTo>
                  <a:pt x="4003" y="401"/>
                </a:lnTo>
                <a:lnTo>
                  <a:pt x="4003" y="425"/>
                </a:lnTo>
                <a:lnTo>
                  <a:pt x="4020" y="469"/>
                </a:lnTo>
                <a:lnTo>
                  <a:pt x="4049" y="486"/>
                </a:lnTo>
                <a:lnTo>
                  <a:pt x="4049" y="495"/>
                </a:lnTo>
                <a:lnTo>
                  <a:pt x="4050" y="500"/>
                </a:lnTo>
                <a:lnTo>
                  <a:pt x="4054" y="548"/>
                </a:lnTo>
                <a:lnTo>
                  <a:pt x="4064" y="566"/>
                </a:lnTo>
                <a:lnTo>
                  <a:pt x="4071" y="578"/>
                </a:lnTo>
                <a:lnTo>
                  <a:pt x="4073" y="580"/>
                </a:lnTo>
                <a:lnTo>
                  <a:pt x="4078" y="621"/>
                </a:lnTo>
                <a:lnTo>
                  <a:pt x="4076" y="653"/>
                </a:lnTo>
                <a:lnTo>
                  <a:pt x="4073" y="682"/>
                </a:lnTo>
                <a:lnTo>
                  <a:pt x="4073" y="714"/>
                </a:lnTo>
                <a:lnTo>
                  <a:pt x="4074" y="745"/>
                </a:lnTo>
                <a:lnTo>
                  <a:pt x="4076" y="782"/>
                </a:lnTo>
                <a:lnTo>
                  <a:pt x="4076" y="801"/>
                </a:lnTo>
                <a:lnTo>
                  <a:pt x="4076" y="813"/>
                </a:lnTo>
                <a:lnTo>
                  <a:pt x="4076" y="815"/>
                </a:lnTo>
                <a:lnTo>
                  <a:pt x="4074" y="830"/>
                </a:lnTo>
                <a:lnTo>
                  <a:pt x="4071" y="847"/>
                </a:lnTo>
                <a:lnTo>
                  <a:pt x="4069" y="859"/>
                </a:lnTo>
                <a:lnTo>
                  <a:pt x="4069" y="867"/>
                </a:lnTo>
                <a:lnTo>
                  <a:pt x="4069" y="869"/>
                </a:lnTo>
                <a:lnTo>
                  <a:pt x="4062" y="878"/>
                </a:lnTo>
                <a:lnTo>
                  <a:pt x="4062" y="879"/>
                </a:lnTo>
                <a:lnTo>
                  <a:pt x="4059" y="888"/>
                </a:lnTo>
                <a:lnTo>
                  <a:pt x="4059" y="891"/>
                </a:lnTo>
                <a:lnTo>
                  <a:pt x="4057" y="901"/>
                </a:lnTo>
                <a:lnTo>
                  <a:pt x="4059" y="905"/>
                </a:lnTo>
                <a:lnTo>
                  <a:pt x="4062" y="905"/>
                </a:lnTo>
                <a:lnTo>
                  <a:pt x="4062" y="922"/>
                </a:lnTo>
                <a:lnTo>
                  <a:pt x="4064" y="932"/>
                </a:lnTo>
                <a:lnTo>
                  <a:pt x="4064" y="937"/>
                </a:lnTo>
                <a:lnTo>
                  <a:pt x="4061" y="946"/>
                </a:lnTo>
                <a:lnTo>
                  <a:pt x="4056" y="951"/>
                </a:lnTo>
                <a:lnTo>
                  <a:pt x="4054" y="958"/>
                </a:lnTo>
                <a:lnTo>
                  <a:pt x="4052" y="963"/>
                </a:lnTo>
                <a:lnTo>
                  <a:pt x="4050" y="968"/>
                </a:lnTo>
                <a:lnTo>
                  <a:pt x="4047" y="975"/>
                </a:lnTo>
                <a:lnTo>
                  <a:pt x="4044" y="983"/>
                </a:lnTo>
                <a:lnTo>
                  <a:pt x="4042" y="990"/>
                </a:lnTo>
                <a:lnTo>
                  <a:pt x="4052" y="1019"/>
                </a:lnTo>
                <a:lnTo>
                  <a:pt x="4035" y="1026"/>
                </a:lnTo>
                <a:lnTo>
                  <a:pt x="4027" y="1031"/>
                </a:lnTo>
                <a:lnTo>
                  <a:pt x="4023" y="1031"/>
                </a:lnTo>
                <a:lnTo>
                  <a:pt x="4013" y="1024"/>
                </a:lnTo>
                <a:lnTo>
                  <a:pt x="4005" y="1019"/>
                </a:lnTo>
                <a:lnTo>
                  <a:pt x="3996" y="1014"/>
                </a:lnTo>
                <a:lnTo>
                  <a:pt x="3986" y="1007"/>
                </a:lnTo>
                <a:lnTo>
                  <a:pt x="3957" y="988"/>
                </a:lnTo>
                <a:lnTo>
                  <a:pt x="3952" y="985"/>
                </a:lnTo>
                <a:lnTo>
                  <a:pt x="3947" y="981"/>
                </a:lnTo>
                <a:lnTo>
                  <a:pt x="3940" y="976"/>
                </a:lnTo>
                <a:lnTo>
                  <a:pt x="3930" y="969"/>
                </a:lnTo>
                <a:lnTo>
                  <a:pt x="3928" y="968"/>
                </a:lnTo>
                <a:lnTo>
                  <a:pt x="3921" y="964"/>
                </a:lnTo>
                <a:lnTo>
                  <a:pt x="3909" y="956"/>
                </a:lnTo>
                <a:lnTo>
                  <a:pt x="3899" y="959"/>
                </a:lnTo>
                <a:lnTo>
                  <a:pt x="3882" y="963"/>
                </a:lnTo>
                <a:lnTo>
                  <a:pt x="3869" y="981"/>
                </a:lnTo>
                <a:lnTo>
                  <a:pt x="3862" y="986"/>
                </a:lnTo>
                <a:lnTo>
                  <a:pt x="3847" y="998"/>
                </a:lnTo>
                <a:lnTo>
                  <a:pt x="3840" y="1005"/>
                </a:lnTo>
                <a:lnTo>
                  <a:pt x="3831" y="1010"/>
                </a:lnTo>
                <a:lnTo>
                  <a:pt x="3830" y="1021"/>
                </a:lnTo>
                <a:lnTo>
                  <a:pt x="3828" y="1027"/>
                </a:lnTo>
                <a:lnTo>
                  <a:pt x="3824" y="1032"/>
                </a:lnTo>
                <a:lnTo>
                  <a:pt x="3821" y="1039"/>
                </a:lnTo>
                <a:lnTo>
                  <a:pt x="3816" y="1049"/>
                </a:lnTo>
                <a:lnTo>
                  <a:pt x="3811" y="1060"/>
                </a:lnTo>
                <a:lnTo>
                  <a:pt x="3801" y="1073"/>
                </a:lnTo>
                <a:lnTo>
                  <a:pt x="3796" y="1083"/>
                </a:lnTo>
                <a:lnTo>
                  <a:pt x="3794" y="1089"/>
                </a:lnTo>
                <a:lnTo>
                  <a:pt x="3789" y="1095"/>
                </a:lnTo>
                <a:lnTo>
                  <a:pt x="3785" y="1100"/>
                </a:lnTo>
                <a:lnTo>
                  <a:pt x="3768" y="1116"/>
                </a:lnTo>
                <a:lnTo>
                  <a:pt x="3767" y="1117"/>
                </a:lnTo>
                <a:lnTo>
                  <a:pt x="3762" y="1124"/>
                </a:lnTo>
                <a:lnTo>
                  <a:pt x="3756" y="1134"/>
                </a:lnTo>
                <a:lnTo>
                  <a:pt x="3750" y="1141"/>
                </a:lnTo>
                <a:lnTo>
                  <a:pt x="3746" y="1148"/>
                </a:lnTo>
                <a:lnTo>
                  <a:pt x="3743" y="1157"/>
                </a:lnTo>
                <a:lnTo>
                  <a:pt x="3741" y="1165"/>
                </a:lnTo>
                <a:lnTo>
                  <a:pt x="3739" y="1172"/>
                </a:lnTo>
                <a:lnTo>
                  <a:pt x="3738" y="1184"/>
                </a:lnTo>
                <a:lnTo>
                  <a:pt x="3738" y="1192"/>
                </a:lnTo>
                <a:lnTo>
                  <a:pt x="3738" y="1204"/>
                </a:lnTo>
                <a:lnTo>
                  <a:pt x="3736" y="1204"/>
                </a:lnTo>
                <a:lnTo>
                  <a:pt x="3736" y="1206"/>
                </a:lnTo>
                <a:lnTo>
                  <a:pt x="3736" y="1214"/>
                </a:lnTo>
                <a:lnTo>
                  <a:pt x="3736" y="1220"/>
                </a:lnTo>
                <a:lnTo>
                  <a:pt x="3736" y="1221"/>
                </a:lnTo>
                <a:lnTo>
                  <a:pt x="3736" y="1231"/>
                </a:lnTo>
                <a:lnTo>
                  <a:pt x="3738" y="1242"/>
                </a:lnTo>
                <a:lnTo>
                  <a:pt x="3738" y="1243"/>
                </a:lnTo>
                <a:lnTo>
                  <a:pt x="3738" y="1248"/>
                </a:lnTo>
                <a:lnTo>
                  <a:pt x="3738" y="1250"/>
                </a:lnTo>
                <a:lnTo>
                  <a:pt x="3741" y="1255"/>
                </a:lnTo>
                <a:lnTo>
                  <a:pt x="3750" y="1250"/>
                </a:lnTo>
                <a:lnTo>
                  <a:pt x="3760" y="1245"/>
                </a:lnTo>
                <a:lnTo>
                  <a:pt x="3762" y="1240"/>
                </a:lnTo>
                <a:lnTo>
                  <a:pt x="3762" y="1247"/>
                </a:lnTo>
                <a:lnTo>
                  <a:pt x="3763" y="1252"/>
                </a:lnTo>
                <a:lnTo>
                  <a:pt x="3763" y="1259"/>
                </a:lnTo>
                <a:lnTo>
                  <a:pt x="3765" y="1260"/>
                </a:lnTo>
                <a:lnTo>
                  <a:pt x="3773" y="1267"/>
                </a:lnTo>
                <a:lnTo>
                  <a:pt x="3782" y="1274"/>
                </a:lnTo>
                <a:lnTo>
                  <a:pt x="3782" y="1277"/>
                </a:lnTo>
                <a:lnTo>
                  <a:pt x="3782" y="1286"/>
                </a:lnTo>
                <a:lnTo>
                  <a:pt x="3777" y="1296"/>
                </a:lnTo>
                <a:lnTo>
                  <a:pt x="3780" y="1301"/>
                </a:lnTo>
                <a:lnTo>
                  <a:pt x="3784" y="1308"/>
                </a:lnTo>
                <a:lnTo>
                  <a:pt x="3792" y="1317"/>
                </a:lnTo>
                <a:lnTo>
                  <a:pt x="3797" y="1318"/>
                </a:lnTo>
                <a:lnTo>
                  <a:pt x="3802" y="1323"/>
                </a:lnTo>
                <a:lnTo>
                  <a:pt x="3806" y="1328"/>
                </a:lnTo>
                <a:lnTo>
                  <a:pt x="3821" y="1347"/>
                </a:lnTo>
                <a:lnTo>
                  <a:pt x="3824" y="1352"/>
                </a:lnTo>
                <a:lnTo>
                  <a:pt x="3840" y="1357"/>
                </a:lnTo>
                <a:lnTo>
                  <a:pt x="3845" y="1359"/>
                </a:lnTo>
                <a:lnTo>
                  <a:pt x="3857" y="1362"/>
                </a:lnTo>
                <a:close/>
                <a:moveTo>
                  <a:pt x="467" y="3106"/>
                </a:moveTo>
                <a:lnTo>
                  <a:pt x="469" y="3111"/>
                </a:lnTo>
                <a:lnTo>
                  <a:pt x="465" y="3113"/>
                </a:lnTo>
                <a:lnTo>
                  <a:pt x="462" y="3108"/>
                </a:lnTo>
                <a:lnTo>
                  <a:pt x="467" y="3106"/>
                </a:lnTo>
                <a:close/>
                <a:moveTo>
                  <a:pt x="394" y="3006"/>
                </a:moveTo>
                <a:lnTo>
                  <a:pt x="399" y="3009"/>
                </a:lnTo>
                <a:lnTo>
                  <a:pt x="394" y="3011"/>
                </a:lnTo>
                <a:lnTo>
                  <a:pt x="394" y="300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812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現地通貨であるランドについては、持ち込みも持ち出しも</a:t>
            </a:r>
            <a:r>
              <a:rPr lang="en-US" altLang="ja-JP" dirty="0"/>
              <a:t>25,000</a:t>
            </a:r>
            <a:r>
              <a:rPr lang="ja-JP" altLang="en-US" dirty="0"/>
              <a:t>ランドまでと制限されている。</a:t>
            </a:r>
            <a:endParaRPr lang="en-US" altLang="ja-JP" dirty="0"/>
          </a:p>
          <a:p>
            <a:r>
              <a:rPr lang="ja-JP" altLang="en-US" dirty="0"/>
              <a:t>ただし、共通通貨圏内（ボツワナ、レソト、ナミビア、スワジランド、南アフリカ）での出入国の場合は無制限。</a:t>
            </a:r>
            <a:endParaRPr lang="en-US" altLang="ja-JP" dirty="0"/>
          </a:p>
        </p:txBody>
      </p:sp>
      <p:sp>
        <p:nvSpPr>
          <p:cNvPr id="28" name="角丸四角形 27"/>
          <p:cNvSpPr/>
          <p:nvPr/>
        </p:nvSpPr>
        <p:spPr>
          <a:xfrm>
            <a:off x="776536" y="237592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776536" y="424813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072680" y="4597526"/>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784648" y="3168011"/>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633634" y="2231907"/>
            <a:ext cx="2161184" cy="2173051"/>
            <a:chOff x="2287194" y="2575129"/>
            <a:chExt cx="2161184" cy="2173051"/>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36900" y="3486296"/>
              <a:ext cx="2061783" cy="126188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sz="2000"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金額の制限はないが、</a:t>
              </a:r>
              <a:endPar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申告が必要</a:t>
              </a:r>
            </a:p>
            <a:p>
              <a:pPr algn="ct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5355783" y="4126243"/>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8701" y="3486296"/>
              <a:ext cx="1858201" cy="73866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ja-JP" altLang="en-US" sz="1200" b="1" spc="-100" baseline="300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入国時申告額まで</a:t>
              </a:r>
              <a:r>
                <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居住者が帰国時の納税のために限度額以上のランドを持ち出す場合は、事前申請が必要。外貨については、事前申請によって、大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当たり百万ラ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未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ランド相当を持ち出せ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南アフリカ歳入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 Africa Revenue Service)</a:t>
            </a:r>
          </a:p>
        </p:txBody>
      </p:sp>
      <p:sp>
        <p:nvSpPr>
          <p:cNvPr id="22" name="Rectangle 1" hidden="1">
            <a:extLst>
              <a:ext uri="{FF2B5EF4-FFF2-40B4-BE49-F238E27FC236}">
                <a16:creationId xmlns:a16="http://schemas.microsoft.com/office/drawing/2014/main" id="{8DAC222F-B9F8-424B-8578-BE0800B377F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239248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8" name="Picture 57">
            <a:extLst>
              <a:ext uri="{FF2B5EF4-FFF2-40B4-BE49-F238E27FC236}">
                <a16:creationId xmlns:a16="http://schemas.microsoft.com/office/drawing/2014/main" id="{464BBD67-696D-43D3-8BDD-1C19D4B5B258}"/>
              </a:ext>
            </a:extLst>
          </p:cNvPr>
          <p:cNvPicPr>
            <a:picLocks noChangeAspect="1"/>
          </p:cNvPicPr>
          <p:nvPr/>
        </p:nvPicPr>
        <p:blipFill>
          <a:blip r:embed="rId6"/>
          <a:stretch>
            <a:fillRect/>
          </a:stretch>
        </p:blipFill>
        <p:spPr>
          <a:xfrm>
            <a:off x="5961112" y="4077072"/>
            <a:ext cx="1008112" cy="594712"/>
          </a:xfrm>
          <a:prstGeom prst="rect">
            <a:avLst/>
          </a:prstGeom>
        </p:spPr>
      </p:pic>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p>
        </p:txBody>
      </p:sp>
      <p:sp>
        <p:nvSpPr>
          <p:cNvPr id="4" name="テキスト プレースホルダ 1"/>
          <p:cNvSpPr txBox="1">
            <a:spLocks/>
          </p:cNvSpPr>
          <p:nvPr/>
        </p:nvSpPr>
        <p:spPr>
          <a:xfrm>
            <a:off x="199709" y="1124744"/>
            <a:ext cx="9505055"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a:buSzPct val="125000"/>
              <a:buFont typeface="Arial" panose="020B0604020202020204" pitchFamily="34" charset="0"/>
              <a:buChar char="•"/>
            </a:pPr>
            <a:r>
              <a:rPr lang="ja-JP" altLang="en-US" b="0" i="0" dirty="0">
                <a:solidFill>
                  <a:srgbClr val="000000"/>
                </a:solidFill>
                <a:effectLst/>
                <a:latin typeface="ヒラギノ角ゴ Pro W3"/>
              </a:rPr>
              <a:t>自動車、観光、輸出製造業、化学、情報通信、鉱業および鉱物関連産業、繊維および衣料、農産品加工、映画については、助成金支給などを通じて投資が奨励されている。</a:t>
            </a:r>
          </a:p>
          <a:p>
            <a:pPr>
              <a:buSzPct val="125000"/>
              <a:buFont typeface="Arial" panose="020B0604020202020204" pitchFamily="34" charset="0"/>
              <a:buChar char="•"/>
            </a:pPr>
            <a:r>
              <a:rPr lang="ja-JP" altLang="en-US" dirty="0"/>
              <a:t>全国に</a:t>
            </a:r>
            <a:r>
              <a:rPr lang="en-US" altLang="ja-JP" dirty="0"/>
              <a:t>10</a:t>
            </a:r>
            <a:r>
              <a:rPr lang="ja-JP" altLang="en-US" dirty="0"/>
              <a:t>の経済特別区（</a:t>
            </a:r>
            <a:r>
              <a:rPr lang="en-US" altLang="ja-JP" dirty="0"/>
              <a:t>SEZ</a:t>
            </a:r>
            <a:r>
              <a:rPr lang="ja-JP" altLang="en-US" dirty="0"/>
              <a:t>）があり、内資・外資ともに条件に合えば優遇措置を利用できる。（</a:t>
            </a:r>
            <a:r>
              <a:rPr lang="en-US" altLang="ja-JP" dirty="0"/>
              <a:t>2022</a:t>
            </a:r>
            <a:r>
              <a:rPr lang="ja-JP" altLang="en-US" dirty="0"/>
              <a:t>年</a:t>
            </a:r>
            <a:r>
              <a:rPr lang="en-US" altLang="ja-JP" dirty="0"/>
              <a:t>10</a:t>
            </a:r>
            <a:r>
              <a:rPr lang="ja-JP" altLang="en-US" dirty="0"/>
              <a:t>月）</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ustrial Financing</a:t>
            </a:r>
          </a:p>
        </p:txBody>
      </p:sp>
      <p:sp>
        <p:nvSpPr>
          <p:cNvPr id="11" name="テキスト プレースホルダ 1">
            <a:extLst>
              <a:ext uri="{FF2B5EF4-FFF2-40B4-BE49-F238E27FC236}">
                <a16:creationId xmlns:a16="http://schemas.microsoft.com/office/drawing/2014/main" id="{45D40E34-C240-4FFB-8206-7F6AE4E08CF7}"/>
              </a:ext>
            </a:extLst>
          </p:cNvPr>
          <p:cNvSpPr txBox="1">
            <a:spLocks/>
          </p:cNvSpPr>
          <p:nvPr/>
        </p:nvSpPr>
        <p:spPr>
          <a:xfrm>
            <a:off x="7329264" y="2204864"/>
            <a:ext cx="2232248" cy="222336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en-US" altLang="ja-JP" sz="1600" b="1" dirty="0"/>
              <a:t>SEZ</a:t>
            </a:r>
            <a:r>
              <a:rPr lang="ja-JP" altLang="en-US" sz="1600" b="1" dirty="0"/>
              <a:t>での優遇措置</a:t>
            </a:r>
          </a:p>
          <a:p>
            <a:pPr>
              <a:buSzPct val="125000"/>
              <a:buFont typeface="Arial" panose="020B0604020202020204" pitchFamily="34" charset="0"/>
              <a:buChar char="•"/>
            </a:pPr>
            <a:r>
              <a:rPr lang="ja-JP" altLang="en-US" dirty="0">
                <a:latin typeface="+mj-lt"/>
              </a:rPr>
              <a:t>軽</a:t>
            </a:r>
            <a:r>
              <a:rPr lang="ja-JP" altLang="en-US" dirty="0">
                <a:solidFill>
                  <a:srgbClr val="000000"/>
                </a:solidFill>
                <a:latin typeface="+mj-lt"/>
              </a:rPr>
              <a:t>減法人税率</a:t>
            </a:r>
            <a:r>
              <a:rPr lang="en-US" altLang="ja-JP" dirty="0">
                <a:solidFill>
                  <a:srgbClr val="000000"/>
                </a:solidFill>
                <a:latin typeface="+mj-lt"/>
              </a:rPr>
              <a:t>15%</a:t>
            </a:r>
            <a:r>
              <a:rPr lang="ja-JP" altLang="en-US" dirty="0">
                <a:solidFill>
                  <a:srgbClr val="000000"/>
                </a:solidFill>
                <a:latin typeface="+mj-lt"/>
              </a:rPr>
              <a:t>の適用</a:t>
            </a:r>
          </a:p>
          <a:p>
            <a:pPr>
              <a:buSzPct val="125000"/>
              <a:buFont typeface="Arial" panose="020B0604020202020204" pitchFamily="34" charset="0"/>
              <a:buChar char="•"/>
            </a:pPr>
            <a:r>
              <a:rPr lang="ja-JP" altLang="en-US" dirty="0">
                <a:solidFill>
                  <a:srgbClr val="000000"/>
                </a:solidFill>
                <a:latin typeface="+mj-lt"/>
              </a:rPr>
              <a:t>建物および構築物の新規取得に対する</a:t>
            </a:r>
            <a:r>
              <a:rPr lang="en-US" altLang="ja-JP" dirty="0">
                <a:solidFill>
                  <a:srgbClr val="000000"/>
                </a:solidFill>
                <a:latin typeface="+mj-lt"/>
              </a:rPr>
              <a:t>10</a:t>
            </a:r>
            <a:r>
              <a:rPr lang="ja-JP" altLang="en-US" dirty="0">
                <a:solidFill>
                  <a:srgbClr val="000000"/>
                </a:solidFill>
                <a:latin typeface="+mj-lt"/>
              </a:rPr>
              <a:t>％の税額控除などの優遇措置</a:t>
            </a:r>
            <a:endParaRPr lang="en-US" altLang="ja-JP" dirty="0">
              <a:solidFill>
                <a:srgbClr val="000000"/>
              </a:solidFill>
              <a:latin typeface="+mj-lt"/>
            </a:endParaRPr>
          </a:p>
          <a:p>
            <a:pPr>
              <a:buSzPct val="125000"/>
              <a:buFont typeface="Arial" panose="020B0604020202020204" pitchFamily="34" charset="0"/>
              <a:buChar char="•"/>
            </a:pPr>
            <a:r>
              <a:rPr lang="ja-JP" altLang="en-US" dirty="0">
                <a:solidFill>
                  <a:srgbClr val="000000"/>
                </a:solidFill>
                <a:latin typeface="+mj-lt"/>
              </a:rPr>
              <a:t>装置および資産に対する関税や付加価値税・輸入税の適用が免除される保税区域の設置</a:t>
            </a:r>
          </a:p>
        </p:txBody>
      </p:sp>
      <p:sp>
        <p:nvSpPr>
          <p:cNvPr id="17" name="Rectangle 16" hidden="1">
            <a:extLst>
              <a:ext uri="{FF2B5EF4-FFF2-40B4-BE49-F238E27FC236}">
                <a16:creationId xmlns:a16="http://schemas.microsoft.com/office/drawing/2014/main" id="{EB89D0F7-23EC-45DB-8BBF-AA7769AC8A6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grpSp>
        <p:nvGrpSpPr>
          <p:cNvPr id="18" name="Group 17">
            <a:extLst>
              <a:ext uri="{FF2B5EF4-FFF2-40B4-BE49-F238E27FC236}">
                <a16:creationId xmlns:a16="http://schemas.microsoft.com/office/drawing/2014/main" id="{D160A142-F442-49CE-8CB2-063B1EAABA51}"/>
              </a:ext>
            </a:extLst>
          </p:cNvPr>
          <p:cNvGrpSpPr/>
          <p:nvPr/>
        </p:nvGrpSpPr>
        <p:grpSpPr bwMode="gray">
          <a:xfrm>
            <a:off x="1439251" y="2551242"/>
            <a:ext cx="4597682" cy="3634100"/>
            <a:chOff x="2368550" y="615950"/>
            <a:chExt cx="6794500" cy="5370513"/>
          </a:xfrm>
        </p:grpSpPr>
        <p:sp>
          <p:nvSpPr>
            <p:cNvPr id="19" name="Freeform 8">
              <a:extLst>
                <a:ext uri="{FF2B5EF4-FFF2-40B4-BE49-F238E27FC236}">
                  <a16:creationId xmlns:a16="http://schemas.microsoft.com/office/drawing/2014/main" id="{576EF190-1344-4F71-A1C3-9656C978A663}"/>
                </a:ext>
              </a:extLst>
            </p:cNvPr>
            <p:cNvSpPr>
              <a:spLocks/>
            </p:cNvSpPr>
            <p:nvPr/>
          </p:nvSpPr>
          <p:spPr bwMode="gray">
            <a:xfrm>
              <a:off x="7473950" y="2595563"/>
              <a:ext cx="1689100" cy="1806575"/>
            </a:xfrm>
            <a:custGeom>
              <a:avLst/>
              <a:gdLst>
                <a:gd name="T0" fmla="*/ 299 w 1064"/>
                <a:gd name="T1" fmla="*/ 1085 h 1138"/>
                <a:gd name="T2" fmla="*/ 260 w 1064"/>
                <a:gd name="T3" fmla="*/ 1071 h 1138"/>
                <a:gd name="T4" fmla="*/ 241 w 1064"/>
                <a:gd name="T5" fmla="*/ 1051 h 1138"/>
                <a:gd name="T6" fmla="*/ 207 w 1064"/>
                <a:gd name="T7" fmla="*/ 1041 h 1138"/>
                <a:gd name="T8" fmla="*/ 160 w 1064"/>
                <a:gd name="T9" fmla="*/ 1024 h 1138"/>
                <a:gd name="T10" fmla="*/ 80 w 1064"/>
                <a:gd name="T11" fmla="*/ 1015 h 1138"/>
                <a:gd name="T12" fmla="*/ 56 w 1064"/>
                <a:gd name="T13" fmla="*/ 993 h 1138"/>
                <a:gd name="T14" fmla="*/ 88 w 1064"/>
                <a:gd name="T15" fmla="*/ 954 h 1138"/>
                <a:gd name="T16" fmla="*/ 75 w 1064"/>
                <a:gd name="T17" fmla="*/ 929 h 1138"/>
                <a:gd name="T18" fmla="*/ 49 w 1064"/>
                <a:gd name="T19" fmla="*/ 893 h 1138"/>
                <a:gd name="T20" fmla="*/ 24 w 1064"/>
                <a:gd name="T21" fmla="*/ 850 h 1138"/>
                <a:gd name="T22" fmla="*/ 58 w 1064"/>
                <a:gd name="T23" fmla="*/ 813 h 1138"/>
                <a:gd name="T24" fmla="*/ 73 w 1064"/>
                <a:gd name="T25" fmla="*/ 762 h 1138"/>
                <a:gd name="T26" fmla="*/ 100 w 1064"/>
                <a:gd name="T27" fmla="*/ 721 h 1138"/>
                <a:gd name="T28" fmla="*/ 141 w 1064"/>
                <a:gd name="T29" fmla="*/ 675 h 1138"/>
                <a:gd name="T30" fmla="*/ 122 w 1064"/>
                <a:gd name="T31" fmla="*/ 617 h 1138"/>
                <a:gd name="T32" fmla="*/ 71 w 1064"/>
                <a:gd name="T33" fmla="*/ 583 h 1138"/>
                <a:gd name="T34" fmla="*/ 27 w 1064"/>
                <a:gd name="T35" fmla="*/ 561 h 1138"/>
                <a:gd name="T36" fmla="*/ 8 w 1064"/>
                <a:gd name="T37" fmla="*/ 519 h 1138"/>
                <a:gd name="T38" fmla="*/ 54 w 1064"/>
                <a:gd name="T39" fmla="*/ 464 h 1138"/>
                <a:gd name="T40" fmla="*/ 102 w 1064"/>
                <a:gd name="T41" fmla="*/ 430 h 1138"/>
                <a:gd name="T42" fmla="*/ 156 w 1064"/>
                <a:gd name="T43" fmla="*/ 400 h 1138"/>
                <a:gd name="T44" fmla="*/ 202 w 1064"/>
                <a:gd name="T45" fmla="*/ 367 h 1138"/>
                <a:gd name="T46" fmla="*/ 217 w 1064"/>
                <a:gd name="T47" fmla="*/ 306 h 1138"/>
                <a:gd name="T48" fmla="*/ 229 w 1064"/>
                <a:gd name="T49" fmla="*/ 243 h 1138"/>
                <a:gd name="T50" fmla="*/ 243 w 1064"/>
                <a:gd name="T51" fmla="*/ 190 h 1138"/>
                <a:gd name="T52" fmla="*/ 262 w 1064"/>
                <a:gd name="T53" fmla="*/ 160 h 1138"/>
                <a:gd name="T54" fmla="*/ 330 w 1064"/>
                <a:gd name="T55" fmla="*/ 149 h 1138"/>
                <a:gd name="T56" fmla="*/ 394 w 1064"/>
                <a:gd name="T57" fmla="*/ 131 h 1138"/>
                <a:gd name="T58" fmla="*/ 445 w 1064"/>
                <a:gd name="T59" fmla="*/ 134 h 1138"/>
                <a:gd name="T60" fmla="*/ 508 w 1064"/>
                <a:gd name="T61" fmla="*/ 138 h 1138"/>
                <a:gd name="T62" fmla="*/ 552 w 1064"/>
                <a:gd name="T63" fmla="*/ 149 h 1138"/>
                <a:gd name="T64" fmla="*/ 603 w 1064"/>
                <a:gd name="T65" fmla="*/ 148 h 1138"/>
                <a:gd name="T66" fmla="*/ 651 w 1064"/>
                <a:gd name="T67" fmla="*/ 119 h 1138"/>
                <a:gd name="T68" fmla="*/ 715 w 1064"/>
                <a:gd name="T69" fmla="*/ 134 h 1138"/>
                <a:gd name="T70" fmla="*/ 823 w 1064"/>
                <a:gd name="T71" fmla="*/ 119 h 1138"/>
                <a:gd name="T72" fmla="*/ 829 w 1064"/>
                <a:gd name="T73" fmla="*/ 41 h 1138"/>
                <a:gd name="T74" fmla="*/ 860 w 1064"/>
                <a:gd name="T75" fmla="*/ 0 h 1138"/>
                <a:gd name="T76" fmla="*/ 919 w 1064"/>
                <a:gd name="T77" fmla="*/ 15 h 1138"/>
                <a:gd name="T78" fmla="*/ 1001 w 1064"/>
                <a:gd name="T79" fmla="*/ 15 h 1138"/>
                <a:gd name="T80" fmla="*/ 1061 w 1064"/>
                <a:gd name="T81" fmla="*/ 30 h 1138"/>
                <a:gd name="T82" fmla="*/ 1038 w 1064"/>
                <a:gd name="T83" fmla="*/ 102 h 1138"/>
                <a:gd name="T84" fmla="*/ 1011 w 1064"/>
                <a:gd name="T85" fmla="*/ 166 h 1138"/>
                <a:gd name="T86" fmla="*/ 982 w 1064"/>
                <a:gd name="T87" fmla="*/ 250 h 1138"/>
                <a:gd name="T88" fmla="*/ 964 w 1064"/>
                <a:gd name="T89" fmla="*/ 345 h 1138"/>
                <a:gd name="T90" fmla="*/ 933 w 1064"/>
                <a:gd name="T91" fmla="*/ 406 h 1138"/>
                <a:gd name="T92" fmla="*/ 908 w 1064"/>
                <a:gd name="T93" fmla="*/ 468 h 1138"/>
                <a:gd name="T94" fmla="*/ 841 w 1064"/>
                <a:gd name="T95" fmla="*/ 525 h 1138"/>
                <a:gd name="T96" fmla="*/ 826 w 1064"/>
                <a:gd name="T97" fmla="*/ 530 h 1138"/>
                <a:gd name="T98" fmla="*/ 766 w 1064"/>
                <a:gd name="T99" fmla="*/ 568 h 1138"/>
                <a:gd name="T100" fmla="*/ 700 w 1064"/>
                <a:gd name="T101" fmla="*/ 621 h 1138"/>
                <a:gd name="T102" fmla="*/ 651 w 1064"/>
                <a:gd name="T103" fmla="*/ 667 h 1138"/>
                <a:gd name="T104" fmla="*/ 603 w 1064"/>
                <a:gd name="T105" fmla="*/ 718 h 1138"/>
                <a:gd name="T106" fmla="*/ 563 w 1064"/>
                <a:gd name="T107" fmla="*/ 777 h 1138"/>
                <a:gd name="T108" fmla="*/ 540 w 1064"/>
                <a:gd name="T109" fmla="*/ 816 h 1138"/>
                <a:gd name="T110" fmla="*/ 525 w 1064"/>
                <a:gd name="T111" fmla="*/ 847 h 1138"/>
                <a:gd name="T112" fmla="*/ 481 w 1064"/>
                <a:gd name="T113" fmla="*/ 908 h 1138"/>
                <a:gd name="T114" fmla="*/ 447 w 1064"/>
                <a:gd name="T115" fmla="*/ 964 h 1138"/>
                <a:gd name="T116" fmla="*/ 401 w 1064"/>
                <a:gd name="T117" fmla="*/ 1029 h 1138"/>
                <a:gd name="T118" fmla="*/ 357 w 1064"/>
                <a:gd name="T119" fmla="*/ 108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4" h="1138">
                  <a:moveTo>
                    <a:pt x="314" y="1138"/>
                  </a:moveTo>
                  <a:lnTo>
                    <a:pt x="308" y="1129"/>
                  </a:lnTo>
                  <a:lnTo>
                    <a:pt x="309" y="1122"/>
                  </a:lnTo>
                  <a:lnTo>
                    <a:pt x="302" y="1121"/>
                  </a:lnTo>
                  <a:lnTo>
                    <a:pt x="301" y="1117"/>
                  </a:lnTo>
                  <a:lnTo>
                    <a:pt x="308" y="1109"/>
                  </a:lnTo>
                  <a:lnTo>
                    <a:pt x="301" y="1105"/>
                  </a:lnTo>
                  <a:lnTo>
                    <a:pt x="304" y="1095"/>
                  </a:lnTo>
                  <a:lnTo>
                    <a:pt x="299" y="1092"/>
                  </a:lnTo>
                  <a:lnTo>
                    <a:pt x="299" y="1085"/>
                  </a:lnTo>
                  <a:lnTo>
                    <a:pt x="285" y="1082"/>
                  </a:lnTo>
                  <a:lnTo>
                    <a:pt x="292" y="1083"/>
                  </a:lnTo>
                  <a:lnTo>
                    <a:pt x="292" y="1078"/>
                  </a:lnTo>
                  <a:lnTo>
                    <a:pt x="287" y="1080"/>
                  </a:lnTo>
                  <a:lnTo>
                    <a:pt x="285" y="1077"/>
                  </a:lnTo>
                  <a:lnTo>
                    <a:pt x="279" y="1075"/>
                  </a:lnTo>
                  <a:lnTo>
                    <a:pt x="274" y="1078"/>
                  </a:lnTo>
                  <a:lnTo>
                    <a:pt x="270" y="1070"/>
                  </a:lnTo>
                  <a:lnTo>
                    <a:pt x="268" y="1071"/>
                  </a:lnTo>
                  <a:lnTo>
                    <a:pt x="260" y="1071"/>
                  </a:lnTo>
                  <a:lnTo>
                    <a:pt x="262" y="1063"/>
                  </a:lnTo>
                  <a:lnTo>
                    <a:pt x="251" y="1065"/>
                  </a:lnTo>
                  <a:lnTo>
                    <a:pt x="257" y="1060"/>
                  </a:lnTo>
                  <a:lnTo>
                    <a:pt x="257" y="1054"/>
                  </a:lnTo>
                  <a:lnTo>
                    <a:pt x="248" y="1054"/>
                  </a:lnTo>
                  <a:lnTo>
                    <a:pt x="250" y="1060"/>
                  </a:lnTo>
                  <a:lnTo>
                    <a:pt x="245" y="1061"/>
                  </a:lnTo>
                  <a:lnTo>
                    <a:pt x="246" y="1054"/>
                  </a:lnTo>
                  <a:lnTo>
                    <a:pt x="240" y="1058"/>
                  </a:lnTo>
                  <a:lnTo>
                    <a:pt x="241" y="1051"/>
                  </a:lnTo>
                  <a:lnTo>
                    <a:pt x="231" y="1053"/>
                  </a:lnTo>
                  <a:lnTo>
                    <a:pt x="229" y="1046"/>
                  </a:lnTo>
                  <a:lnTo>
                    <a:pt x="226" y="1048"/>
                  </a:lnTo>
                  <a:lnTo>
                    <a:pt x="224" y="1041"/>
                  </a:lnTo>
                  <a:lnTo>
                    <a:pt x="219" y="1044"/>
                  </a:lnTo>
                  <a:lnTo>
                    <a:pt x="221" y="1036"/>
                  </a:lnTo>
                  <a:lnTo>
                    <a:pt x="217" y="1037"/>
                  </a:lnTo>
                  <a:lnTo>
                    <a:pt x="214" y="1034"/>
                  </a:lnTo>
                  <a:lnTo>
                    <a:pt x="214" y="1039"/>
                  </a:lnTo>
                  <a:lnTo>
                    <a:pt x="207" y="1041"/>
                  </a:lnTo>
                  <a:lnTo>
                    <a:pt x="206" y="1037"/>
                  </a:lnTo>
                  <a:lnTo>
                    <a:pt x="202" y="1043"/>
                  </a:lnTo>
                  <a:lnTo>
                    <a:pt x="200" y="1037"/>
                  </a:lnTo>
                  <a:lnTo>
                    <a:pt x="192" y="1037"/>
                  </a:lnTo>
                  <a:lnTo>
                    <a:pt x="187" y="1027"/>
                  </a:lnTo>
                  <a:lnTo>
                    <a:pt x="180" y="1032"/>
                  </a:lnTo>
                  <a:lnTo>
                    <a:pt x="177" y="1031"/>
                  </a:lnTo>
                  <a:lnTo>
                    <a:pt x="166" y="1032"/>
                  </a:lnTo>
                  <a:lnTo>
                    <a:pt x="165" y="1026"/>
                  </a:lnTo>
                  <a:lnTo>
                    <a:pt x="160" y="1024"/>
                  </a:lnTo>
                  <a:lnTo>
                    <a:pt x="148" y="1020"/>
                  </a:lnTo>
                  <a:lnTo>
                    <a:pt x="144" y="1014"/>
                  </a:lnTo>
                  <a:lnTo>
                    <a:pt x="134" y="1015"/>
                  </a:lnTo>
                  <a:lnTo>
                    <a:pt x="127" y="1019"/>
                  </a:lnTo>
                  <a:lnTo>
                    <a:pt x="115" y="1019"/>
                  </a:lnTo>
                  <a:lnTo>
                    <a:pt x="109" y="1022"/>
                  </a:lnTo>
                  <a:lnTo>
                    <a:pt x="102" y="1029"/>
                  </a:lnTo>
                  <a:lnTo>
                    <a:pt x="95" y="1020"/>
                  </a:lnTo>
                  <a:lnTo>
                    <a:pt x="85" y="1019"/>
                  </a:lnTo>
                  <a:lnTo>
                    <a:pt x="80" y="1015"/>
                  </a:lnTo>
                  <a:lnTo>
                    <a:pt x="70" y="1014"/>
                  </a:lnTo>
                  <a:lnTo>
                    <a:pt x="66" y="1014"/>
                  </a:lnTo>
                  <a:lnTo>
                    <a:pt x="59" y="1020"/>
                  </a:lnTo>
                  <a:lnTo>
                    <a:pt x="61" y="1014"/>
                  </a:lnTo>
                  <a:lnTo>
                    <a:pt x="47" y="1010"/>
                  </a:lnTo>
                  <a:lnTo>
                    <a:pt x="51" y="1009"/>
                  </a:lnTo>
                  <a:lnTo>
                    <a:pt x="42" y="1003"/>
                  </a:lnTo>
                  <a:lnTo>
                    <a:pt x="56" y="998"/>
                  </a:lnTo>
                  <a:lnTo>
                    <a:pt x="58" y="997"/>
                  </a:lnTo>
                  <a:lnTo>
                    <a:pt x="56" y="993"/>
                  </a:lnTo>
                  <a:lnTo>
                    <a:pt x="53" y="997"/>
                  </a:lnTo>
                  <a:lnTo>
                    <a:pt x="49" y="991"/>
                  </a:lnTo>
                  <a:lnTo>
                    <a:pt x="53" y="985"/>
                  </a:lnTo>
                  <a:lnTo>
                    <a:pt x="59" y="986"/>
                  </a:lnTo>
                  <a:lnTo>
                    <a:pt x="63" y="978"/>
                  </a:lnTo>
                  <a:lnTo>
                    <a:pt x="66" y="973"/>
                  </a:lnTo>
                  <a:lnTo>
                    <a:pt x="66" y="964"/>
                  </a:lnTo>
                  <a:lnTo>
                    <a:pt x="73" y="963"/>
                  </a:lnTo>
                  <a:lnTo>
                    <a:pt x="76" y="957"/>
                  </a:lnTo>
                  <a:lnTo>
                    <a:pt x="88" y="954"/>
                  </a:lnTo>
                  <a:lnTo>
                    <a:pt x="87" y="949"/>
                  </a:lnTo>
                  <a:lnTo>
                    <a:pt x="95" y="951"/>
                  </a:lnTo>
                  <a:lnTo>
                    <a:pt x="92" y="942"/>
                  </a:lnTo>
                  <a:lnTo>
                    <a:pt x="93" y="935"/>
                  </a:lnTo>
                  <a:lnTo>
                    <a:pt x="90" y="929"/>
                  </a:lnTo>
                  <a:lnTo>
                    <a:pt x="85" y="923"/>
                  </a:lnTo>
                  <a:lnTo>
                    <a:pt x="78" y="920"/>
                  </a:lnTo>
                  <a:lnTo>
                    <a:pt x="81" y="930"/>
                  </a:lnTo>
                  <a:lnTo>
                    <a:pt x="76" y="930"/>
                  </a:lnTo>
                  <a:lnTo>
                    <a:pt x="75" y="929"/>
                  </a:lnTo>
                  <a:lnTo>
                    <a:pt x="64" y="927"/>
                  </a:lnTo>
                  <a:lnTo>
                    <a:pt x="58" y="923"/>
                  </a:lnTo>
                  <a:lnTo>
                    <a:pt x="56" y="918"/>
                  </a:lnTo>
                  <a:lnTo>
                    <a:pt x="53" y="918"/>
                  </a:lnTo>
                  <a:lnTo>
                    <a:pt x="49" y="908"/>
                  </a:lnTo>
                  <a:lnTo>
                    <a:pt x="51" y="906"/>
                  </a:lnTo>
                  <a:lnTo>
                    <a:pt x="46" y="905"/>
                  </a:lnTo>
                  <a:lnTo>
                    <a:pt x="49" y="900"/>
                  </a:lnTo>
                  <a:lnTo>
                    <a:pt x="44" y="896"/>
                  </a:lnTo>
                  <a:lnTo>
                    <a:pt x="49" y="893"/>
                  </a:lnTo>
                  <a:lnTo>
                    <a:pt x="46" y="889"/>
                  </a:lnTo>
                  <a:lnTo>
                    <a:pt x="49" y="889"/>
                  </a:lnTo>
                  <a:lnTo>
                    <a:pt x="49" y="879"/>
                  </a:lnTo>
                  <a:lnTo>
                    <a:pt x="47" y="878"/>
                  </a:lnTo>
                  <a:lnTo>
                    <a:pt x="49" y="876"/>
                  </a:lnTo>
                  <a:lnTo>
                    <a:pt x="47" y="876"/>
                  </a:lnTo>
                  <a:lnTo>
                    <a:pt x="42" y="864"/>
                  </a:lnTo>
                  <a:lnTo>
                    <a:pt x="37" y="861"/>
                  </a:lnTo>
                  <a:lnTo>
                    <a:pt x="30" y="852"/>
                  </a:lnTo>
                  <a:lnTo>
                    <a:pt x="24" y="850"/>
                  </a:lnTo>
                  <a:lnTo>
                    <a:pt x="29" y="845"/>
                  </a:lnTo>
                  <a:lnTo>
                    <a:pt x="37" y="842"/>
                  </a:lnTo>
                  <a:lnTo>
                    <a:pt x="42" y="837"/>
                  </a:lnTo>
                  <a:lnTo>
                    <a:pt x="47" y="840"/>
                  </a:lnTo>
                  <a:lnTo>
                    <a:pt x="49" y="833"/>
                  </a:lnTo>
                  <a:lnTo>
                    <a:pt x="61" y="830"/>
                  </a:lnTo>
                  <a:lnTo>
                    <a:pt x="64" y="826"/>
                  </a:lnTo>
                  <a:lnTo>
                    <a:pt x="63" y="818"/>
                  </a:lnTo>
                  <a:lnTo>
                    <a:pt x="58" y="816"/>
                  </a:lnTo>
                  <a:lnTo>
                    <a:pt x="58" y="813"/>
                  </a:lnTo>
                  <a:lnTo>
                    <a:pt x="47" y="809"/>
                  </a:lnTo>
                  <a:lnTo>
                    <a:pt x="56" y="803"/>
                  </a:lnTo>
                  <a:lnTo>
                    <a:pt x="54" y="798"/>
                  </a:lnTo>
                  <a:lnTo>
                    <a:pt x="56" y="789"/>
                  </a:lnTo>
                  <a:lnTo>
                    <a:pt x="54" y="787"/>
                  </a:lnTo>
                  <a:lnTo>
                    <a:pt x="63" y="779"/>
                  </a:lnTo>
                  <a:lnTo>
                    <a:pt x="61" y="774"/>
                  </a:lnTo>
                  <a:lnTo>
                    <a:pt x="64" y="772"/>
                  </a:lnTo>
                  <a:lnTo>
                    <a:pt x="64" y="765"/>
                  </a:lnTo>
                  <a:lnTo>
                    <a:pt x="73" y="762"/>
                  </a:lnTo>
                  <a:lnTo>
                    <a:pt x="75" y="758"/>
                  </a:lnTo>
                  <a:lnTo>
                    <a:pt x="85" y="753"/>
                  </a:lnTo>
                  <a:lnTo>
                    <a:pt x="97" y="755"/>
                  </a:lnTo>
                  <a:lnTo>
                    <a:pt x="100" y="745"/>
                  </a:lnTo>
                  <a:lnTo>
                    <a:pt x="98" y="738"/>
                  </a:lnTo>
                  <a:lnTo>
                    <a:pt x="107" y="738"/>
                  </a:lnTo>
                  <a:lnTo>
                    <a:pt x="109" y="735"/>
                  </a:lnTo>
                  <a:lnTo>
                    <a:pt x="104" y="731"/>
                  </a:lnTo>
                  <a:lnTo>
                    <a:pt x="105" y="726"/>
                  </a:lnTo>
                  <a:lnTo>
                    <a:pt x="100" y="721"/>
                  </a:lnTo>
                  <a:lnTo>
                    <a:pt x="105" y="719"/>
                  </a:lnTo>
                  <a:lnTo>
                    <a:pt x="102" y="714"/>
                  </a:lnTo>
                  <a:lnTo>
                    <a:pt x="109" y="713"/>
                  </a:lnTo>
                  <a:lnTo>
                    <a:pt x="110" y="709"/>
                  </a:lnTo>
                  <a:lnTo>
                    <a:pt x="119" y="709"/>
                  </a:lnTo>
                  <a:lnTo>
                    <a:pt x="131" y="702"/>
                  </a:lnTo>
                  <a:lnTo>
                    <a:pt x="136" y="694"/>
                  </a:lnTo>
                  <a:lnTo>
                    <a:pt x="136" y="689"/>
                  </a:lnTo>
                  <a:lnTo>
                    <a:pt x="143" y="684"/>
                  </a:lnTo>
                  <a:lnTo>
                    <a:pt x="141" y="675"/>
                  </a:lnTo>
                  <a:lnTo>
                    <a:pt x="144" y="673"/>
                  </a:lnTo>
                  <a:lnTo>
                    <a:pt x="141" y="665"/>
                  </a:lnTo>
                  <a:lnTo>
                    <a:pt x="141" y="655"/>
                  </a:lnTo>
                  <a:lnTo>
                    <a:pt x="136" y="651"/>
                  </a:lnTo>
                  <a:lnTo>
                    <a:pt x="138" y="650"/>
                  </a:lnTo>
                  <a:lnTo>
                    <a:pt x="134" y="639"/>
                  </a:lnTo>
                  <a:lnTo>
                    <a:pt x="122" y="638"/>
                  </a:lnTo>
                  <a:lnTo>
                    <a:pt x="117" y="633"/>
                  </a:lnTo>
                  <a:lnTo>
                    <a:pt x="119" y="624"/>
                  </a:lnTo>
                  <a:lnTo>
                    <a:pt x="122" y="617"/>
                  </a:lnTo>
                  <a:lnTo>
                    <a:pt x="114" y="610"/>
                  </a:lnTo>
                  <a:lnTo>
                    <a:pt x="110" y="604"/>
                  </a:lnTo>
                  <a:lnTo>
                    <a:pt x="102" y="604"/>
                  </a:lnTo>
                  <a:lnTo>
                    <a:pt x="95" y="607"/>
                  </a:lnTo>
                  <a:lnTo>
                    <a:pt x="88" y="600"/>
                  </a:lnTo>
                  <a:lnTo>
                    <a:pt x="88" y="597"/>
                  </a:lnTo>
                  <a:lnTo>
                    <a:pt x="85" y="595"/>
                  </a:lnTo>
                  <a:lnTo>
                    <a:pt x="87" y="590"/>
                  </a:lnTo>
                  <a:lnTo>
                    <a:pt x="76" y="583"/>
                  </a:lnTo>
                  <a:lnTo>
                    <a:pt x="71" y="583"/>
                  </a:lnTo>
                  <a:lnTo>
                    <a:pt x="68" y="578"/>
                  </a:lnTo>
                  <a:lnTo>
                    <a:pt x="63" y="578"/>
                  </a:lnTo>
                  <a:lnTo>
                    <a:pt x="64" y="573"/>
                  </a:lnTo>
                  <a:lnTo>
                    <a:pt x="56" y="566"/>
                  </a:lnTo>
                  <a:lnTo>
                    <a:pt x="51" y="566"/>
                  </a:lnTo>
                  <a:lnTo>
                    <a:pt x="53" y="561"/>
                  </a:lnTo>
                  <a:lnTo>
                    <a:pt x="42" y="561"/>
                  </a:lnTo>
                  <a:lnTo>
                    <a:pt x="37" y="551"/>
                  </a:lnTo>
                  <a:lnTo>
                    <a:pt x="36" y="556"/>
                  </a:lnTo>
                  <a:lnTo>
                    <a:pt x="27" y="561"/>
                  </a:lnTo>
                  <a:lnTo>
                    <a:pt x="20" y="551"/>
                  </a:lnTo>
                  <a:lnTo>
                    <a:pt x="22" y="548"/>
                  </a:lnTo>
                  <a:lnTo>
                    <a:pt x="17" y="546"/>
                  </a:lnTo>
                  <a:lnTo>
                    <a:pt x="20" y="544"/>
                  </a:lnTo>
                  <a:lnTo>
                    <a:pt x="19" y="537"/>
                  </a:lnTo>
                  <a:lnTo>
                    <a:pt x="12" y="534"/>
                  </a:lnTo>
                  <a:lnTo>
                    <a:pt x="20" y="530"/>
                  </a:lnTo>
                  <a:lnTo>
                    <a:pt x="15" y="527"/>
                  </a:lnTo>
                  <a:lnTo>
                    <a:pt x="19" y="525"/>
                  </a:lnTo>
                  <a:lnTo>
                    <a:pt x="8" y="519"/>
                  </a:lnTo>
                  <a:lnTo>
                    <a:pt x="0" y="522"/>
                  </a:lnTo>
                  <a:lnTo>
                    <a:pt x="5" y="515"/>
                  </a:lnTo>
                  <a:lnTo>
                    <a:pt x="8" y="505"/>
                  </a:lnTo>
                  <a:lnTo>
                    <a:pt x="7" y="502"/>
                  </a:lnTo>
                  <a:lnTo>
                    <a:pt x="13" y="493"/>
                  </a:lnTo>
                  <a:lnTo>
                    <a:pt x="20" y="490"/>
                  </a:lnTo>
                  <a:lnTo>
                    <a:pt x="20" y="483"/>
                  </a:lnTo>
                  <a:lnTo>
                    <a:pt x="27" y="478"/>
                  </a:lnTo>
                  <a:lnTo>
                    <a:pt x="29" y="469"/>
                  </a:lnTo>
                  <a:lnTo>
                    <a:pt x="54" y="464"/>
                  </a:lnTo>
                  <a:lnTo>
                    <a:pt x="61" y="462"/>
                  </a:lnTo>
                  <a:lnTo>
                    <a:pt x="71" y="468"/>
                  </a:lnTo>
                  <a:lnTo>
                    <a:pt x="78" y="461"/>
                  </a:lnTo>
                  <a:lnTo>
                    <a:pt x="80" y="457"/>
                  </a:lnTo>
                  <a:lnTo>
                    <a:pt x="87" y="462"/>
                  </a:lnTo>
                  <a:lnTo>
                    <a:pt x="92" y="456"/>
                  </a:lnTo>
                  <a:lnTo>
                    <a:pt x="87" y="449"/>
                  </a:lnTo>
                  <a:lnTo>
                    <a:pt x="93" y="442"/>
                  </a:lnTo>
                  <a:lnTo>
                    <a:pt x="97" y="439"/>
                  </a:lnTo>
                  <a:lnTo>
                    <a:pt x="102" y="430"/>
                  </a:lnTo>
                  <a:lnTo>
                    <a:pt x="112" y="434"/>
                  </a:lnTo>
                  <a:lnTo>
                    <a:pt x="121" y="430"/>
                  </a:lnTo>
                  <a:lnTo>
                    <a:pt x="121" y="425"/>
                  </a:lnTo>
                  <a:lnTo>
                    <a:pt x="131" y="420"/>
                  </a:lnTo>
                  <a:lnTo>
                    <a:pt x="134" y="417"/>
                  </a:lnTo>
                  <a:lnTo>
                    <a:pt x="144" y="417"/>
                  </a:lnTo>
                  <a:lnTo>
                    <a:pt x="149" y="408"/>
                  </a:lnTo>
                  <a:lnTo>
                    <a:pt x="151" y="405"/>
                  </a:lnTo>
                  <a:lnTo>
                    <a:pt x="151" y="403"/>
                  </a:lnTo>
                  <a:lnTo>
                    <a:pt x="156" y="400"/>
                  </a:lnTo>
                  <a:lnTo>
                    <a:pt x="163" y="394"/>
                  </a:lnTo>
                  <a:lnTo>
                    <a:pt x="163" y="389"/>
                  </a:lnTo>
                  <a:lnTo>
                    <a:pt x="172" y="388"/>
                  </a:lnTo>
                  <a:lnTo>
                    <a:pt x="182" y="383"/>
                  </a:lnTo>
                  <a:lnTo>
                    <a:pt x="183" y="386"/>
                  </a:lnTo>
                  <a:lnTo>
                    <a:pt x="197" y="383"/>
                  </a:lnTo>
                  <a:lnTo>
                    <a:pt x="199" y="381"/>
                  </a:lnTo>
                  <a:lnTo>
                    <a:pt x="200" y="377"/>
                  </a:lnTo>
                  <a:lnTo>
                    <a:pt x="197" y="374"/>
                  </a:lnTo>
                  <a:lnTo>
                    <a:pt x="202" y="367"/>
                  </a:lnTo>
                  <a:lnTo>
                    <a:pt x="211" y="364"/>
                  </a:lnTo>
                  <a:lnTo>
                    <a:pt x="209" y="354"/>
                  </a:lnTo>
                  <a:lnTo>
                    <a:pt x="211" y="350"/>
                  </a:lnTo>
                  <a:lnTo>
                    <a:pt x="211" y="342"/>
                  </a:lnTo>
                  <a:lnTo>
                    <a:pt x="204" y="335"/>
                  </a:lnTo>
                  <a:lnTo>
                    <a:pt x="200" y="330"/>
                  </a:lnTo>
                  <a:lnTo>
                    <a:pt x="207" y="321"/>
                  </a:lnTo>
                  <a:lnTo>
                    <a:pt x="207" y="316"/>
                  </a:lnTo>
                  <a:lnTo>
                    <a:pt x="211" y="308"/>
                  </a:lnTo>
                  <a:lnTo>
                    <a:pt x="217" y="306"/>
                  </a:lnTo>
                  <a:lnTo>
                    <a:pt x="212" y="296"/>
                  </a:lnTo>
                  <a:lnTo>
                    <a:pt x="221" y="289"/>
                  </a:lnTo>
                  <a:lnTo>
                    <a:pt x="221" y="279"/>
                  </a:lnTo>
                  <a:lnTo>
                    <a:pt x="226" y="279"/>
                  </a:lnTo>
                  <a:lnTo>
                    <a:pt x="224" y="270"/>
                  </a:lnTo>
                  <a:lnTo>
                    <a:pt x="233" y="265"/>
                  </a:lnTo>
                  <a:lnTo>
                    <a:pt x="228" y="262"/>
                  </a:lnTo>
                  <a:lnTo>
                    <a:pt x="226" y="255"/>
                  </a:lnTo>
                  <a:lnTo>
                    <a:pt x="228" y="252"/>
                  </a:lnTo>
                  <a:lnTo>
                    <a:pt x="229" y="243"/>
                  </a:lnTo>
                  <a:lnTo>
                    <a:pt x="229" y="236"/>
                  </a:lnTo>
                  <a:lnTo>
                    <a:pt x="219" y="229"/>
                  </a:lnTo>
                  <a:lnTo>
                    <a:pt x="219" y="224"/>
                  </a:lnTo>
                  <a:lnTo>
                    <a:pt x="221" y="221"/>
                  </a:lnTo>
                  <a:lnTo>
                    <a:pt x="231" y="218"/>
                  </a:lnTo>
                  <a:lnTo>
                    <a:pt x="236" y="212"/>
                  </a:lnTo>
                  <a:lnTo>
                    <a:pt x="240" y="214"/>
                  </a:lnTo>
                  <a:lnTo>
                    <a:pt x="250" y="209"/>
                  </a:lnTo>
                  <a:lnTo>
                    <a:pt x="248" y="200"/>
                  </a:lnTo>
                  <a:lnTo>
                    <a:pt x="243" y="190"/>
                  </a:lnTo>
                  <a:lnTo>
                    <a:pt x="234" y="190"/>
                  </a:lnTo>
                  <a:lnTo>
                    <a:pt x="231" y="187"/>
                  </a:lnTo>
                  <a:lnTo>
                    <a:pt x="236" y="180"/>
                  </a:lnTo>
                  <a:lnTo>
                    <a:pt x="229" y="177"/>
                  </a:lnTo>
                  <a:lnTo>
                    <a:pt x="231" y="173"/>
                  </a:lnTo>
                  <a:lnTo>
                    <a:pt x="233" y="175"/>
                  </a:lnTo>
                  <a:lnTo>
                    <a:pt x="245" y="168"/>
                  </a:lnTo>
                  <a:lnTo>
                    <a:pt x="253" y="173"/>
                  </a:lnTo>
                  <a:lnTo>
                    <a:pt x="262" y="165"/>
                  </a:lnTo>
                  <a:lnTo>
                    <a:pt x="262" y="160"/>
                  </a:lnTo>
                  <a:lnTo>
                    <a:pt x="267" y="151"/>
                  </a:lnTo>
                  <a:lnTo>
                    <a:pt x="277" y="151"/>
                  </a:lnTo>
                  <a:lnTo>
                    <a:pt x="280" y="153"/>
                  </a:lnTo>
                  <a:lnTo>
                    <a:pt x="285" y="144"/>
                  </a:lnTo>
                  <a:lnTo>
                    <a:pt x="296" y="148"/>
                  </a:lnTo>
                  <a:lnTo>
                    <a:pt x="302" y="149"/>
                  </a:lnTo>
                  <a:lnTo>
                    <a:pt x="311" y="156"/>
                  </a:lnTo>
                  <a:lnTo>
                    <a:pt x="319" y="155"/>
                  </a:lnTo>
                  <a:lnTo>
                    <a:pt x="325" y="148"/>
                  </a:lnTo>
                  <a:lnTo>
                    <a:pt x="330" y="149"/>
                  </a:lnTo>
                  <a:lnTo>
                    <a:pt x="336" y="153"/>
                  </a:lnTo>
                  <a:lnTo>
                    <a:pt x="345" y="161"/>
                  </a:lnTo>
                  <a:lnTo>
                    <a:pt x="347" y="155"/>
                  </a:lnTo>
                  <a:lnTo>
                    <a:pt x="353" y="151"/>
                  </a:lnTo>
                  <a:lnTo>
                    <a:pt x="359" y="146"/>
                  </a:lnTo>
                  <a:lnTo>
                    <a:pt x="369" y="153"/>
                  </a:lnTo>
                  <a:lnTo>
                    <a:pt x="381" y="149"/>
                  </a:lnTo>
                  <a:lnTo>
                    <a:pt x="381" y="139"/>
                  </a:lnTo>
                  <a:lnTo>
                    <a:pt x="382" y="134"/>
                  </a:lnTo>
                  <a:lnTo>
                    <a:pt x="394" y="131"/>
                  </a:lnTo>
                  <a:lnTo>
                    <a:pt x="403" y="134"/>
                  </a:lnTo>
                  <a:lnTo>
                    <a:pt x="404" y="122"/>
                  </a:lnTo>
                  <a:lnTo>
                    <a:pt x="411" y="124"/>
                  </a:lnTo>
                  <a:lnTo>
                    <a:pt x="420" y="122"/>
                  </a:lnTo>
                  <a:lnTo>
                    <a:pt x="420" y="129"/>
                  </a:lnTo>
                  <a:lnTo>
                    <a:pt x="418" y="134"/>
                  </a:lnTo>
                  <a:lnTo>
                    <a:pt x="425" y="138"/>
                  </a:lnTo>
                  <a:lnTo>
                    <a:pt x="428" y="138"/>
                  </a:lnTo>
                  <a:lnTo>
                    <a:pt x="437" y="134"/>
                  </a:lnTo>
                  <a:lnTo>
                    <a:pt x="445" y="134"/>
                  </a:lnTo>
                  <a:lnTo>
                    <a:pt x="454" y="138"/>
                  </a:lnTo>
                  <a:lnTo>
                    <a:pt x="461" y="138"/>
                  </a:lnTo>
                  <a:lnTo>
                    <a:pt x="462" y="136"/>
                  </a:lnTo>
                  <a:lnTo>
                    <a:pt x="479" y="127"/>
                  </a:lnTo>
                  <a:lnTo>
                    <a:pt x="493" y="126"/>
                  </a:lnTo>
                  <a:lnTo>
                    <a:pt x="495" y="127"/>
                  </a:lnTo>
                  <a:lnTo>
                    <a:pt x="495" y="126"/>
                  </a:lnTo>
                  <a:lnTo>
                    <a:pt x="498" y="131"/>
                  </a:lnTo>
                  <a:lnTo>
                    <a:pt x="506" y="132"/>
                  </a:lnTo>
                  <a:lnTo>
                    <a:pt x="508" y="138"/>
                  </a:lnTo>
                  <a:lnTo>
                    <a:pt x="513" y="134"/>
                  </a:lnTo>
                  <a:lnTo>
                    <a:pt x="518" y="141"/>
                  </a:lnTo>
                  <a:lnTo>
                    <a:pt x="523" y="143"/>
                  </a:lnTo>
                  <a:lnTo>
                    <a:pt x="522" y="144"/>
                  </a:lnTo>
                  <a:lnTo>
                    <a:pt x="530" y="143"/>
                  </a:lnTo>
                  <a:lnTo>
                    <a:pt x="534" y="134"/>
                  </a:lnTo>
                  <a:lnTo>
                    <a:pt x="535" y="134"/>
                  </a:lnTo>
                  <a:lnTo>
                    <a:pt x="547" y="132"/>
                  </a:lnTo>
                  <a:lnTo>
                    <a:pt x="547" y="139"/>
                  </a:lnTo>
                  <a:lnTo>
                    <a:pt x="552" y="149"/>
                  </a:lnTo>
                  <a:lnTo>
                    <a:pt x="556" y="146"/>
                  </a:lnTo>
                  <a:lnTo>
                    <a:pt x="568" y="146"/>
                  </a:lnTo>
                  <a:lnTo>
                    <a:pt x="569" y="144"/>
                  </a:lnTo>
                  <a:lnTo>
                    <a:pt x="573" y="146"/>
                  </a:lnTo>
                  <a:lnTo>
                    <a:pt x="576" y="143"/>
                  </a:lnTo>
                  <a:lnTo>
                    <a:pt x="580" y="144"/>
                  </a:lnTo>
                  <a:lnTo>
                    <a:pt x="581" y="143"/>
                  </a:lnTo>
                  <a:lnTo>
                    <a:pt x="593" y="139"/>
                  </a:lnTo>
                  <a:lnTo>
                    <a:pt x="593" y="141"/>
                  </a:lnTo>
                  <a:lnTo>
                    <a:pt x="603" y="148"/>
                  </a:lnTo>
                  <a:lnTo>
                    <a:pt x="610" y="149"/>
                  </a:lnTo>
                  <a:lnTo>
                    <a:pt x="617" y="139"/>
                  </a:lnTo>
                  <a:lnTo>
                    <a:pt x="619" y="139"/>
                  </a:lnTo>
                  <a:lnTo>
                    <a:pt x="620" y="136"/>
                  </a:lnTo>
                  <a:lnTo>
                    <a:pt x="629" y="127"/>
                  </a:lnTo>
                  <a:lnTo>
                    <a:pt x="631" y="126"/>
                  </a:lnTo>
                  <a:lnTo>
                    <a:pt x="632" y="122"/>
                  </a:lnTo>
                  <a:lnTo>
                    <a:pt x="641" y="115"/>
                  </a:lnTo>
                  <a:lnTo>
                    <a:pt x="644" y="117"/>
                  </a:lnTo>
                  <a:lnTo>
                    <a:pt x="651" y="119"/>
                  </a:lnTo>
                  <a:lnTo>
                    <a:pt x="661" y="122"/>
                  </a:lnTo>
                  <a:lnTo>
                    <a:pt x="664" y="124"/>
                  </a:lnTo>
                  <a:lnTo>
                    <a:pt x="668" y="126"/>
                  </a:lnTo>
                  <a:lnTo>
                    <a:pt x="671" y="126"/>
                  </a:lnTo>
                  <a:lnTo>
                    <a:pt x="683" y="131"/>
                  </a:lnTo>
                  <a:lnTo>
                    <a:pt x="693" y="134"/>
                  </a:lnTo>
                  <a:lnTo>
                    <a:pt x="697" y="134"/>
                  </a:lnTo>
                  <a:lnTo>
                    <a:pt x="700" y="134"/>
                  </a:lnTo>
                  <a:lnTo>
                    <a:pt x="712" y="134"/>
                  </a:lnTo>
                  <a:lnTo>
                    <a:pt x="715" y="134"/>
                  </a:lnTo>
                  <a:lnTo>
                    <a:pt x="726" y="134"/>
                  </a:lnTo>
                  <a:lnTo>
                    <a:pt x="751" y="134"/>
                  </a:lnTo>
                  <a:lnTo>
                    <a:pt x="763" y="136"/>
                  </a:lnTo>
                  <a:lnTo>
                    <a:pt x="778" y="136"/>
                  </a:lnTo>
                  <a:lnTo>
                    <a:pt x="799" y="136"/>
                  </a:lnTo>
                  <a:lnTo>
                    <a:pt x="809" y="136"/>
                  </a:lnTo>
                  <a:lnTo>
                    <a:pt x="823" y="136"/>
                  </a:lnTo>
                  <a:lnTo>
                    <a:pt x="821" y="134"/>
                  </a:lnTo>
                  <a:lnTo>
                    <a:pt x="821" y="131"/>
                  </a:lnTo>
                  <a:lnTo>
                    <a:pt x="823" y="119"/>
                  </a:lnTo>
                  <a:lnTo>
                    <a:pt x="823" y="110"/>
                  </a:lnTo>
                  <a:lnTo>
                    <a:pt x="823" y="102"/>
                  </a:lnTo>
                  <a:lnTo>
                    <a:pt x="823" y="90"/>
                  </a:lnTo>
                  <a:lnTo>
                    <a:pt x="824" y="85"/>
                  </a:lnTo>
                  <a:lnTo>
                    <a:pt x="823" y="81"/>
                  </a:lnTo>
                  <a:lnTo>
                    <a:pt x="824" y="75"/>
                  </a:lnTo>
                  <a:lnTo>
                    <a:pt x="826" y="66"/>
                  </a:lnTo>
                  <a:lnTo>
                    <a:pt x="826" y="61"/>
                  </a:lnTo>
                  <a:lnTo>
                    <a:pt x="828" y="51"/>
                  </a:lnTo>
                  <a:lnTo>
                    <a:pt x="829" y="41"/>
                  </a:lnTo>
                  <a:lnTo>
                    <a:pt x="831" y="37"/>
                  </a:lnTo>
                  <a:lnTo>
                    <a:pt x="833" y="34"/>
                  </a:lnTo>
                  <a:lnTo>
                    <a:pt x="831" y="30"/>
                  </a:lnTo>
                  <a:lnTo>
                    <a:pt x="833" y="25"/>
                  </a:lnTo>
                  <a:lnTo>
                    <a:pt x="836" y="8"/>
                  </a:lnTo>
                  <a:lnTo>
                    <a:pt x="838" y="3"/>
                  </a:lnTo>
                  <a:lnTo>
                    <a:pt x="836" y="0"/>
                  </a:lnTo>
                  <a:lnTo>
                    <a:pt x="840" y="0"/>
                  </a:lnTo>
                  <a:lnTo>
                    <a:pt x="848" y="3"/>
                  </a:lnTo>
                  <a:lnTo>
                    <a:pt x="860" y="0"/>
                  </a:lnTo>
                  <a:lnTo>
                    <a:pt x="865" y="8"/>
                  </a:lnTo>
                  <a:lnTo>
                    <a:pt x="870" y="8"/>
                  </a:lnTo>
                  <a:lnTo>
                    <a:pt x="880" y="15"/>
                  </a:lnTo>
                  <a:lnTo>
                    <a:pt x="885" y="12"/>
                  </a:lnTo>
                  <a:lnTo>
                    <a:pt x="891" y="7"/>
                  </a:lnTo>
                  <a:lnTo>
                    <a:pt x="899" y="10"/>
                  </a:lnTo>
                  <a:lnTo>
                    <a:pt x="906" y="10"/>
                  </a:lnTo>
                  <a:lnTo>
                    <a:pt x="913" y="13"/>
                  </a:lnTo>
                  <a:lnTo>
                    <a:pt x="916" y="12"/>
                  </a:lnTo>
                  <a:lnTo>
                    <a:pt x="919" y="15"/>
                  </a:lnTo>
                  <a:lnTo>
                    <a:pt x="923" y="12"/>
                  </a:lnTo>
                  <a:lnTo>
                    <a:pt x="923" y="15"/>
                  </a:lnTo>
                  <a:lnTo>
                    <a:pt x="938" y="15"/>
                  </a:lnTo>
                  <a:lnTo>
                    <a:pt x="948" y="15"/>
                  </a:lnTo>
                  <a:lnTo>
                    <a:pt x="955" y="15"/>
                  </a:lnTo>
                  <a:lnTo>
                    <a:pt x="967" y="15"/>
                  </a:lnTo>
                  <a:lnTo>
                    <a:pt x="979" y="15"/>
                  </a:lnTo>
                  <a:lnTo>
                    <a:pt x="982" y="15"/>
                  </a:lnTo>
                  <a:lnTo>
                    <a:pt x="991" y="15"/>
                  </a:lnTo>
                  <a:lnTo>
                    <a:pt x="1001" y="15"/>
                  </a:lnTo>
                  <a:lnTo>
                    <a:pt x="1011" y="15"/>
                  </a:lnTo>
                  <a:lnTo>
                    <a:pt x="1021" y="15"/>
                  </a:lnTo>
                  <a:lnTo>
                    <a:pt x="1033" y="13"/>
                  </a:lnTo>
                  <a:lnTo>
                    <a:pt x="1042" y="15"/>
                  </a:lnTo>
                  <a:lnTo>
                    <a:pt x="1049" y="15"/>
                  </a:lnTo>
                  <a:lnTo>
                    <a:pt x="1055" y="15"/>
                  </a:lnTo>
                  <a:lnTo>
                    <a:pt x="1064" y="13"/>
                  </a:lnTo>
                  <a:lnTo>
                    <a:pt x="1062" y="17"/>
                  </a:lnTo>
                  <a:lnTo>
                    <a:pt x="1062" y="24"/>
                  </a:lnTo>
                  <a:lnTo>
                    <a:pt x="1061" y="30"/>
                  </a:lnTo>
                  <a:lnTo>
                    <a:pt x="1059" y="39"/>
                  </a:lnTo>
                  <a:lnTo>
                    <a:pt x="1059" y="44"/>
                  </a:lnTo>
                  <a:lnTo>
                    <a:pt x="1055" y="52"/>
                  </a:lnTo>
                  <a:lnTo>
                    <a:pt x="1057" y="56"/>
                  </a:lnTo>
                  <a:lnTo>
                    <a:pt x="1052" y="68"/>
                  </a:lnTo>
                  <a:lnTo>
                    <a:pt x="1049" y="78"/>
                  </a:lnTo>
                  <a:lnTo>
                    <a:pt x="1049" y="80"/>
                  </a:lnTo>
                  <a:lnTo>
                    <a:pt x="1045" y="88"/>
                  </a:lnTo>
                  <a:lnTo>
                    <a:pt x="1042" y="93"/>
                  </a:lnTo>
                  <a:lnTo>
                    <a:pt x="1038" y="102"/>
                  </a:lnTo>
                  <a:lnTo>
                    <a:pt x="1035" y="109"/>
                  </a:lnTo>
                  <a:lnTo>
                    <a:pt x="1035" y="112"/>
                  </a:lnTo>
                  <a:lnTo>
                    <a:pt x="1030" y="121"/>
                  </a:lnTo>
                  <a:lnTo>
                    <a:pt x="1030" y="126"/>
                  </a:lnTo>
                  <a:lnTo>
                    <a:pt x="1023" y="136"/>
                  </a:lnTo>
                  <a:lnTo>
                    <a:pt x="1023" y="139"/>
                  </a:lnTo>
                  <a:lnTo>
                    <a:pt x="1020" y="148"/>
                  </a:lnTo>
                  <a:lnTo>
                    <a:pt x="1016" y="155"/>
                  </a:lnTo>
                  <a:lnTo>
                    <a:pt x="1013" y="160"/>
                  </a:lnTo>
                  <a:lnTo>
                    <a:pt x="1011" y="166"/>
                  </a:lnTo>
                  <a:lnTo>
                    <a:pt x="1006" y="175"/>
                  </a:lnTo>
                  <a:lnTo>
                    <a:pt x="1001" y="185"/>
                  </a:lnTo>
                  <a:lnTo>
                    <a:pt x="1003" y="195"/>
                  </a:lnTo>
                  <a:lnTo>
                    <a:pt x="1001" y="199"/>
                  </a:lnTo>
                  <a:lnTo>
                    <a:pt x="996" y="209"/>
                  </a:lnTo>
                  <a:lnTo>
                    <a:pt x="994" y="218"/>
                  </a:lnTo>
                  <a:lnTo>
                    <a:pt x="991" y="228"/>
                  </a:lnTo>
                  <a:lnTo>
                    <a:pt x="989" y="235"/>
                  </a:lnTo>
                  <a:lnTo>
                    <a:pt x="984" y="245"/>
                  </a:lnTo>
                  <a:lnTo>
                    <a:pt x="982" y="250"/>
                  </a:lnTo>
                  <a:lnTo>
                    <a:pt x="981" y="258"/>
                  </a:lnTo>
                  <a:lnTo>
                    <a:pt x="977" y="270"/>
                  </a:lnTo>
                  <a:lnTo>
                    <a:pt x="977" y="272"/>
                  </a:lnTo>
                  <a:lnTo>
                    <a:pt x="976" y="277"/>
                  </a:lnTo>
                  <a:lnTo>
                    <a:pt x="974" y="289"/>
                  </a:lnTo>
                  <a:lnTo>
                    <a:pt x="974" y="299"/>
                  </a:lnTo>
                  <a:lnTo>
                    <a:pt x="972" y="311"/>
                  </a:lnTo>
                  <a:lnTo>
                    <a:pt x="969" y="320"/>
                  </a:lnTo>
                  <a:lnTo>
                    <a:pt x="964" y="340"/>
                  </a:lnTo>
                  <a:lnTo>
                    <a:pt x="964" y="345"/>
                  </a:lnTo>
                  <a:lnTo>
                    <a:pt x="964" y="352"/>
                  </a:lnTo>
                  <a:lnTo>
                    <a:pt x="960" y="359"/>
                  </a:lnTo>
                  <a:lnTo>
                    <a:pt x="959" y="364"/>
                  </a:lnTo>
                  <a:lnTo>
                    <a:pt x="955" y="369"/>
                  </a:lnTo>
                  <a:lnTo>
                    <a:pt x="952" y="376"/>
                  </a:lnTo>
                  <a:lnTo>
                    <a:pt x="948" y="381"/>
                  </a:lnTo>
                  <a:lnTo>
                    <a:pt x="947" y="384"/>
                  </a:lnTo>
                  <a:lnTo>
                    <a:pt x="943" y="391"/>
                  </a:lnTo>
                  <a:lnTo>
                    <a:pt x="940" y="398"/>
                  </a:lnTo>
                  <a:lnTo>
                    <a:pt x="933" y="406"/>
                  </a:lnTo>
                  <a:lnTo>
                    <a:pt x="931" y="408"/>
                  </a:lnTo>
                  <a:lnTo>
                    <a:pt x="926" y="417"/>
                  </a:lnTo>
                  <a:lnTo>
                    <a:pt x="925" y="423"/>
                  </a:lnTo>
                  <a:lnTo>
                    <a:pt x="926" y="428"/>
                  </a:lnTo>
                  <a:lnTo>
                    <a:pt x="923" y="435"/>
                  </a:lnTo>
                  <a:lnTo>
                    <a:pt x="921" y="445"/>
                  </a:lnTo>
                  <a:lnTo>
                    <a:pt x="919" y="449"/>
                  </a:lnTo>
                  <a:lnTo>
                    <a:pt x="916" y="457"/>
                  </a:lnTo>
                  <a:lnTo>
                    <a:pt x="914" y="461"/>
                  </a:lnTo>
                  <a:lnTo>
                    <a:pt x="908" y="468"/>
                  </a:lnTo>
                  <a:lnTo>
                    <a:pt x="906" y="471"/>
                  </a:lnTo>
                  <a:lnTo>
                    <a:pt x="901" y="476"/>
                  </a:lnTo>
                  <a:lnTo>
                    <a:pt x="894" y="481"/>
                  </a:lnTo>
                  <a:lnTo>
                    <a:pt x="887" y="488"/>
                  </a:lnTo>
                  <a:lnTo>
                    <a:pt x="877" y="495"/>
                  </a:lnTo>
                  <a:lnTo>
                    <a:pt x="870" y="500"/>
                  </a:lnTo>
                  <a:lnTo>
                    <a:pt x="862" y="508"/>
                  </a:lnTo>
                  <a:lnTo>
                    <a:pt x="851" y="517"/>
                  </a:lnTo>
                  <a:lnTo>
                    <a:pt x="850" y="517"/>
                  </a:lnTo>
                  <a:lnTo>
                    <a:pt x="841" y="525"/>
                  </a:lnTo>
                  <a:lnTo>
                    <a:pt x="836" y="529"/>
                  </a:lnTo>
                  <a:lnTo>
                    <a:pt x="836" y="532"/>
                  </a:lnTo>
                  <a:lnTo>
                    <a:pt x="831" y="527"/>
                  </a:lnTo>
                  <a:lnTo>
                    <a:pt x="831" y="530"/>
                  </a:lnTo>
                  <a:lnTo>
                    <a:pt x="824" y="527"/>
                  </a:lnTo>
                  <a:lnTo>
                    <a:pt x="817" y="527"/>
                  </a:lnTo>
                  <a:lnTo>
                    <a:pt x="823" y="530"/>
                  </a:lnTo>
                  <a:lnTo>
                    <a:pt x="816" y="530"/>
                  </a:lnTo>
                  <a:lnTo>
                    <a:pt x="821" y="536"/>
                  </a:lnTo>
                  <a:lnTo>
                    <a:pt x="826" y="530"/>
                  </a:lnTo>
                  <a:lnTo>
                    <a:pt x="833" y="534"/>
                  </a:lnTo>
                  <a:lnTo>
                    <a:pt x="826" y="539"/>
                  </a:lnTo>
                  <a:lnTo>
                    <a:pt x="821" y="544"/>
                  </a:lnTo>
                  <a:lnTo>
                    <a:pt x="812" y="551"/>
                  </a:lnTo>
                  <a:lnTo>
                    <a:pt x="811" y="553"/>
                  </a:lnTo>
                  <a:lnTo>
                    <a:pt x="799" y="556"/>
                  </a:lnTo>
                  <a:lnTo>
                    <a:pt x="794" y="558"/>
                  </a:lnTo>
                  <a:lnTo>
                    <a:pt x="787" y="561"/>
                  </a:lnTo>
                  <a:lnTo>
                    <a:pt x="778" y="565"/>
                  </a:lnTo>
                  <a:lnTo>
                    <a:pt x="766" y="568"/>
                  </a:lnTo>
                  <a:lnTo>
                    <a:pt x="756" y="570"/>
                  </a:lnTo>
                  <a:lnTo>
                    <a:pt x="746" y="575"/>
                  </a:lnTo>
                  <a:lnTo>
                    <a:pt x="738" y="583"/>
                  </a:lnTo>
                  <a:lnTo>
                    <a:pt x="732" y="588"/>
                  </a:lnTo>
                  <a:lnTo>
                    <a:pt x="724" y="597"/>
                  </a:lnTo>
                  <a:lnTo>
                    <a:pt x="719" y="602"/>
                  </a:lnTo>
                  <a:lnTo>
                    <a:pt x="712" y="607"/>
                  </a:lnTo>
                  <a:lnTo>
                    <a:pt x="710" y="610"/>
                  </a:lnTo>
                  <a:lnTo>
                    <a:pt x="704" y="619"/>
                  </a:lnTo>
                  <a:lnTo>
                    <a:pt x="700" y="621"/>
                  </a:lnTo>
                  <a:lnTo>
                    <a:pt x="695" y="627"/>
                  </a:lnTo>
                  <a:lnTo>
                    <a:pt x="690" y="631"/>
                  </a:lnTo>
                  <a:lnTo>
                    <a:pt x="688" y="633"/>
                  </a:lnTo>
                  <a:lnTo>
                    <a:pt x="678" y="641"/>
                  </a:lnTo>
                  <a:lnTo>
                    <a:pt x="676" y="643"/>
                  </a:lnTo>
                  <a:lnTo>
                    <a:pt x="673" y="644"/>
                  </a:lnTo>
                  <a:lnTo>
                    <a:pt x="670" y="650"/>
                  </a:lnTo>
                  <a:lnTo>
                    <a:pt x="663" y="655"/>
                  </a:lnTo>
                  <a:lnTo>
                    <a:pt x="654" y="665"/>
                  </a:lnTo>
                  <a:lnTo>
                    <a:pt x="651" y="667"/>
                  </a:lnTo>
                  <a:lnTo>
                    <a:pt x="646" y="673"/>
                  </a:lnTo>
                  <a:lnTo>
                    <a:pt x="637" y="680"/>
                  </a:lnTo>
                  <a:lnTo>
                    <a:pt x="632" y="685"/>
                  </a:lnTo>
                  <a:lnTo>
                    <a:pt x="631" y="689"/>
                  </a:lnTo>
                  <a:lnTo>
                    <a:pt x="625" y="692"/>
                  </a:lnTo>
                  <a:lnTo>
                    <a:pt x="620" y="701"/>
                  </a:lnTo>
                  <a:lnTo>
                    <a:pt x="617" y="704"/>
                  </a:lnTo>
                  <a:lnTo>
                    <a:pt x="615" y="706"/>
                  </a:lnTo>
                  <a:lnTo>
                    <a:pt x="612" y="711"/>
                  </a:lnTo>
                  <a:lnTo>
                    <a:pt x="603" y="718"/>
                  </a:lnTo>
                  <a:lnTo>
                    <a:pt x="600" y="726"/>
                  </a:lnTo>
                  <a:lnTo>
                    <a:pt x="598" y="728"/>
                  </a:lnTo>
                  <a:lnTo>
                    <a:pt x="590" y="735"/>
                  </a:lnTo>
                  <a:lnTo>
                    <a:pt x="590" y="736"/>
                  </a:lnTo>
                  <a:lnTo>
                    <a:pt x="583" y="747"/>
                  </a:lnTo>
                  <a:lnTo>
                    <a:pt x="574" y="755"/>
                  </a:lnTo>
                  <a:lnTo>
                    <a:pt x="573" y="760"/>
                  </a:lnTo>
                  <a:lnTo>
                    <a:pt x="571" y="762"/>
                  </a:lnTo>
                  <a:lnTo>
                    <a:pt x="564" y="772"/>
                  </a:lnTo>
                  <a:lnTo>
                    <a:pt x="563" y="777"/>
                  </a:lnTo>
                  <a:lnTo>
                    <a:pt x="556" y="787"/>
                  </a:lnTo>
                  <a:lnTo>
                    <a:pt x="554" y="789"/>
                  </a:lnTo>
                  <a:lnTo>
                    <a:pt x="551" y="798"/>
                  </a:lnTo>
                  <a:lnTo>
                    <a:pt x="549" y="809"/>
                  </a:lnTo>
                  <a:lnTo>
                    <a:pt x="552" y="815"/>
                  </a:lnTo>
                  <a:lnTo>
                    <a:pt x="549" y="816"/>
                  </a:lnTo>
                  <a:lnTo>
                    <a:pt x="544" y="813"/>
                  </a:lnTo>
                  <a:lnTo>
                    <a:pt x="537" y="818"/>
                  </a:lnTo>
                  <a:lnTo>
                    <a:pt x="540" y="823"/>
                  </a:lnTo>
                  <a:lnTo>
                    <a:pt x="540" y="816"/>
                  </a:lnTo>
                  <a:lnTo>
                    <a:pt x="549" y="818"/>
                  </a:lnTo>
                  <a:lnTo>
                    <a:pt x="546" y="820"/>
                  </a:lnTo>
                  <a:lnTo>
                    <a:pt x="554" y="813"/>
                  </a:lnTo>
                  <a:lnTo>
                    <a:pt x="554" y="818"/>
                  </a:lnTo>
                  <a:lnTo>
                    <a:pt x="547" y="825"/>
                  </a:lnTo>
                  <a:lnTo>
                    <a:pt x="542" y="828"/>
                  </a:lnTo>
                  <a:lnTo>
                    <a:pt x="540" y="832"/>
                  </a:lnTo>
                  <a:lnTo>
                    <a:pt x="535" y="838"/>
                  </a:lnTo>
                  <a:lnTo>
                    <a:pt x="529" y="845"/>
                  </a:lnTo>
                  <a:lnTo>
                    <a:pt x="525" y="847"/>
                  </a:lnTo>
                  <a:lnTo>
                    <a:pt x="522" y="850"/>
                  </a:lnTo>
                  <a:lnTo>
                    <a:pt x="517" y="854"/>
                  </a:lnTo>
                  <a:lnTo>
                    <a:pt x="512" y="859"/>
                  </a:lnTo>
                  <a:lnTo>
                    <a:pt x="506" y="866"/>
                  </a:lnTo>
                  <a:lnTo>
                    <a:pt x="500" y="874"/>
                  </a:lnTo>
                  <a:lnTo>
                    <a:pt x="496" y="884"/>
                  </a:lnTo>
                  <a:lnTo>
                    <a:pt x="493" y="888"/>
                  </a:lnTo>
                  <a:lnTo>
                    <a:pt x="488" y="895"/>
                  </a:lnTo>
                  <a:lnTo>
                    <a:pt x="483" y="903"/>
                  </a:lnTo>
                  <a:lnTo>
                    <a:pt x="481" y="908"/>
                  </a:lnTo>
                  <a:lnTo>
                    <a:pt x="478" y="917"/>
                  </a:lnTo>
                  <a:lnTo>
                    <a:pt x="471" y="922"/>
                  </a:lnTo>
                  <a:lnTo>
                    <a:pt x="471" y="927"/>
                  </a:lnTo>
                  <a:lnTo>
                    <a:pt x="467" y="930"/>
                  </a:lnTo>
                  <a:lnTo>
                    <a:pt x="464" y="939"/>
                  </a:lnTo>
                  <a:lnTo>
                    <a:pt x="461" y="942"/>
                  </a:lnTo>
                  <a:lnTo>
                    <a:pt x="455" y="949"/>
                  </a:lnTo>
                  <a:lnTo>
                    <a:pt x="452" y="954"/>
                  </a:lnTo>
                  <a:lnTo>
                    <a:pt x="447" y="961"/>
                  </a:lnTo>
                  <a:lnTo>
                    <a:pt x="447" y="964"/>
                  </a:lnTo>
                  <a:lnTo>
                    <a:pt x="442" y="973"/>
                  </a:lnTo>
                  <a:lnTo>
                    <a:pt x="437" y="980"/>
                  </a:lnTo>
                  <a:lnTo>
                    <a:pt x="433" y="986"/>
                  </a:lnTo>
                  <a:lnTo>
                    <a:pt x="428" y="993"/>
                  </a:lnTo>
                  <a:lnTo>
                    <a:pt x="423" y="998"/>
                  </a:lnTo>
                  <a:lnTo>
                    <a:pt x="418" y="1007"/>
                  </a:lnTo>
                  <a:lnTo>
                    <a:pt x="413" y="1012"/>
                  </a:lnTo>
                  <a:lnTo>
                    <a:pt x="411" y="1017"/>
                  </a:lnTo>
                  <a:lnTo>
                    <a:pt x="404" y="1024"/>
                  </a:lnTo>
                  <a:lnTo>
                    <a:pt x="401" y="1029"/>
                  </a:lnTo>
                  <a:lnTo>
                    <a:pt x="394" y="1037"/>
                  </a:lnTo>
                  <a:lnTo>
                    <a:pt x="394" y="1039"/>
                  </a:lnTo>
                  <a:lnTo>
                    <a:pt x="389" y="1044"/>
                  </a:lnTo>
                  <a:lnTo>
                    <a:pt x="384" y="1053"/>
                  </a:lnTo>
                  <a:lnTo>
                    <a:pt x="379" y="1060"/>
                  </a:lnTo>
                  <a:lnTo>
                    <a:pt x="372" y="1070"/>
                  </a:lnTo>
                  <a:lnTo>
                    <a:pt x="370" y="1071"/>
                  </a:lnTo>
                  <a:lnTo>
                    <a:pt x="370" y="1073"/>
                  </a:lnTo>
                  <a:lnTo>
                    <a:pt x="364" y="1078"/>
                  </a:lnTo>
                  <a:lnTo>
                    <a:pt x="357" y="1088"/>
                  </a:lnTo>
                  <a:lnTo>
                    <a:pt x="352" y="1094"/>
                  </a:lnTo>
                  <a:lnTo>
                    <a:pt x="347" y="1099"/>
                  </a:lnTo>
                  <a:lnTo>
                    <a:pt x="343" y="1105"/>
                  </a:lnTo>
                  <a:lnTo>
                    <a:pt x="340" y="1109"/>
                  </a:lnTo>
                  <a:lnTo>
                    <a:pt x="335" y="1116"/>
                  </a:lnTo>
                  <a:lnTo>
                    <a:pt x="331" y="1121"/>
                  </a:lnTo>
                  <a:lnTo>
                    <a:pt x="325" y="1128"/>
                  </a:lnTo>
                  <a:lnTo>
                    <a:pt x="325" y="1131"/>
                  </a:lnTo>
                  <a:lnTo>
                    <a:pt x="314" y="1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0" name="Freeform 9">
              <a:extLst>
                <a:ext uri="{FF2B5EF4-FFF2-40B4-BE49-F238E27FC236}">
                  <a16:creationId xmlns:a16="http://schemas.microsoft.com/office/drawing/2014/main" id="{FAAC3661-7769-4938-85AF-08B0A3C8BF64}"/>
                </a:ext>
              </a:extLst>
            </p:cNvPr>
            <p:cNvSpPr>
              <a:spLocks/>
            </p:cNvSpPr>
            <p:nvPr/>
          </p:nvSpPr>
          <p:spPr bwMode="gray">
            <a:xfrm>
              <a:off x="4891088" y="3944938"/>
              <a:ext cx="3081337" cy="1779588"/>
            </a:xfrm>
            <a:custGeom>
              <a:avLst/>
              <a:gdLst>
                <a:gd name="T0" fmla="*/ 1880 w 1941"/>
                <a:gd name="T1" fmla="*/ 351 h 1121"/>
                <a:gd name="T2" fmla="*/ 1807 w 1941"/>
                <a:gd name="T3" fmla="*/ 407 h 1121"/>
                <a:gd name="T4" fmla="*/ 1722 w 1941"/>
                <a:gd name="T5" fmla="*/ 465 h 1121"/>
                <a:gd name="T6" fmla="*/ 1659 w 1941"/>
                <a:gd name="T7" fmla="*/ 531 h 1121"/>
                <a:gd name="T8" fmla="*/ 1583 w 1941"/>
                <a:gd name="T9" fmla="*/ 611 h 1121"/>
                <a:gd name="T10" fmla="*/ 1503 w 1941"/>
                <a:gd name="T11" fmla="*/ 679 h 1121"/>
                <a:gd name="T12" fmla="*/ 1426 w 1941"/>
                <a:gd name="T13" fmla="*/ 733 h 1121"/>
                <a:gd name="T14" fmla="*/ 1351 w 1941"/>
                <a:gd name="T15" fmla="*/ 790 h 1121"/>
                <a:gd name="T16" fmla="*/ 1297 w 1941"/>
                <a:gd name="T17" fmla="*/ 825 h 1121"/>
                <a:gd name="T18" fmla="*/ 1205 w 1941"/>
                <a:gd name="T19" fmla="*/ 881 h 1121"/>
                <a:gd name="T20" fmla="*/ 1127 w 1941"/>
                <a:gd name="T21" fmla="*/ 932 h 1121"/>
                <a:gd name="T22" fmla="*/ 1011 w 1941"/>
                <a:gd name="T23" fmla="*/ 980 h 1121"/>
                <a:gd name="T24" fmla="*/ 899 w 1941"/>
                <a:gd name="T25" fmla="*/ 997 h 1121"/>
                <a:gd name="T26" fmla="*/ 787 w 1941"/>
                <a:gd name="T27" fmla="*/ 992 h 1121"/>
                <a:gd name="T28" fmla="*/ 731 w 1941"/>
                <a:gd name="T29" fmla="*/ 1043 h 1121"/>
                <a:gd name="T30" fmla="*/ 707 w 1941"/>
                <a:gd name="T31" fmla="*/ 1074 h 1121"/>
                <a:gd name="T32" fmla="*/ 556 w 1941"/>
                <a:gd name="T33" fmla="*/ 1069 h 1121"/>
                <a:gd name="T34" fmla="*/ 503 w 1941"/>
                <a:gd name="T35" fmla="*/ 1115 h 1121"/>
                <a:gd name="T36" fmla="*/ 410 w 1941"/>
                <a:gd name="T37" fmla="*/ 1092 h 1121"/>
                <a:gd name="T38" fmla="*/ 313 w 1941"/>
                <a:gd name="T39" fmla="*/ 1074 h 1121"/>
                <a:gd name="T40" fmla="*/ 226 w 1941"/>
                <a:gd name="T41" fmla="*/ 1041 h 1121"/>
                <a:gd name="T42" fmla="*/ 165 w 1941"/>
                <a:gd name="T43" fmla="*/ 1009 h 1121"/>
                <a:gd name="T44" fmla="*/ 224 w 1941"/>
                <a:gd name="T45" fmla="*/ 955 h 1121"/>
                <a:gd name="T46" fmla="*/ 160 w 1941"/>
                <a:gd name="T47" fmla="*/ 921 h 1121"/>
                <a:gd name="T48" fmla="*/ 0 w 1941"/>
                <a:gd name="T49" fmla="*/ 898 h 1121"/>
                <a:gd name="T50" fmla="*/ 53 w 1941"/>
                <a:gd name="T51" fmla="*/ 803 h 1121"/>
                <a:gd name="T52" fmla="*/ 151 w 1941"/>
                <a:gd name="T53" fmla="*/ 747 h 1121"/>
                <a:gd name="T54" fmla="*/ 139 w 1941"/>
                <a:gd name="T55" fmla="*/ 655 h 1121"/>
                <a:gd name="T56" fmla="*/ 230 w 1941"/>
                <a:gd name="T57" fmla="*/ 623 h 1121"/>
                <a:gd name="T58" fmla="*/ 296 w 1941"/>
                <a:gd name="T59" fmla="*/ 596 h 1121"/>
                <a:gd name="T60" fmla="*/ 364 w 1941"/>
                <a:gd name="T61" fmla="*/ 555 h 1121"/>
                <a:gd name="T62" fmla="*/ 365 w 1941"/>
                <a:gd name="T63" fmla="*/ 507 h 1121"/>
                <a:gd name="T64" fmla="*/ 420 w 1941"/>
                <a:gd name="T65" fmla="*/ 465 h 1121"/>
                <a:gd name="T66" fmla="*/ 476 w 1941"/>
                <a:gd name="T67" fmla="*/ 398 h 1121"/>
                <a:gd name="T68" fmla="*/ 564 w 1941"/>
                <a:gd name="T69" fmla="*/ 364 h 1121"/>
                <a:gd name="T70" fmla="*/ 641 w 1941"/>
                <a:gd name="T71" fmla="*/ 327 h 1121"/>
                <a:gd name="T72" fmla="*/ 709 w 1941"/>
                <a:gd name="T73" fmla="*/ 301 h 1121"/>
                <a:gd name="T74" fmla="*/ 731 w 1941"/>
                <a:gd name="T75" fmla="*/ 225 h 1121"/>
                <a:gd name="T76" fmla="*/ 743 w 1941"/>
                <a:gd name="T77" fmla="*/ 164 h 1121"/>
                <a:gd name="T78" fmla="*/ 823 w 1941"/>
                <a:gd name="T79" fmla="*/ 167 h 1121"/>
                <a:gd name="T80" fmla="*/ 881 w 1941"/>
                <a:gd name="T81" fmla="*/ 138 h 1121"/>
                <a:gd name="T82" fmla="*/ 957 w 1941"/>
                <a:gd name="T83" fmla="*/ 159 h 1121"/>
                <a:gd name="T84" fmla="*/ 1039 w 1941"/>
                <a:gd name="T85" fmla="*/ 177 h 1121"/>
                <a:gd name="T86" fmla="*/ 1119 w 1941"/>
                <a:gd name="T87" fmla="*/ 159 h 1121"/>
                <a:gd name="T88" fmla="*/ 1180 w 1941"/>
                <a:gd name="T89" fmla="*/ 130 h 1121"/>
                <a:gd name="T90" fmla="*/ 1222 w 1941"/>
                <a:gd name="T91" fmla="*/ 107 h 1121"/>
                <a:gd name="T92" fmla="*/ 1263 w 1941"/>
                <a:gd name="T93" fmla="*/ 102 h 1121"/>
                <a:gd name="T94" fmla="*/ 1326 w 1941"/>
                <a:gd name="T95" fmla="*/ 164 h 1121"/>
                <a:gd name="T96" fmla="*/ 1411 w 1941"/>
                <a:gd name="T97" fmla="*/ 162 h 1121"/>
                <a:gd name="T98" fmla="*/ 1450 w 1941"/>
                <a:gd name="T99" fmla="*/ 90 h 1121"/>
                <a:gd name="T100" fmla="*/ 1498 w 1941"/>
                <a:gd name="T101" fmla="*/ 39 h 1121"/>
                <a:gd name="T102" fmla="*/ 1591 w 1941"/>
                <a:gd name="T103" fmla="*/ 29 h 1121"/>
                <a:gd name="T104" fmla="*/ 1674 w 1941"/>
                <a:gd name="T105" fmla="*/ 28 h 1121"/>
                <a:gd name="T106" fmla="*/ 1702 w 1941"/>
                <a:gd name="T107" fmla="*/ 79 h 1121"/>
                <a:gd name="T108" fmla="*/ 1693 w 1941"/>
                <a:gd name="T109" fmla="*/ 123 h 1121"/>
                <a:gd name="T110" fmla="*/ 1693 w 1941"/>
                <a:gd name="T111" fmla="*/ 164 h 1121"/>
                <a:gd name="T112" fmla="*/ 1793 w 1941"/>
                <a:gd name="T113" fmla="*/ 182 h 1121"/>
                <a:gd name="T114" fmla="*/ 1851 w 1941"/>
                <a:gd name="T115" fmla="*/ 191 h 1121"/>
                <a:gd name="T116" fmla="*/ 1887 w 1941"/>
                <a:gd name="T117" fmla="*/ 221 h 1121"/>
                <a:gd name="T118" fmla="*/ 1935 w 1941"/>
                <a:gd name="T119" fmla="*/ 259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1" h="1121">
                  <a:moveTo>
                    <a:pt x="1941" y="288"/>
                  </a:moveTo>
                  <a:lnTo>
                    <a:pt x="1936" y="296"/>
                  </a:lnTo>
                  <a:lnTo>
                    <a:pt x="1933" y="300"/>
                  </a:lnTo>
                  <a:lnTo>
                    <a:pt x="1931" y="303"/>
                  </a:lnTo>
                  <a:lnTo>
                    <a:pt x="1926" y="306"/>
                  </a:lnTo>
                  <a:lnTo>
                    <a:pt x="1923" y="312"/>
                  </a:lnTo>
                  <a:lnTo>
                    <a:pt x="1916" y="317"/>
                  </a:lnTo>
                  <a:lnTo>
                    <a:pt x="1909" y="324"/>
                  </a:lnTo>
                  <a:lnTo>
                    <a:pt x="1907" y="329"/>
                  </a:lnTo>
                  <a:lnTo>
                    <a:pt x="1902" y="332"/>
                  </a:lnTo>
                  <a:lnTo>
                    <a:pt x="1901" y="337"/>
                  </a:lnTo>
                  <a:lnTo>
                    <a:pt x="1892" y="342"/>
                  </a:lnTo>
                  <a:lnTo>
                    <a:pt x="1889" y="347"/>
                  </a:lnTo>
                  <a:lnTo>
                    <a:pt x="1880" y="351"/>
                  </a:lnTo>
                  <a:lnTo>
                    <a:pt x="1878" y="356"/>
                  </a:lnTo>
                  <a:lnTo>
                    <a:pt x="1870" y="363"/>
                  </a:lnTo>
                  <a:lnTo>
                    <a:pt x="1867" y="364"/>
                  </a:lnTo>
                  <a:lnTo>
                    <a:pt x="1865" y="366"/>
                  </a:lnTo>
                  <a:lnTo>
                    <a:pt x="1865" y="368"/>
                  </a:lnTo>
                  <a:lnTo>
                    <a:pt x="1856" y="371"/>
                  </a:lnTo>
                  <a:lnTo>
                    <a:pt x="1851" y="378"/>
                  </a:lnTo>
                  <a:lnTo>
                    <a:pt x="1844" y="381"/>
                  </a:lnTo>
                  <a:lnTo>
                    <a:pt x="1833" y="383"/>
                  </a:lnTo>
                  <a:lnTo>
                    <a:pt x="1826" y="385"/>
                  </a:lnTo>
                  <a:lnTo>
                    <a:pt x="1816" y="393"/>
                  </a:lnTo>
                  <a:lnTo>
                    <a:pt x="1816" y="395"/>
                  </a:lnTo>
                  <a:lnTo>
                    <a:pt x="1807" y="405"/>
                  </a:lnTo>
                  <a:lnTo>
                    <a:pt x="1807" y="407"/>
                  </a:lnTo>
                  <a:lnTo>
                    <a:pt x="1799" y="414"/>
                  </a:lnTo>
                  <a:lnTo>
                    <a:pt x="1793" y="415"/>
                  </a:lnTo>
                  <a:lnTo>
                    <a:pt x="1790" y="420"/>
                  </a:lnTo>
                  <a:lnTo>
                    <a:pt x="1782" y="426"/>
                  </a:lnTo>
                  <a:lnTo>
                    <a:pt x="1778" y="427"/>
                  </a:lnTo>
                  <a:lnTo>
                    <a:pt x="1770" y="432"/>
                  </a:lnTo>
                  <a:lnTo>
                    <a:pt x="1768" y="436"/>
                  </a:lnTo>
                  <a:lnTo>
                    <a:pt x="1758" y="441"/>
                  </a:lnTo>
                  <a:lnTo>
                    <a:pt x="1754" y="444"/>
                  </a:lnTo>
                  <a:lnTo>
                    <a:pt x="1746" y="446"/>
                  </a:lnTo>
                  <a:lnTo>
                    <a:pt x="1736" y="449"/>
                  </a:lnTo>
                  <a:lnTo>
                    <a:pt x="1731" y="456"/>
                  </a:lnTo>
                  <a:lnTo>
                    <a:pt x="1731" y="461"/>
                  </a:lnTo>
                  <a:lnTo>
                    <a:pt x="1722" y="465"/>
                  </a:lnTo>
                  <a:lnTo>
                    <a:pt x="1719" y="468"/>
                  </a:lnTo>
                  <a:lnTo>
                    <a:pt x="1717" y="480"/>
                  </a:lnTo>
                  <a:lnTo>
                    <a:pt x="1708" y="482"/>
                  </a:lnTo>
                  <a:lnTo>
                    <a:pt x="1703" y="485"/>
                  </a:lnTo>
                  <a:lnTo>
                    <a:pt x="1697" y="494"/>
                  </a:lnTo>
                  <a:lnTo>
                    <a:pt x="1693" y="495"/>
                  </a:lnTo>
                  <a:lnTo>
                    <a:pt x="1693" y="500"/>
                  </a:lnTo>
                  <a:lnTo>
                    <a:pt x="1688" y="502"/>
                  </a:lnTo>
                  <a:lnTo>
                    <a:pt x="1683" y="512"/>
                  </a:lnTo>
                  <a:lnTo>
                    <a:pt x="1680" y="514"/>
                  </a:lnTo>
                  <a:lnTo>
                    <a:pt x="1680" y="517"/>
                  </a:lnTo>
                  <a:lnTo>
                    <a:pt x="1671" y="519"/>
                  </a:lnTo>
                  <a:lnTo>
                    <a:pt x="1663" y="528"/>
                  </a:lnTo>
                  <a:lnTo>
                    <a:pt x="1659" y="531"/>
                  </a:lnTo>
                  <a:lnTo>
                    <a:pt x="1657" y="536"/>
                  </a:lnTo>
                  <a:lnTo>
                    <a:pt x="1649" y="546"/>
                  </a:lnTo>
                  <a:lnTo>
                    <a:pt x="1646" y="548"/>
                  </a:lnTo>
                  <a:lnTo>
                    <a:pt x="1646" y="553"/>
                  </a:lnTo>
                  <a:lnTo>
                    <a:pt x="1639" y="558"/>
                  </a:lnTo>
                  <a:lnTo>
                    <a:pt x="1627" y="563"/>
                  </a:lnTo>
                  <a:lnTo>
                    <a:pt x="1623" y="572"/>
                  </a:lnTo>
                  <a:lnTo>
                    <a:pt x="1615" y="580"/>
                  </a:lnTo>
                  <a:lnTo>
                    <a:pt x="1612" y="582"/>
                  </a:lnTo>
                  <a:lnTo>
                    <a:pt x="1608" y="587"/>
                  </a:lnTo>
                  <a:lnTo>
                    <a:pt x="1601" y="596"/>
                  </a:lnTo>
                  <a:lnTo>
                    <a:pt x="1595" y="597"/>
                  </a:lnTo>
                  <a:lnTo>
                    <a:pt x="1591" y="606"/>
                  </a:lnTo>
                  <a:lnTo>
                    <a:pt x="1583" y="611"/>
                  </a:lnTo>
                  <a:lnTo>
                    <a:pt x="1576" y="613"/>
                  </a:lnTo>
                  <a:lnTo>
                    <a:pt x="1572" y="619"/>
                  </a:lnTo>
                  <a:lnTo>
                    <a:pt x="1564" y="623"/>
                  </a:lnTo>
                  <a:lnTo>
                    <a:pt x="1555" y="631"/>
                  </a:lnTo>
                  <a:lnTo>
                    <a:pt x="1554" y="637"/>
                  </a:lnTo>
                  <a:lnTo>
                    <a:pt x="1549" y="638"/>
                  </a:lnTo>
                  <a:lnTo>
                    <a:pt x="1542" y="645"/>
                  </a:lnTo>
                  <a:lnTo>
                    <a:pt x="1538" y="647"/>
                  </a:lnTo>
                  <a:lnTo>
                    <a:pt x="1530" y="654"/>
                  </a:lnTo>
                  <a:lnTo>
                    <a:pt x="1528" y="660"/>
                  </a:lnTo>
                  <a:lnTo>
                    <a:pt x="1516" y="665"/>
                  </a:lnTo>
                  <a:lnTo>
                    <a:pt x="1515" y="669"/>
                  </a:lnTo>
                  <a:lnTo>
                    <a:pt x="1510" y="671"/>
                  </a:lnTo>
                  <a:lnTo>
                    <a:pt x="1503" y="679"/>
                  </a:lnTo>
                  <a:lnTo>
                    <a:pt x="1501" y="684"/>
                  </a:lnTo>
                  <a:lnTo>
                    <a:pt x="1494" y="686"/>
                  </a:lnTo>
                  <a:lnTo>
                    <a:pt x="1491" y="693"/>
                  </a:lnTo>
                  <a:lnTo>
                    <a:pt x="1484" y="694"/>
                  </a:lnTo>
                  <a:lnTo>
                    <a:pt x="1481" y="696"/>
                  </a:lnTo>
                  <a:lnTo>
                    <a:pt x="1470" y="699"/>
                  </a:lnTo>
                  <a:lnTo>
                    <a:pt x="1465" y="706"/>
                  </a:lnTo>
                  <a:lnTo>
                    <a:pt x="1460" y="710"/>
                  </a:lnTo>
                  <a:lnTo>
                    <a:pt x="1455" y="715"/>
                  </a:lnTo>
                  <a:lnTo>
                    <a:pt x="1453" y="720"/>
                  </a:lnTo>
                  <a:lnTo>
                    <a:pt x="1447" y="720"/>
                  </a:lnTo>
                  <a:lnTo>
                    <a:pt x="1436" y="725"/>
                  </a:lnTo>
                  <a:lnTo>
                    <a:pt x="1431" y="728"/>
                  </a:lnTo>
                  <a:lnTo>
                    <a:pt x="1426" y="733"/>
                  </a:lnTo>
                  <a:lnTo>
                    <a:pt x="1416" y="739"/>
                  </a:lnTo>
                  <a:lnTo>
                    <a:pt x="1404" y="740"/>
                  </a:lnTo>
                  <a:lnTo>
                    <a:pt x="1401" y="742"/>
                  </a:lnTo>
                  <a:lnTo>
                    <a:pt x="1392" y="747"/>
                  </a:lnTo>
                  <a:lnTo>
                    <a:pt x="1387" y="752"/>
                  </a:lnTo>
                  <a:lnTo>
                    <a:pt x="1387" y="759"/>
                  </a:lnTo>
                  <a:lnTo>
                    <a:pt x="1384" y="761"/>
                  </a:lnTo>
                  <a:lnTo>
                    <a:pt x="1380" y="769"/>
                  </a:lnTo>
                  <a:lnTo>
                    <a:pt x="1375" y="773"/>
                  </a:lnTo>
                  <a:lnTo>
                    <a:pt x="1377" y="774"/>
                  </a:lnTo>
                  <a:lnTo>
                    <a:pt x="1370" y="776"/>
                  </a:lnTo>
                  <a:lnTo>
                    <a:pt x="1363" y="783"/>
                  </a:lnTo>
                  <a:lnTo>
                    <a:pt x="1357" y="786"/>
                  </a:lnTo>
                  <a:lnTo>
                    <a:pt x="1351" y="790"/>
                  </a:lnTo>
                  <a:lnTo>
                    <a:pt x="1345" y="793"/>
                  </a:lnTo>
                  <a:lnTo>
                    <a:pt x="1341" y="798"/>
                  </a:lnTo>
                  <a:lnTo>
                    <a:pt x="1334" y="802"/>
                  </a:lnTo>
                  <a:lnTo>
                    <a:pt x="1333" y="805"/>
                  </a:lnTo>
                  <a:lnTo>
                    <a:pt x="1328" y="803"/>
                  </a:lnTo>
                  <a:lnTo>
                    <a:pt x="1331" y="807"/>
                  </a:lnTo>
                  <a:lnTo>
                    <a:pt x="1334" y="805"/>
                  </a:lnTo>
                  <a:lnTo>
                    <a:pt x="1329" y="810"/>
                  </a:lnTo>
                  <a:lnTo>
                    <a:pt x="1324" y="810"/>
                  </a:lnTo>
                  <a:lnTo>
                    <a:pt x="1314" y="817"/>
                  </a:lnTo>
                  <a:lnTo>
                    <a:pt x="1311" y="819"/>
                  </a:lnTo>
                  <a:lnTo>
                    <a:pt x="1309" y="820"/>
                  </a:lnTo>
                  <a:lnTo>
                    <a:pt x="1304" y="822"/>
                  </a:lnTo>
                  <a:lnTo>
                    <a:pt x="1297" y="825"/>
                  </a:lnTo>
                  <a:lnTo>
                    <a:pt x="1292" y="825"/>
                  </a:lnTo>
                  <a:lnTo>
                    <a:pt x="1283" y="830"/>
                  </a:lnTo>
                  <a:lnTo>
                    <a:pt x="1275" y="839"/>
                  </a:lnTo>
                  <a:lnTo>
                    <a:pt x="1266" y="844"/>
                  </a:lnTo>
                  <a:lnTo>
                    <a:pt x="1258" y="851"/>
                  </a:lnTo>
                  <a:lnTo>
                    <a:pt x="1253" y="853"/>
                  </a:lnTo>
                  <a:lnTo>
                    <a:pt x="1249" y="858"/>
                  </a:lnTo>
                  <a:lnTo>
                    <a:pt x="1244" y="858"/>
                  </a:lnTo>
                  <a:lnTo>
                    <a:pt x="1243" y="861"/>
                  </a:lnTo>
                  <a:lnTo>
                    <a:pt x="1231" y="866"/>
                  </a:lnTo>
                  <a:lnTo>
                    <a:pt x="1227" y="870"/>
                  </a:lnTo>
                  <a:lnTo>
                    <a:pt x="1219" y="875"/>
                  </a:lnTo>
                  <a:lnTo>
                    <a:pt x="1217" y="878"/>
                  </a:lnTo>
                  <a:lnTo>
                    <a:pt x="1205" y="881"/>
                  </a:lnTo>
                  <a:lnTo>
                    <a:pt x="1200" y="888"/>
                  </a:lnTo>
                  <a:lnTo>
                    <a:pt x="1190" y="893"/>
                  </a:lnTo>
                  <a:lnTo>
                    <a:pt x="1185" y="895"/>
                  </a:lnTo>
                  <a:lnTo>
                    <a:pt x="1180" y="898"/>
                  </a:lnTo>
                  <a:lnTo>
                    <a:pt x="1176" y="900"/>
                  </a:lnTo>
                  <a:lnTo>
                    <a:pt x="1175" y="902"/>
                  </a:lnTo>
                  <a:lnTo>
                    <a:pt x="1170" y="904"/>
                  </a:lnTo>
                  <a:lnTo>
                    <a:pt x="1161" y="910"/>
                  </a:lnTo>
                  <a:lnTo>
                    <a:pt x="1154" y="914"/>
                  </a:lnTo>
                  <a:lnTo>
                    <a:pt x="1147" y="921"/>
                  </a:lnTo>
                  <a:lnTo>
                    <a:pt x="1141" y="922"/>
                  </a:lnTo>
                  <a:lnTo>
                    <a:pt x="1132" y="926"/>
                  </a:lnTo>
                  <a:lnTo>
                    <a:pt x="1129" y="927"/>
                  </a:lnTo>
                  <a:lnTo>
                    <a:pt x="1127" y="932"/>
                  </a:lnTo>
                  <a:lnTo>
                    <a:pt x="1120" y="938"/>
                  </a:lnTo>
                  <a:lnTo>
                    <a:pt x="1115" y="938"/>
                  </a:lnTo>
                  <a:lnTo>
                    <a:pt x="1107" y="941"/>
                  </a:lnTo>
                  <a:lnTo>
                    <a:pt x="1102" y="946"/>
                  </a:lnTo>
                  <a:lnTo>
                    <a:pt x="1093" y="950"/>
                  </a:lnTo>
                  <a:lnTo>
                    <a:pt x="1083" y="951"/>
                  </a:lnTo>
                  <a:lnTo>
                    <a:pt x="1074" y="953"/>
                  </a:lnTo>
                  <a:lnTo>
                    <a:pt x="1066" y="958"/>
                  </a:lnTo>
                  <a:lnTo>
                    <a:pt x="1056" y="965"/>
                  </a:lnTo>
                  <a:lnTo>
                    <a:pt x="1045" y="967"/>
                  </a:lnTo>
                  <a:lnTo>
                    <a:pt x="1034" y="970"/>
                  </a:lnTo>
                  <a:lnTo>
                    <a:pt x="1023" y="972"/>
                  </a:lnTo>
                  <a:lnTo>
                    <a:pt x="1015" y="977"/>
                  </a:lnTo>
                  <a:lnTo>
                    <a:pt x="1011" y="980"/>
                  </a:lnTo>
                  <a:lnTo>
                    <a:pt x="1000" y="984"/>
                  </a:lnTo>
                  <a:lnTo>
                    <a:pt x="993" y="989"/>
                  </a:lnTo>
                  <a:lnTo>
                    <a:pt x="984" y="990"/>
                  </a:lnTo>
                  <a:lnTo>
                    <a:pt x="976" y="997"/>
                  </a:lnTo>
                  <a:lnTo>
                    <a:pt x="967" y="999"/>
                  </a:lnTo>
                  <a:lnTo>
                    <a:pt x="960" y="1002"/>
                  </a:lnTo>
                  <a:lnTo>
                    <a:pt x="957" y="1002"/>
                  </a:lnTo>
                  <a:lnTo>
                    <a:pt x="952" y="1004"/>
                  </a:lnTo>
                  <a:lnTo>
                    <a:pt x="942" y="1001"/>
                  </a:lnTo>
                  <a:lnTo>
                    <a:pt x="930" y="1001"/>
                  </a:lnTo>
                  <a:lnTo>
                    <a:pt x="923" y="1001"/>
                  </a:lnTo>
                  <a:lnTo>
                    <a:pt x="916" y="1002"/>
                  </a:lnTo>
                  <a:lnTo>
                    <a:pt x="906" y="1001"/>
                  </a:lnTo>
                  <a:lnTo>
                    <a:pt x="899" y="997"/>
                  </a:lnTo>
                  <a:lnTo>
                    <a:pt x="889" y="994"/>
                  </a:lnTo>
                  <a:lnTo>
                    <a:pt x="881" y="992"/>
                  </a:lnTo>
                  <a:lnTo>
                    <a:pt x="872" y="989"/>
                  </a:lnTo>
                  <a:lnTo>
                    <a:pt x="867" y="989"/>
                  </a:lnTo>
                  <a:lnTo>
                    <a:pt x="858" y="987"/>
                  </a:lnTo>
                  <a:lnTo>
                    <a:pt x="853" y="985"/>
                  </a:lnTo>
                  <a:lnTo>
                    <a:pt x="843" y="985"/>
                  </a:lnTo>
                  <a:lnTo>
                    <a:pt x="838" y="985"/>
                  </a:lnTo>
                  <a:lnTo>
                    <a:pt x="830" y="985"/>
                  </a:lnTo>
                  <a:lnTo>
                    <a:pt x="823" y="987"/>
                  </a:lnTo>
                  <a:lnTo>
                    <a:pt x="811" y="987"/>
                  </a:lnTo>
                  <a:lnTo>
                    <a:pt x="806" y="989"/>
                  </a:lnTo>
                  <a:lnTo>
                    <a:pt x="792" y="990"/>
                  </a:lnTo>
                  <a:lnTo>
                    <a:pt x="787" y="992"/>
                  </a:lnTo>
                  <a:lnTo>
                    <a:pt x="779" y="995"/>
                  </a:lnTo>
                  <a:lnTo>
                    <a:pt x="770" y="1002"/>
                  </a:lnTo>
                  <a:lnTo>
                    <a:pt x="765" y="1002"/>
                  </a:lnTo>
                  <a:lnTo>
                    <a:pt x="756" y="1009"/>
                  </a:lnTo>
                  <a:lnTo>
                    <a:pt x="753" y="1016"/>
                  </a:lnTo>
                  <a:lnTo>
                    <a:pt x="755" y="1011"/>
                  </a:lnTo>
                  <a:lnTo>
                    <a:pt x="751" y="1011"/>
                  </a:lnTo>
                  <a:lnTo>
                    <a:pt x="753" y="1012"/>
                  </a:lnTo>
                  <a:lnTo>
                    <a:pt x="748" y="1016"/>
                  </a:lnTo>
                  <a:lnTo>
                    <a:pt x="743" y="1021"/>
                  </a:lnTo>
                  <a:lnTo>
                    <a:pt x="738" y="1028"/>
                  </a:lnTo>
                  <a:lnTo>
                    <a:pt x="738" y="1029"/>
                  </a:lnTo>
                  <a:lnTo>
                    <a:pt x="734" y="1036"/>
                  </a:lnTo>
                  <a:lnTo>
                    <a:pt x="731" y="1043"/>
                  </a:lnTo>
                  <a:lnTo>
                    <a:pt x="731" y="1050"/>
                  </a:lnTo>
                  <a:lnTo>
                    <a:pt x="738" y="1052"/>
                  </a:lnTo>
                  <a:lnTo>
                    <a:pt x="738" y="1055"/>
                  </a:lnTo>
                  <a:lnTo>
                    <a:pt x="739" y="1052"/>
                  </a:lnTo>
                  <a:lnTo>
                    <a:pt x="741" y="1058"/>
                  </a:lnTo>
                  <a:lnTo>
                    <a:pt x="746" y="1060"/>
                  </a:lnTo>
                  <a:lnTo>
                    <a:pt x="750" y="1063"/>
                  </a:lnTo>
                  <a:lnTo>
                    <a:pt x="753" y="1072"/>
                  </a:lnTo>
                  <a:lnTo>
                    <a:pt x="743" y="1072"/>
                  </a:lnTo>
                  <a:lnTo>
                    <a:pt x="734" y="1077"/>
                  </a:lnTo>
                  <a:lnTo>
                    <a:pt x="722" y="1077"/>
                  </a:lnTo>
                  <a:lnTo>
                    <a:pt x="719" y="1077"/>
                  </a:lnTo>
                  <a:lnTo>
                    <a:pt x="711" y="1075"/>
                  </a:lnTo>
                  <a:lnTo>
                    <a:pt x="707" y="1074"/>
                  </a:lnTo>
                  <a:lnTo>
                    <a:pt x="694" y="1072"/>
                  </a:lnTo>
                  <a:lnTo>
                    <a:pt x="687" y="1074"/>
                  </a:lnTo>
                  <a:lnTo>
                    <a:pt x="677" y="1074"/>
                  </a:lnTo>
                  <a:lnTo>
                    <a:pt x="663" y="1069"/>
                  </a:lnTo>
                  <a:lnTo>
                    <a:pt x="653" y="1062"/>
                  </a:lnTo>
                  <a:lnTo>
                    <a:pt x="639" y="1058"/>
                  </a:lnTo>
                  <a:lnTo>
                    <a:pt x="626" y="1055"/>
                  </a:lnTo>
                  <a:lnTo>
                    <a:pt x="614" y="1055"/>
                  </a:lnTo>
                  <a:lnTo>
                    <a:pt x="602" y="1055"/>
                  </a:lnTo>
                  <a:lnTo>
                    <a:pt x="593" y="1055"/>
                  </a:lnTo>
                  <a:lnTo>
                    <a:pt x="581" y="1057"/>
                  </a:lnTo>
                  <a:lnTo>
                    <a:pt x="569" y="1058"/>
                  </a:lnTo>
                  <a:lnTo>
                    <a:pt x="566" y="1062"/>
                  </a:lnTo>
                  <a:lnTo>
                    <a:pt x="556" y="1069"/>
                  </a:lnTo>
                  <a:lnTo>
                    <a:pt x="556" y="1074"/>
                  </a:lnTo>
                  <a:lnTo>
                    <a:pt x="554" y="1079"/>
                  </a:lnTo>
                  <a:lnTo>
                    <a:pt x="552" y="1086"/>
                  </a:lnTo>
                  <a:lnTo>
                    <a:pt x="549" y="1087"/>
                  </a:lnTo>
                  <a:lnTo>
                    <a:pt x="544" y="1094"/>
                  </a:lnTo>
                  <a:lnTo>
                    <a:pt x="537" y="1097"/>
                  </a:lnTo>
                  <a:lnTo>
                    <a:pt x="532" y="1103"/>
                  </a:lnTo>
                  <a:lnTo>
                    <a:pt x="529" y="1109"/>
                  </a:lnTo>
                  <a:lnTo>
                    <a:pt x="539" y="1116"/>
                  </a:lnTo>
                  <a:lnTo>
                    <a:pt x="530" y="1116"/>
                  </a:lnTo>
                  <a:lnTo>
                    <a:pt x="530" y="1121"/>
                  </a:lnTo>
                  <a:lnTo>
                    <a:pt x="518" y="1116"/>
                  </a:lnTo>
                  <a:lnTo>
                    <a:pt x="512" y="1116"/>
                  </a:lnTo>
                  <a:lnTo>
                    <a:pt x="503" y="1115"/>
                  </a:lnTo>
                  <a:lnTo>
                    <a:pt x="498" y="1116"/>
                  </a:lnTo>
                  <a:lnTo>
                    <a:pt x="493" y="1115"/>
                  </a:lnTo>
                  <a:lnTo>
                    <a:pt x="481" y="1109"/>
                  </a:lnTo>
                  <a:lnTo>
                    <a:pt x="474" y="1111"/>
                  </a:lnTo>
                  <a:lnTo>
                    <a:pt x="471" y="1115"/>
                  </a:lnTo>
                  <a:lnTo>
                    <a:pt x="459" y="1111"/>
                  </a:lnTo>
                  <a:lnTo>
                    <a:pt x="447" y="1109"/>
                  </a:lnTo>
                  <a:lnTo>
                    <a:pt x="442" y="1109"/>
                  </a:lnTo>
                  <a:lnTo>
                    <a:pt x="437" y="1108"/>
                  </a:lnTo>
                  <a:lnTo>
                    <a:pt x="430" y="1103"/>
                  </a:lnTo>
                  <a:lnTo>
                    <a:pt x="425" y="1097"/>
                  </a:lnTo>
                  <a:lnTo>
                    <a:pt x="420" y="1096"/>
                  </a:lnTo>
                  <a:lnTo>
                    <a:pt x="415" y="1092"/>
                  </a:lnTo>
                  <a:lnTo>
                    <a:pt x="410" y="1092"/>
                  </a:lnTo>
                  <a:lnTo>
                    <a:pt x="396" y="1091"/>
                  </a:lnTo>
                  <a:lnTo>
                    <a:pt x="391" y="1089"/>
                  </a:lnTo>
                  <a:lnTo>
                    <a:pt x="381" y="1086"/>
                  </a:lnTo>
                  <a:lnTo>
                    <a:pt x="374" y="1084"/>
                  </a:lnTo>
                  <a:lnTo>
                    <a:pt x="372" y="1084"/>
                  </a:lnTo>
                  <a:lnTo>
                    <a:pt x="364" y="1079"/>
                  </a:lnTo>
                  <a:lnTo>
                    <a:pt x="350" y="1077"/>
                  </a:lnTo>
                  <a:lnTo>
                    <a:pt x="348" y="1079"/>
                  </a:lnTo>
                  <a:lnTo>
                    <a:pt x="338" y="1075"/>
                  </a:lnTo>
                  <a:lnTo>
                    <a:pt x="335" y="1077"/>
                  </a:lnTo>
                  <a:lnTo>
                    <a:pt x="328" y="1075"/>
                  </a:lnTo>
                  <a:lnTo>
                    <a:pt x="321" y="1074"/>
                  </a:lnTo>
                  <a:lnTo>
                    <a:pt x="314" y="1074"/>
                  </a:lnTo>
                  <a:lnTo>
                    <a:pt x="313" y="1074"/>
                  </a:lnTo>
                  <a:lnTo>
                    <a:pt x="311" y="1074"/>
                  </a:lnTo>
                  <a:lnTo>
                    <a:pt x="304" y="1072"/>
                  </a:lnTo>
                  <a:lnTo>
                    <a:pt x="294" y="1070"/>
                  </a:lnTo>
                  <a:lnTo>
                    <a:pt x="292" y="1070"/>
                  </a:lnTo>
                  <a:lnTo>
                    <a:pt x="291" y="1070"/>
                  </a:lnTo>
                  <a:lnTo>
                    <a:pt x="279" y="1069"/>
                  </a:lnTo>
                  <a:lnTo>
                    <a:pt x="272" y="1067"/>
                  </a:lnTo>
                  <a:lnTo>
                    <a:pt x="260" y="1067"/>
                  </a:lnTo>
                  <a:lnTo>
                    <a:pt x="250" y="1062"/>
                  </a:lnTo>
                  <a:lnTo>
                    <a:pt x="250" y="1063"/>
                  </a:lnTo>
                  <a:lnTo>
                    <a:pt x="238" y="1060"/>
                  </a:lnTo>
                  <a:lnTo>
                    <a:pt x="228" y="1058"/>
                  </a:lnTo>
                  <a:lnTo>
                    <a:pt x="224" y="1052"/>
                  </a:lnTo>
                  <a:lnTo>
                    <a:pt x="226" y="1041"/>
                  </a:lnTo>
                  <a:lnTo>
                    <a:pt x="231" y="1040"/>
                  </a:lnTo>
                  <a:lnTo>
                    <a:pt x="228" y="1036"/>
                  </a:lnTo>
                  <a:lnTo>
                    <a:pt x="238" y="1033"/>
                  </a:lnTo>
                  <a:lnTo>
                    <a:pt x="243" y="1028"/>
                  </a:lnTo>
                  <a:lnTo>
                    <a:pt x="221" y="1023"/>
                  </a:lnTo>
                  <a:lnTo>
                    <a:pt x="219" y="1019"/>
                  </a:lnTo>
                  <a:lnTo>
                    <a:pt x="207" y="1019"/>
                  </a:lnTo>
                  <a:lnTo>
                    <a:pt x="206" y="1009"/>
                  </a:lnTo>
                  <a:lnTo>
                    <a:pt x="197" y="1006"/>
                  </a:lnTo>
                  <a:lnTo>
                    <a:pt x="189" y="1009"/>
                  </a:lnTo>
                  <a:lnTo>
                    <a:pt x="189" y="1012"/>
                  </a:lnTo>
                  <a:lnTo>
                    <a:pt x="184" y="1012"/>
                  </a:lnTo>
                  <a:lnTo>
                    <a:pt x="170" y="1009"/>
                  </a:lnTo>
                  <a:lnTo>
                    <a:pt x="165" y="1009"/>
                  </a:lnTo>
                  <a:lnTo>
                    <a:pt x="173" y="1001"/>
                  </a:lnTo>
                  <a:lnTo>
                    <a:pt x="175" y="999"/>
                  </a:lnTo>
                  <a:lnTo>
                    <a:pt x="177" y="989"/>
                  </a:lnTo>
                  <a:lnTo>
                    <a:pt x="185" y="989"/>
                  </a:lnTo>
                  <a:lnTo>
                    <a:pt x="199" y="985"/>
                  </a:lnTo>
                  <a:lnTo>
                    <a:pt x="202" y="984"/>
                  </a:lnTo>
                  <a:lnTo>
                    <a:pt x="207" y="977"/>
                  </a:lnTo>
                  <a:lnTo>
                    <a:pt x="207" y="972"/>
                  </a:lnTo>
                  <a:lnTo>
                    <a:pt x="214" y="977"/>
                  </a:lnTo>
                  <a:lnTo>
                    <a:pt x="226" y="977"/>
                  </a:lnTo>
                  <a:lnTo>
                    <a:pt x="236" y="977"/>
                  </a:lnTo>
                  <a:lnTo>
                    <a:pt x="236" y="972"/>
                  </a:lnTo>
                  <a:lnTo>
                    <a:pt x="238" y="965"/>
                  </a:lnTo>
                  <a:lnTo>
                    <a:pt x="224" y="955"/>
                  </a:lnTo>
                  <a:lnTo>
                    <a:pt x="224" y="950"/>
                  </a:lnTo>
                  <a:lnTo>
                    <a:pt x="218" y="950"/>
                  </a:lnTo>
                  <a:lnTo>
                    <a:pt x="219" y="938"/>
                  </a:lnTo>
                  <a:lnTo>
                    <a:pt x="221" y="932"/>
                  </a:lnTo>
                  <a:lnTo>
                    <a:pt x="221" y="931"/>
                  </a:lnTo>
                  <a:lnTo>
                    <a:pt x="214" y="927"/>
                  </a:lnTo>
                  <a:lnTo>
                    <a:pt x="206" y="924"/>
                  </a:lnTo>
                  <a:lnTo>
                    <a:pt x="199" y="921"/>
                  </a:lnTo>
                  <a:lnTo>
                    <a:pt x="194" y="915"/>
                  </a:lnTo>
                  <a:lnTo>
                    <a:pt x="187" y="917"/>
                  </a:lnTo>
                  <a:lnTo>
                    <a:pt x="175" y="915"/>
                  </a:lnTo>
                  <a:lnTo>
                    <a:pt x="168" y="917"/>
                  </a:lnTo>
                  <a:lnTo>
                    <a:pt x="158" y="915"/>
                  </a:lnTo>
                  <a:lnTo>
                    <a:pt x="160" y="921"/>
                  </a:lnTo>
                  <a:lnTo>
                    <a:pt x="150" y="907"/>
                  </a:lnTo>
                  <a:lnTo>
                    <a:pt x="148" y="905"/>
                  </a:lnTo>
                  <a:lnTo>
                    <a:pt x="143" y="902"/>
                  </a:lnTo>
                  <a:lnTo>
                    <a:pt x="117" y="900"/>
                  </a:lnTo>
                  <a:lnTo>
                    <a:pt x="102" y="902"/>
                  </a:lnTo>
                  <a:lnTo>
                    <a:pt x="95" y="905"/>
                  </a:lnTo>
                  <a:lnTo>
                    <a:pt x="83" y="905"/>
                  </a:lnTo>
                  <a:lnTo>
                    <a:pt x="71" y="907"/>
                  </a:lnTo>
                  <a:lnTo>
                    <a:pt x="60" y="910"/>
                  </a:lnTo>
                  <a:lnTo>
                    <a:pt x="49" y="912"/>
                  </a:lnTo>
                  <a:lnTo>
                    <a:pt x="24" y="909"/>
                  </a:lnTo>
                  <a:lnTo>
                    <a:pt x="9" y="910"/>
                  </a:lnTo>
                  <a:lnTo>
                    <a:pt x="0" y="904"/>
                  </a:lnTo>
                  <a:lnTo>
                    <a:pt x="0" y="898"/>
                  </a:lnTo>
                  <a:lnTo>
                    <a:pt x="0" y="885"/>
                  </a:lnTo>
                  <a:lnTo>
                    <a:pt x="10" y="885"/>
                  </a:lnTo>
                  <a:lnTo>
                    <a:pt x="10" y="880"/>
                  </a:lnTo>
                  <a:lnTo>
                    <a:pt x="14" y="880"/>
                  </a:lnTo>
                  <a:lnTo>
                    <a:pt x="20" y="868"/>
                  </a:lnTo>
                  <a:lnTo>
                    <a:pt x="24" y="863"/>
                  </a:lnTo>
                  <a:lnTo>
                    <a:pt x="27" y="856"/>
                  </a:lnTo>
                  <a:lnTo>
                    <a:pt x="31" y="854"/>
                  </a:lnTo>
                  <a:lnTo>
                    <a:pt x="37" y="847"/>
                  </a:lnTo>
                  <a:lnTo>
                    <a:pt x="43" y="836"/>
                  </a:lnTo>
                  <a:lnTo>
                    <a:pt x="49" y="827"/>
                  </a:lnTo>
                  <a:lnTo>
                    <a:pt x="58" y="817"/>
                  </a:lnTo>
                  <a:lnTo>
                    <a:pt x="60" y="810"/>
                  </a:lnTo>
                  <a:lnTo>
                    <a:pt x="53" y="803"/>
                  </a:lnTo>
                  <a:lnTo>
                    <a:pt x="63" y="796"/>
                  </a:lnTo>
                  <a:lnTo>
                    <a:pt x="58" y="784"/>
                  </a:lnTo>
                  <a:lnTo>
                    <a:pt x="73" y="771"/>
                  </a:lnTo>
                  <a:lnTo>
                    <a:pt x="73" y="764"/>
                  </a:lnTo>
                  <a:lnTo>
                    <a:pt x="97" y="764"/>
                  </a:lnTo>
                  <a:lnTo>
                    <a:pt x="102" y="761"/>
                  </a:lnTo>
                  <a:lnTo>
                    <a:pt x="102" y="759"/>
                  </a:lnTo>
                  <a:lnTo>
                    <a:pt x="95" y="745"/>
                  </a:lnTo>
                  <a:lnTo>
                    <a:pt x="95" y="744"/>
                  </a:lnTo>
                  <a:lnTo>
                    <a:pt x="111" y="735"/>
                  </a:lnTo>
                  <a:lnTo>
                    <a:pt x="121" y="735"/>
                  </a:lnTo>
                  <a:lnTo>
                    <a:pt x="124" y="740"/>
                  </a:lnTo>
                  <a:lnTo>
                    <a:pt x="138" y="742"/>
                  </a:lnTo>
                  <a:lnTo>
                    <a:pt x="151" y="747"/>
                  </a:lnTo>
                  <a:lnTo>
                    <a:pt x="170" y="752"/>
                  </a:lnTo>
                  <a:lnTo>
                    <a:pt x="175" y="735"/>
                  </a:lnTo>
                  <a:lnTo>
                    <a:pt x="163" y="735"/>
                  </a:lnTo>
                  <a:lnTo>
                    <a:pt x="163" y="727"/>
                  </a:lnTo>
                  <a:lnTo>
                    <a:pt x="158" y="720"/>
                  </a:lnTo>
                  <a:lnTo>
                    <a:pt x="145" y="711"/>
                  </a:lnTo>
                  <a:lnTo>
                    <a:pt x="143" y="710"/>
                  </a:lnTo>
                  <a:lnTo>
                    <a:pt x="151" y="705"/>
                  </a:lnTo>
                  <a:lnTo>
                    <a:pt x="153" y="694"/>
                  </a:lnTo>
                  <a:lnTo>
                    <a:pt x="151" y="686"/>
                  </a:lnTo>
                  <a:lnTo>
                    <a:pt x="148" y="679"/>
                  </a:lnTo>
                  <a:lnTo>
                    <a:pt x="138" y="669"/>
                  </a:lnTo>
                  <a:lnTo>
                    <a:pt x="139" y="659"/>
                  </a:lnTo>
                  <a:lnTo>
                    <a:pt x="139" y="655"/>
                  </a:lnTo>
                  <a:lnTo>
                    <a:pt x="133" y="645"/>
                  </a:lnTo>
                  <a:lnTo>
                    <a:pt x="146" y="638"/>
                  </a:lnTo>
                  <a:lnTo>
                    <a:pt x="155" y="637"/>
                  </a:lnTo>
                  <a:lnTo>
                    <a:pt x="158" y="633"/>
                  </a:lnTo>
                  <a:lnTo>
                    <a:pt x="162" y="625"/>
                  </a:lnTo>
                  <a:lnTo>
                    <a:pt x="167" y="628"/>
                  </a:lnTo>
                  <a:lnTo>
                    <a:pt x="177" y="633"/>
                  </a:lnTo>
                  <a:lnTo>
                    <a:pt x="182" y="635"/>
                  </a:lnTo>
                  <a:lnTo>
                    <a:pt x="185" y="626"/>
                  </a:lnTo>
                  <a:lnTo>
                    <a:pt x="192" y="618"/>
                  </a:lnTo>
                  <a:lnTo>
                    <a:pt x="206" y="619"/>
                  </a:lnTo>
                  <a:lnTo>
                    <a:pt x="211" y="619"/>
                  </a:lnTo>
                  <a:lnTo>
                    <a:pt x="219" y="621"/>
                  </a:lnTo>
                  <a:lnTo>
                    <a:pt x="230" y="623"/>
                  </a:lnTo>
                  <a:lnTo>
                    <a:pt x="247" y="623"/>
                  </a:lnTo>
                  <a:lnTo>
                    <a:pt x="248" y="623"/>
                  </a:lnTo>
                  <a:lnTo>
                    <a:pt x="252" y="619"/>
                  </a:lnTo>
                  <a:lnTo>
                    <a:pt x="243" y="611"/>
                  </a:lnTo>
                  <a:lnTo>
                    <a:pt x="247" y="602"/>
                  </a:lnTo>
                  <a:lnTo>
                    <a:pt x="250" y="596"/>
                  </a:lnTo>
                  <a:lnTo>
                    <a:pt x="255" y="594"/>
                  </a:lnTo>
                  <a:lnTo>
                    <a:pt x="260" y="591"/>
                  </a:lnTo>
                  <a:lnTo>
                    <a:pt x="270" y="585"/>
                  </a:lnTo>
                  <a:lnTo>
                    <a:pt x="275" y="579"/>
                  </a:lnTo>
                  <a:lnTo>
                    <a:pt x="282" y="584"/>
                  </a:lnTo>
                  <a:lnTo>
                    <a:pt x="287" y="587"/>
                  </a:lnTo>
                  <a:lnTo>
                    <a:pt x="292" y="594"/>
                  </a:lnTo>
                  <a:lnTo>
                    <a:pt x="296" y="596"/>
                  </a:lnTo>
                  <a:lnTo>
                    <a:pt x="306" y="599"/>
                  </a:lnTo>
                  <a:lnTo>
                    <a:pt x="318" y="594"/>
                  </a:lnTo>
                  <a:lnTo>
                    <a:pt x="325" y="587"/>
                  </a:lnTo>
                  <a:lnTo>
                    <a:pt x="331" y="584"/>
                  </a:lnTo>
                  <a:lnTo>
                    <a:pt x="343" y="584"/>
                  </a:lnTo>
                  <a:lnTo>
                    <a:pt x="347" y="580"/>
                  </a:lnTo>
                  <a:lnTo>
                    <a:pt x="345" y="574"/>
                  </a:lnTo>
                  <a:lnTo>
                    <a:pt x="354" y="574"/>
                  </a:lnTo>
                  <a:lnTo>
                    <a:pt x="360" y="575"/>
                  </a:lnTo>
                  <a:lnTo>
                    <a:pt x="364" y="572"/>
                  </a:lnTo>
                  <a:lnTo>
                    <a:pt x="362" y="572"/>
                  </a:lnTo>
                  <a:lnTo>
                    <a:pt x="371" y="565"/>
                  </a:lnTo>
                  <a:lnTo>
                    <a:pt x="371" y="558"/>
                  </a:lnTo>
                  <a:lnTo>
                    <a:pt x="364" y="555"/>
                  </a:lnTo>
                  <a:lnTo>
                    <a:pt x="360" y="562"/>
                  </a:lnTo>
                  <a:lnTo>
                    <a:pt x="362" y="550"/>
                  </a:lnTo>
                  <a:lnTo>
                    <a:pt x="372" y="545"/>
                  </a:lnTo>
                  <a:lnTo>
                    <a:pt x="369" y="543"/>
                  </a:lnTo>
                  <a:lnTo>
                    <a:pt x="372" y="534"/>
                  </a:lnTo>
                  <a:lnTo>
                    <a:pt x="386" y="534"/>
                  </a:lnTo>
                  <a:lnTo>
                    <a:pt x="384" y="531"/>
                  </a:lnTo>
                  <a:lnTo>
                    <a:pt x="389" y="526"/>
                  </a:lnTo>
                  <a:lnTo>
                    <a:pt x="394" y="519"/>
                  </a:lnTo>
                  <a:lnTo>
                    <a:pt x="386" y="514"/>
                  </a:lnTo>
                  <a:lnTo>
                    <a:pt x="388" y="511"/>
                  </a:lnTo>
                  <a:lnTo>
                    <a:pt x="381" y="506"/>
                  </a:lnTo>
                  <a:lnTo>
                    <a:pt x="376" y="504"/>
                  </a:lnTo>
                  <a:lnTo>
                    <a:pt x="365" y="507"/>
                  </a:lnTo>
                  <a:lnTo>
                    <a:pt x="365" y="502"/>
                  </a:lnTo>
                  <a:lnTo>
                    <a:pt x="371" y="490"/>
                  </a:lnTo>
                  <a:lnTo>
                    <a:pt x="377" y="494"/>
                  </a:lnTo>
                  <a:lnTo>
                    <a:pt x="379" y="485"/>
                  </a:lnTo>
                  <a:lnTo>
                    <a:pt x="386" y="482"/>
                  </a:lnTo>
                  <a:lnTo>
                    <a:pt x="377" y="475"/>
                  </a:lnTo>
                  <a:lnTo>
                    <a:pt x="377" y="470"/>
                  </a:lnTo>
                  <a:lnTo>
                    <a:pt x="381" y="463"/>
                  </a:lnTo>
                  <a:lnTo>
                    <a:pt x="393" y="465"/>
                  </a:lnTo>
                  <a:lnTo>
                    <a:pt x="398" y="465"/>
                  </a:lnTo>
                  <a:lnTo>
                    <a:pt x="408" y="470"/>
                  </a:lnTo>
                  <a:lnTo>
                    <a:pt x="408" y="466"/>
                  </a:lnTo>
                  <a:lnTo>
                    <a:pt x="413" y="470"/>
                  </a:lnTo>
                  <a:lnTo>
                    <a:pt x="420" y="465"/>
                  </a:lnTo>
                  <a:lnTo>
                    <a:pt x="427" y="456"/>
                  </a:lnTo>
                  <a:lnTo>
                    <a:pt x="428" y="456"/>
                  </a:lnTo>
                  <a:lnTo>
                    <a:pt x="449" y="454"/>
                  </a:lnTo>
                  <a:lnTo>
                    <a:pt x="445" y="449"/>
                  </a:lnTo>
                  <a:lnTo>
                    <a:pt x="454" y="454"/>
                  </a:lnTo>
                  <a:lnTo>
                    <a:pt x="461" y="453"/>
                  </a:lnTo>
                  <a:lnTo>
                    <a:pt x="473" y="453"/>
                  </a:lnTo>
                  <a:lnTo>
                    <a:pt x="473" y="444"/>
                  </a:lnTo>
                  <a:lnTo>
                    <a:pt x="473" y="437"/>
                  </a:lnTo>
                  <a:lnTo>
                    <a:pt x="476" y="426"/>
                  </a:lnTo>
                  <a:lnTo>
                    <a:pt x="471" y="417"/>
                  </a:lnTo>
                  <a:lnTo>
                    <a:pt x="476" y="410"/>
                  </a:lnTo>
                  <a:lnTo>
                    <a:pt x="479" y="402"/>
                  </a:lnTo>
                  <a:lnTo>
                    <a:pt x="476" y="398"/>
                  </a:lnTo>
                  <a:lnTo>
                    <a:pt x="486" y="393"/>
                  </a:lnTo>
                  <a:lnTo>
                    <a:pt x="488" y="380"/>
                  </a:lnTo>
                  <a:lnTo>
                    <a:pt x="488" y="376"/>
                  </a:lnTo>
                  <a:lnTo>
                    <a:pt x="496" y="371"/>
                  </a:lnTo>
                  <a:lnTo>
                    <a:pt x="510" y="369"/>
                  </a:lnTo>
                  <a:lnTo>
                    <a:pt x="513" y="368"/>
                  </a:lnTo>
                  <a:lnTo>
                    <a:pt x="524" y="373"/>
                  </a:lnTo>
                  <a:lnTo>
                    <a:pt x="525" y="375"/>
                  </a:lnTo>
                  <a:lnTo>
                    <a:pt x="529" y="371"/>
                  </a:lnTo>
                  <a:lnTo>
                    <a:pt x="535" y="371"/>
                  </a:lnTo>
                  <a:lnTo>
                    <a:pt x="546" y="369"/>
                  </a:lnTo>
                  <a:lnTo>
                    <a:pt x="554" y="361"/>
                  </a:lnTo>
                  <a:lnTo>
                    <a:pt x="556" y="361"/>
                  </a:lnTo>
                  <a:lnTo>
                    <a:pt x="564" y="364"/>
                  </a:lnTo>
                  <a:lnTo>
                    <a:pt x="564" y="361"/>
                  </a:lnTo>
                  <a:lnTo>
                    <a:pt x="563" y="352"/>
                  </a:lnTo>
                  <a:lnTo>
                    <a:pt x="575" y="349"/>
                  </a:lnTo>
                  <a:lnTo>
                    <a:pt x="583" y="351"/>
                  </a:lnTo>
                  <a:lnTo>
                    <a:pt x="592" y="342"/>
                  </a:lnTo>
                  <a:lnTo>
                    <a:pt x="603" y="335"/>
                  </a:lnTo>
                  <a:lnTo>
                    <a:pt x="612" y="337"/>
                  </a:lnTo>
                  <a:lnTo>
                    <a:pt x="617" y="337"/>
                  </a:lnTo>
                  <a:lnTo>
                    <a:pt x="620" y="334"/>
                  </a:lnTo>
                  <a:lnTo>
                    <a:pt x="624" y="335"/>
                  </a:lnTo>
                  <a:lnTo>
                    <a:pt x="627" y="335"/>
                  </a:lnTo>
                  <a:lnTo>
                    <a:pt x="636" y="329"/>
                  </a:lnTo>
                  <a:lnTo>
                    <a:pt x="641" y="330"/>
                  </a:lnTo>
                  <a:lnTo>
                    <a:pt x="641" y="327"/>
                  </a:lnTo>
                  <a:lnTo>
                    <a:pt x="646" y="329"/>
                  </a:lnTo>
                  <a:lnTo>
                    <a:pt x="654" y="324"/>
                  </a:lnTo>
                  <a:lnTo>
                    <a:pt x="656" y="317"/>
                  </a:lnTo>
                  <a:lnTo>
                    <a:pt x="658" y="317"/>
                  </a:lnTo>
                  <a:lnTo>
                    <a:pt x="660" y="317"/>
                  </a:lnTo>
                  <a:lnTo>
                    <a:pt x="671" y="322"/>
                  </a:lnTo>
                  <a:lnTo>
                    <a:pt x="671" y="324"/>
                  </a:lnTo>
                  <a:lnTo>
                    <a:pt x="677" y="322"/>
                  </a:lnTo>
                  <a:lnTo>
                    <a:pt x="694" y="329"/>
                  </a:lnTo>
                  <a:lnTo>
                    <a:pt x="702" y="324"/>
                  </a:lnTo>
                  <a:lnTo>
                    <a:pt x="699" y="318"/>
                  </a:lnTo>
                  <a:lnTo>
                    <a:pt x="702" y="306"/>
                  </a:lnTo>
                  <a:lnTo>
                    <a:pt x="705" y="300"/>
                  </a:lnTo>
                  <a:lnTo>
                    <a:pt x="709" y="301"/>
                  </a:lnTo>
                  <a:lnTo>
                    <a:pt x="717" y="293"/>
                  </a:lnTo>
                  <a:lnTo>
                    <a:pt x="721" y="286"/>
                  </a:lnTo>
                  <a:lnTo>
                    <a:pt x="716" y="283"/>
                  </a:lnTo>
                  <a:lnTo>
                    <a:pt x="722" y="279"/>
                  </a:lnTo>
                  <a:lnTo>
                    <a:pt x="729" y="276"/>
                  </a:lnTo>
                  <a:lnTo>
                    <a:pt x="733" y="267"/>
                  </a:lnTo>
                  <a:lnTo>
                    <a:pt x="729" y="267"/>
                  </a:lnTo>
                  <a:lnTo>
                    <a:pt x="726" y="261"/>
                  </a:lnTo>
                  <a:lnTo>
                    <a:pt x="736" y="254"/>
                  </a:lnTo>
                  <a:lnTo>
                    <a:pt x="734" y="247"/>
                  </a:lnTo>
                  <a:lnTo>
                    <a:pt x="738" y="240"/>
                  </a:lnTo>
                  <a:lnTo>
                    <a:pt x="736" y="238"/>
                  </a:lnTo>
                  <a:lnTo>
                    <a:pt x="726" y="232"/>
                  </a:lnTo>
                  <a:lnTo>
                    <a:pt x="731" y="225"/>
                  </a:lnTo>
                  <a:lnTo>
                    <a:pt x="739" y="221"/>
                  </a:lnTo>
                  <a:lnTo>
                    <a:pt x="748" y="210"/>
                  </a:lnTo>
                  <a:lnTo>
                    <a:pt x="741" y="211"/>
                  </a:lnTo>
                  <a:lnTo>
                    <a:pt x="729" y="206"/>
                  </a:lnTo>
                  <a:lnTo>
                    <a:pt x="729" y="198"/>
                  </a:lnTo>
                  <a:lnTo>
                    <a:pt x="729" y="193"/>
                  </a:lnTo>
                  <a:lnTo>
                    <a:pt x="726" y="191"/>
                  </a:lnTo>
                  <a:lnTo>
                    <a:pt x="726" y="181"/>
                  </a:lnTo>
                  <a:lnTo>
                    <a:pt x="729" y="179"/>
                  </a:lnTo>
                  <a:lnTo>
                    <a:pt x="726" y="169"/>
                  </a:lnTo>
                  <a:lnTo>
                    <a:pt x="728" y="165"/>
                  </a:lnTo>
                  <a:lnTo>
                    <a:pt x="729" y="169"/>
                  </a:lnTo>
                  <a:lnTo>
                    <a:pt x="738" y="165"/>
                  </a:lnTo>
                  <a:lnTo>
                    <a:pt x="743" y="164"/>
                  </a:lnTo>
                  <a:lnTo>
                    <a:pt x="753" y="164"/>
                  </a:lnTo>
                  <a:lnTo>
                    <a:pt x="762" y="157"/>
                  </a:lnTo>
                  <a:lnTo>
                    <a:pt x="768" y="165"/>
                  </a:lnTo>
                  <a:lnTo>
                    <a:pt x="765" y="174"/>
                  </a:lnTo>
                  <a:lnTo>
                    <a:pt x="772" y="174"/>
                  </a:lnTo>
                  <a:lnTo>
                    <a:pt x="782" y="170"/>
                  </a:lnTo>
                  <a:lnTo>
                    <a:pt x="785" y="179"/>
                  </a:lnTo>
                  <a:lnTo>
                    <a:pt x="792" y="181"/>
                  </a:lnTo>
                  <a:lnTo>
                    <a:pt x="801" y="181"/>
                  </a:lnTo>
                  <a:lnTo>
                    <a:pt x="804" y="182"/>
                  </a:lnTo>
                  <a:lnTo>
                    <a:pt x="807" y="181"/>
                  </a:lnTo>
                  <a:lnTo>
                    <a:pt x="809" y="172"/>
                  </a:lnTo>
                  <a:lnTo>
                    <a:pt x="813" y="169"/>
                  </a:lnTo>
                  <a:lnTo>
                    <a:pt x="823" y="167"/>
                  </a:lnTo>
                  <a:lnTo>
                    <a:pt x="826" y="169"/>
                  </a:lnTo>
                  <a:lnTo>
                    <a:pt x="830" y="162"/>
                  </a:lnTo>
                  <a:lnTo>
                    <a:pt x="838" y="162"/>
                  </a:lnTo>
                  <a:lnTo>
                    <a:pt x="838" y="159"/>
                  </a:lnTo>
                  <a:lnTo>
                    <a:pt x="833" y="148"/>
                  </a:lnTo>
                  <a:lnTo>
                    <a:pt x="838" y="143"/>
                  </a:lnTo>
                  <a:lnTo>
                    <a:pt x="841" y="143"/>
                  </a:lnTo>
                  <a:lnTo>
                    <a:pt x="847" y="153"/>
                  </a:lnTo>
                  <a:lnTo>
                    <a:pt x="848" y="155"/>
                  </a:lnTo>
                  <a:lnTo>
                    <a:pt x="852" y="148"/>
                  </a:lnTo>
                  <a:lnTo>
                    <a:pt x="860" y="143"/>
                  </a:lnTo>
                  <a:lnTo>
                    <a:pt x="865" y="141"/>
                  </a:lnTo>
                  <a:lnTo>
                    <a:pt x="874" y="141"/>
                  </a:lnTo>
                  <a:lnTo>
                    <a:pt x="881" y="138"/>
                  </a:lnTo>
                  <a:lnTo>
                    <a:pt x="891" y="136"/>
                  </a:lnTo>
                  <a:lnTo>
                    <a:pt x="898" y="141"/>
                  </a:lnTo>
                  <a:lnTo>
                    <a:pt x="903" y="143"/>
                  </a:lnTo>
                  <a:lnTo>
                    <a:pt x="904" y="136"/>
                  </a:lnTo>
                  <a:lnTo>
                    <a:pt x="901" y="133"/>
                  </a:lnTo>
                  <a:lnTo>
                    <a:pt x="909" y="128"/>
                  </a:lnTo>
                  <a:lnTo>
                    <a:pt x="916" y="133"/>
                  </a:lnTo>
                  <a:lnTo>
                    <a:pt x="918" y="141"/>
                  </a:lnTo>
                  <a:lnTo>
                    <a:pt x="923" y="141"/>
                  </a:lnTo>
                  <a:lnTo>
                    <a:pt x="935" y="143"/>
                  </a:lnTo>
                  <a:lnTo>
                    <a:pt x="935" y="150"/>
                  </a:lnTo>
                  <a:lnTo>
                    <a:pt x="938" y="157"/>
                  </a:lnTo>
                  <a:lnTo>
                    <a:pt x="947" y="155"/>
                  </a:lnTo>
                  <a:lnTo>
                    <a:pt x="957" y="159"/>
                  </a:lnTo>
                  <a:lnTo>
                    <a:pt x="962" y="153"/>
                  </a:lnTo>
                  <a:lnTo>
                    <a:pt x="974" y="150"/>
                  </a:lnTo>
                  <a:lnTo>
                    <a:pt x="983" y="152"/>
                  </a:lnTo>
                  <a:lnTo>
                    <a:pt x="993" y="157"/>
                  </a:lnTo>
                  <a:lnTo>
                    <a:pt x="989" y="167"/>
                  </a:lnTo>
                  <a:lnTo>
                    <a:pt x="996" y="167"/>
                  </a:lnTo>
                  <a:lnTo>
                    <a:pt x="1000" y="170"/>
                  </a:lnTo>
                  <a:lnTo>
                    <a:pt x="1010" y="176"/>
                  </a:lnTo>
                  <a:lnTo>
                    <a:pt x="1013" y="177"/>
                  </a:lnTo>
                  <a:lnTo>
                    <a:pt x="1018" y="176"/>
                  </a:lnTo>
                  <a:lnTo>
                    <a:pt x="1027" y="176"/>
                  </a:lnTo>
                  <a:lnTo>
                    <a:pt x="1027" y="184"/>
                  </a:lnTo>
                  <a:lnTo>
                    <a:pt x="1034" y="182"/>
                  </a:lnTo>
                  <a:lnTo>
                    <a:pt x="1039" y="177"/>
                  </a:lnTo>
                  <a:lnTo>
                    <a:pt x="1045" y="182"/>
                  </a:lnTo>
                  <a:lnTo>
                    <a:pt x="1052" y="177"/>
                  </a:lnTo>
                  <a:lnTo>
                    <a:pt x="1059" y="177"/>
                  </a:lnTo>
                  <a:lnTo>
                    <a:pt x="1066" y="172"/>
                  </a:lnTo>
                  <a:lnTo>
                    <a:pt x="1073" y="169"/>
                  </a:lnTo>
                  <a:lnTo>
                    <a:pt x="1081" y="177"/>
                  </a:lnTo>
                  <a:lnTo>
                    <a:pt x="1083" y="181"/>
                  </a:lnTo>
                  <a:lnTo>
                    <a:pt x="1088" y="181"/>
                  </a:lnTo>
                  <a:lnTo>
                    <a:pt x="1091" y="176"/>
                  </a:lnTo>
                  <a:lnTo>
                    <a:pt x="1098" y="177"/>
                  </a:lnTo>
                  <a:lnTo>
                    <a:pt x="1110" y="174"/>
                  </a:lnTo>
                  <a:lnTo>
                    <a:pt x="1105" y="165"/>
                  </a:lnTo>
                  <a:lnTo>
                    <a:pt x="1110" y="160"/>
                  </a:lnTo>
                  <a:lnTo>
                    <a:pt x="1119" y="159"/>
                  </a:lnTo>
                  <a:lnTo>
                    <a:pt x="1124" y="157"/>
                  </a:lnTo>
                  <a:lnTo>
                    <a:pt x="1127" y="160"/>
                  </a:lnTo>
                  <a:lnTo>
                    <a:pt x="1132" y="159"/>
                  </a:lnTo>
                  <a:lnTo>
                    <a:pt x="1134" y="153"/>
                  </a:lnTo>
                  <a:lnTo>
                    <a:pt x="1125" y="147"/>
                  </a:lnTo>
                  <a:lnTo>
                    <a:pt x="1125" y="143"/>
                  </a:lnTo>
                  <a:lnTo>
                    <a:pt x="1136" y="141"/>
                  </a:lnTo>
                  <a:lnTo>
                    <a:pt x="1146" y="140"/>
                  </a:lnTo>
                  <a:lnTo>
                    <a:pt x="1151" y="148"/>
                  </a:lnTo>
                  <a:lnTo>
                    <a:pt x="1159" y="141"/>
                  </a:lnTo>
                  <a:lnTo>
                    <a:pt x="1158" y="135"/>
                  </a:lnTo>
                  <a:lnTo>
                    <a:pt x="1168" y="136"/>
                  </a:lnTo>
                  <a:lnTo>
                    <a:pt x="1173" y="140"/>
                  </a:lnTo>
                  <a:lnTo>
                    <a:pt x="1180" y="130"/>
                  </a:lnTo>
                  <a:lnTo>
                    <a:pt x="1183" y="135"/>
                  </a:lnTo>
                  <a:lnTo>
                    <a:pt x="1187" y="128"/>
                  </a:lnTo>
                  <a:lnTo>
                    <a:pt x="1190" y="133"/>
                  </a:lnTo>
                  <a:lnTo>
                    <a:pt x="1202" y="136"/>
                  </a:lnTo>
                  <a:lnTo>
                    <a:pt x="1202" y="131"/>
                  </a:lnTo>
                  <a:lnTo>
                    <a:pt x="1210" y="128"/>
                  </a:lnTo>
                  <a:lnTo>
                    <a:pt x="1202" y="123"/>
                  </a:lnTo>
                  <a:lnTo>
                    <a:pt x="1204" y="118"/>
                  </a:lnTo>
                  <a:lnTo>
                    <a:pt x="1214" y="119"/>
                  </a:lnTo>
                  <a:lnTo>
                    <a:pt x="1221" y="116"/>
                  </a:lnTo>
                  <a:lnTo>
                    <a:pt x="1219" y="113"/>
                  </a:lnTo>
                  <a:lnTo>
                    <a:pt x="1209" y="113"/>
                  </a:lnTo>
                  <a:lnTo>
                    <a:pt x="1214" y="106"/>
                  </a:lnTo>
                  <a:lnTo>
                    <a:pt x="1222" y="107"/>
                  </a:lnTo>
                  <a:lnTo>
                    <a:pt x="1231" y="104"/>
                  </a:lnTo>
                  <a:lnTo>
                    <a:pt x="1229" y="96"/>
                  </a:lnTo>
                  <a:lnTo>
                    <a:pt x="1222" y="99"/>
                  </a:lnTo>
                  <a:lnTo>
                    <a:pt x="1221" y="89"/>
                  </a:lnTo>
                  <a:lnTo>
                    <a:pt x="1217" y="87"/>
                  </a:lnTo>
                  <a:lnTo>
                    <a:pt x="1224" y="87"/>
                  </a:lnTo>
                  <a:lnTo>
                    <a:pt x="1227" y="90"/>
                  </a:lnTo>
                  <a:lnTo>
                    <a:pt x="1236" y="85"/>
                  </a:lnTo>
                  <a:lnTo>
                    <a:pt x="1244" y="82"/>
                  </a:lnTo>
                  <a:lnTo>
                    <a:pt x="1249" y="85"/>
                  </a:lnTo>
                  <a:lnTo>
                    <a:pt x="1249" y="94"/>
                  </a:lnTo>
                  <a:lnTo>
                    <a:pt x="1253" y="99"/>
                  </a:lnTo>
                  <a:lnTo>
                    <a:pt x="1256" y="102"/>
                  </a:lnTo>
                  <a:lnTo>
                    <a:pt x="1263" y="102"/>
                  </a:lnTo>
                  <a:lnTo>
                    <a:pt x="1268" y="106"/>
                  </a:lnTo>
                  <a:lnTo>
                    <a:pt x="1273" y="113"/>
                  </a:lnTo>
                  <a:lnTo>
                    <a:pt x="1272" y="118"/>
                  </a:lnTo>
                  <a:lnTo>
                    <a:pt x="1282" y="118"/>
                  </a:lnTo>
                  <a:lnTo>
                    <a:pt x="1283" y="126"/>
                  </a:lnTo>
                  <a:lnTo>
                    <a:pt x="1282" y="131"/>
                  </a:lnTo>
                  <a:lnTo>
                    <a:pt x="1285" y="131"/>
                  </a:lnTo>
                  <a:lnTo>
                    <a:pt x="1285" y="135"/>
                  </a:lnTo>
                  <a:lnTo>
                    <a:pt x="1294" y="136"/>
                  </a:lnTo>
                  <a:lnTo>
                    <a:pt x="1302" y="143"/>
                  </a:lnTo>
                  <a:lnTo>
                    <a:pt x="1304" y="148"/>
                  </a:lnTo>
                  <a:lnTo>
                    <a:pt x="1309" y="150"/>
                  </a:lnTo>
                  <a:lnTo>
                    <a:pt x="1316" y="160"/>
                  </a:lnTo>
                  <a:lnTo>
                    <a:pt x="1326" y="164"/>
                  </a:lnTo>
                  <a:lnTo>
                    <a:pt x="1329" y="164"/>
                  </a:lnTo>
                  <a:lnTo>
                    <a:pt x="1338" y="162"/>
                  </a:lnTo>
                  <a:lnTo>
                    <a:pt x="1351" y="162"/>
                  </a:lnTo>
                  <a:lnTo>
                    <a:pt x="1360" y="160"/>
                  </a:lnTo>
                  <a:lnTo>
                    <a:pt x="1362" y="165"/>
                  </a:lnTo>
                  <a:lnTo>
                    <a:pt x="1367" y="170"/>
                  </a:lnTo>
                  <a:lnTo>
                    <a:pt x="1379" y="172"/>
                  </a:lnTo>
                  <a:lnTo>
                    <a:pt x="1382" y="176"/>
                  </a:lnTo>
                  <a:lnTo>
                    <a:pt x="1394" y="174"/>
                  </a:lnTo>
                  <a:lnTo>
                    <a:pt x="1402" y="174"/>
                  </a:lnTo>
                  <a:lnTo>
                    <a:pt x="1411" y="179"/>
                  </a:lnTo>
                  <a:lnTo>
                    <a:pt x="1413" y="176"/>
                  </a:lnTo>
                  <a:lnTo>
                    <a:pt x="1413" y="165"/>
                  </a:lnTo>
                  <a:lnTo>
                    <a:pt x="1411" y="162"/>
                  </a:lnTo>
                  <a:lnTo>
                    <a:pt x="1411" y="159"/>
                  </a:lnTo>
                  <a:lnTo>
                    <a:pt x="1421" y="155"/>
                  </a:lnTo>
                  <a:lnTo>
                    <a:pt x="1423" y="145"/>
                  </a:lnTo>
                  <a:lnTo>
                    <a:pt x="1428" y="140"/>
                  </a:lnTo>
                  <a:lnTo>
                    <a:pt x="1430" y="130"/>
                  </a:lnTo>
                  <a:lnTo>
                    <a:pt x="1423" y="123"/>
                  </a:lnTo>
                  <a:lnTo>
                    <a:pt x="1431" y="116"/>
                  </a:lnTo>
                  <a:lnTo>
                    <a:pt x="1443" y="114"/>
                  </a:lnTo>
                  <a:lnTo>
                    <a:pt x="1445" y="109"/>
                  </a:lnTo>
                  <a:lnTo>
                    <a:pt x="1450" y="111"/>
                  </a:lnTo>
                  <a:lnTo>
                    <a:pt x="1450" y="107"/>
                  </a:lnTo>
                  <a:lnTo>
                    <a:pt x="1453" y="102"/>
                  </a:lnTo>
                  <a:lnTo>
                    <a:pt x="1453" y="94"/>
                  </a:lnTo>
                  <a:lnTo>
                    <a:pt x="1450" y="90"/>
                  </a:lnTo>
                  <a:lnTo>
                    <a:pt x="1452" y="85"/>
                  </a:lnTo>
                  <a:lnTo>
                    <a:pt x="1440" y="80"/>
                  </a:lnTo>
                  <a:lnTo>
                    <a:pt x="1438" y="77"/>
                  </a:lnTo>
                  <a:lnTo>
                    <a:pt x="1447" y="68"/>
                  </a:lnTo>
                  <a:lnTo>
                    <a:pt x="1453" y="67"/>
                  </a:lnTo>
                  <a:lnTo>
                    <a:pt x="1464" y="68"/>
                  </a:lnTo>
                  <a:lnTo>
                    <a:pt x="1470" y="60"/>
                  </a:lnTo>
                  <a:lnTo>
                    <a:pt x="1476" y="62"/>
                  </a:lnTo>
                  <a:lnTo>
                    <a:pt x="1476" y="56"/>
                  </a:lnTo>
                  <a:lnTo>
                    <a:pt x="1479" y="51"/>
                  </a:lnTo>
                  <a:lnTo>
                    <a:pt x="1481" y="45"/>
                  </a:lnTo>
                  <a:lnTo>
                    <a:pt x="1486" y="45"/>
                  </a:lnTo>
                  <a:lnTo>
                    <a:pt x="1491" y="38"/>
                  </a:lnTo>
                  <a:lnTo>
                    <a:pt x="1498" y="39"/>
                  </a:lnTo>
                  <a:lnTo>
                    <a:pt x="1503" y="41"/>
                  </a:lnTo>
                  <a:lnTo>
                    <a:pt x="1510" y="41"/>
                  </a:lnTo>
                  <a:lnTo>
                    <a:pt x="1516" y="39"/>
                  </a:lnTo>
                  <a:lnTo>
                    <a:pt x="1525" y="33"/>
                  </a:lnTo>
                  <a:lnTo>
                    <a:pt x="1530" y="31"/>
                  </a:lnTo>
                  <a:lnTo>
                    <a:pt x="1530" y="33"/>
                  </a:lnTo>
                  <a:lnTo>
                    <a:pt x="1540" y="33"/>
                  </a:lnTo>
                  <a:lnTo>
                    <a:pt x="1547" y="36"/>
                  </a:lnTo>
                  <a:lnTo>
                    <a:pt x="1552" y="34"/>
                  </a:lnTo>
                  <a:lnTo>
                    <a:pt x="1559" y="36"/>
                  </a:lnTo>
                  <a:lnTo>
                    <a:pt x="1566" y="33"/>
                  </a:lnTo>
                  <a:lnTo>
                    <a:pt x="1578" y="31"/>
                  </a:lnTo>
                  <a:lnTo>
                    <a:pt x="1581" y="28"/>
                  </a:lnTo>
                  <a:lnTo>
                    <a:pt x="1591" y="29"/>
                  </a:lnTo>
                  <a:lnTo>
                    <a:pt x="1593" y="26"/>
                  </a:lnTo>
                  <a:lnTo>
                    <a:pt x="1601" y="26"/>
                  </a:lnTo>
                  <a:lnTo>
                    <a:pt x="1608" y="24"/>
                  </a:lnTo>
                  <a:lnTo>
                    <a:pt x="1610" y="21"/>
                  </a:lnTo>
                  <a:lnTo>
                    <a:pt x="1622" y="17"/>
                  </a:lnTo>
                  <a:lnTo>
                    <a:pt x="1630" y="9"/>
                  </a:lnTo>
                  <a:lnTo>
                    <a:pt x="1642" y="7"/>
                  </a:lnTo>
                  <a:lnTo>
                    <a:pt x="1651" y="0"/>
                  </a:lnTo>
                  <a:lnTo>
                    <a:pt x="1657" y="2"/>
                  </a:lnTo>
                  <a:lnTo>
                    <a:pt x="1664" y="11"/>
                  </a:lnTo>
                  <a:lnTo>
                    <a:pt x="1669" y="14"/>
                  </a:lnTo>
                  <a:lnTo>
                    <a:pt x="1674" y="26"/>
                  </a:lnTo>
                  <a:lnTo>
                    <a:pt x="1676" y="26"/>
                  </a:lnTo>
                  <a:lnTo>
                    <a:pt x="1674" y="28"/>
                  </a:lnTo>
                  <a:lnTo>
                    <a:pt x="1676" y="29"/>
                  </a:lnTo>
                  <a:lnTo>
                    <a:pt x="1676" y="39"/>
                  </a:lnTo>
                  <a:lnTo>
                    <a:pt x="1673" y="39"/>
                  </a:lnTo>
                  <a:lnTo>
                    <a:pt x="1676" y="43"/>
                  </a:lnTo>
                  <a:lnTo>
                    <a:pt x="1671" y="46"/>
                  </a:lnTo>
                  <a:lnTo>
                    <a:pt x="1676" y="50"/>
                  </a:lnTo>
                  <a:lnTo>
                    <a:pt x="1673" y="55"/>
                  </a:lnTo>
                  <a:lnTo>
                    <a:pt x="1678" y="56"/>
                  </a:lnTo>
                  <a:lnTo>
                    <a:pt x="1676" y="58"/>
                  </a:lnTo>
                  <a:lnTo>
                    <a:pt x="1680" y="68"/>
                  </a:lnTo>
                  <a:lnTo>
                    <a:pt x="1683" y="68"/>
                  </a:lnTo>
                  <a:lnTo>
                    <a:pt x="1685" y="73"/>
                  </a:lnTo>
                  <a:lnTo>
                    <a:pt x="1691" y="77"/>
                  </a:lnTo>
                  <a:lnTo>
                    <a:pt x="1702" y="79"/>
                  </a:lnTo>
                  <a:lnTo>
                    <a:pt x="1703" y="80"/>
                  </a:lnTo>
                  <a:lnTo>
                    <a:pt x="1708" y="80"/>
                  </a:lnTo>
                  <a:lnTo>
                    <a:pt x="1705" y="70"/>
                  </a:lnTo>
                  <a:lnTo>
                    <a:pt x="1712" y="73"/>
                  </a:lnTo>
                  <a:lnTo>
                    <a:pt x="1717" y="79"/>
                  </a:lnTo>
                  <a:lnTo>
                    <a:pt x="1720" y="85"/>
                  </a:lnTo>
                  <a:lnTo>
                    <a:pt x="1719" y="92"/>
                  </a:lnTo>
                  <a:lnTo>
                    <a:pt x="1722" y="101"/>
                  </a:lnTo>
                  <a:lnTo>
                    <a:pt x="1714" y="99"/>
                  </a:lnTo>
                  <a:lnTo>
                    <a:pt x="1715" y="104"/>
                  </a:lnTo>
                  <a:lnTo>
                    <a:pt x="1703" y="107"/>
                  </a:lnTo>
                  <a:lnTo>
                    <a:pt x="1700" y="113"/>
                  </a:lnTo>
                  <a:lnTo>
                    <a:pt x="1693" y="114"/>
                  </a:lnTo>
                  <a:lnTo>
                    <a:pt x="1693" y="123"/>
                  </a:lnTo>
                  <a:lnTo>
                    <a:pt x="1690" y="128"/>
                  </a:lnTo>
                  <a:lnTo>
                    <a:pt x="1686" y="136"/>
                  </a:lnTo>
                  <a:lnTo>
                    <a:pt x="1680" y="135"/>
                  </a:lnTo>
                  <a:lnTo>
                    <a:pt x="1676" y="141"/>
                  </a:lnTo>
                  <a:lnTo>
                    <a:pt x="1680" y="147"/>
                  </a:lnTo>
                  <a:lnTo>
                    <a:pt x="1683" y="143"/>
                  </a:lnTo>
                  <a:lnTo>
                    <a:pt x="1685" y="147"/>
                  </a:lnTo>
                  <a:lnTo>
                    <a:pt x="1683" y="148"/>
                  </a:lnTo>
                  <a:lnTo>
                    <a:pt x="1669" y="153"/>
                  </a:lnTo>
                  <a:lnTo>
                    <a:pt x="1678" y="159"/>
                  </a:lnTo>
                  <a:lnTo>
                    <a:pt x="1674" y="160"/>
                  </a:lnTo>
                  <a:lnTo>
                    <a:pt x="1688" y="164"/>
                  </a:lnTo>
                  <a:lnTo>
                    <a:pt x="1686" y="170"/>
                  </a:lnTo>
                  <a:lnTo>
                    <a:pt x="1693" y="164"/>
                  </a:lnTo>
                  <a:lnTo>
                    <a:pt x="1697" y="164"/>
                  </a:lnTo>
                  <a:lnTo>
                    <a:pt x="1707" y="165"/>
                  </a:lnTo>
                  <a:lnTo>
                    <a:pt x="1712" y="169"/>
                  </a:lnTo>
                  <a:lnTo>
                    <a:pt x="1722" y="170"/>
                  </a:lnTo>
                  <a:lnTo>
                    <a:pt x="1729" y="179"/>
                  </a:lnTo>
                  <a:lnTo>
                    <a:pt x="1736" y="172"/>
                  </a:lnTo>
                  <a:lnTo>
                    <a:pt x="1742" y="169"/>
                  </a:lnTo>
                  <a:lnTo>
                    <a:pt x="1754" y="169"/>
                  </a:lnTo>
                  <a:lnTo>
                    <a:pt x="1761" y="165"/>
                  </a:lnTo>
                  <a:lnTo>
                    <a:pt x="1771" y="164"/>
                  </a:lnTo>
                  <a:lnTo>
                    <a:pt x="1775" y="170"/>
                  </a:lnTo>
                  <a:lnTo>
                    <a:pt x="1787" y="174"/>
                  </a:lnTo>
                  <a:lnTo>
                    <a:pt x="1792" y="176"/>
                  </a:lnTo>
                  <a:lnTo>
                    <a:pt x="1793" y="182"/>
                  </a:lnTo>
                  <a:lnTo>
                    <a:pt x="1804" y="181"/>
                  </a:lnTo>
                  <a:lnTo>
                    <a:pt x="1807" y="182"/>
                  </a:lnTo>
                  <a:lnTo>
                    <a:pt x="1814" y="177"/>
                  </a:lnTo>
                  <a:lnTo>
                    <a:pt x="1819" y="187"/>
                  </a:lnTo>
                  <a:lnTo>
                    <a:pt x="1827" y="187"/>
                  </a:lnTo>
                  <a:lnTo>
                    <a:pt x="1829" y="193"/>
                  </a:lnTo>
                  <a:lnTo>
                    <a:pt x="1833" y="187"/>
                  </a:lnTo>
                  <a:lnTo>
                    <a:pt x="1834" y="191"/>
                  </a:lnTo>
                  <a:lnTo>
                    <a:pt x="1841" y="189"/>
                  </a:lnTo>
                  <a:lnTo>
                    <a:pt x="1841" y="184"/>
                  </a:lnTo>
                  <a:lnTo>
                    <a:pt x="1844" y="187"/>
                  </a:lnTo>
                  <a:lnTo>
                    <a:pt x="1848" y="186"/>
                  </a:lnTo>
                  <a:lnTo>
                    <a:pt x="1846" y="194"/>
                  </a:lnTo>
                  <a:lnTo>
                    <a:pt x="1851" y="191"/>
                  </a:lnTo>
                  <a:lnTo>
                    <a:pt x="1853" y="198"/>
                  </a:lnTo>
                  <a:lnTo>
                    <a:pt x="1856" y="196"/>
                  </a:lnTo>
                  <a:lnTo>
                    <a:pt x="1858" y="203"/>
                  </a:lnTo>
                  <a:lnTo>
                    <a:pt x="1868" y="201"/>
                  </a:lnTo>
                  <a:lnTo>
                    <a:pt x="1867" y="208"/>
                  </a:lnTo>
                  <a:lnTo>
                    <a:pt x="1873" y="204"/>
                  </a:lnTo>
                  <a:lnTo>
                    <a:pt x="1872" y="211"/>
                  </a:lnTo>
                  <a:lnTo>
                    <a:pt x="1877" y="210"/>
                  </a:lnTo>
                  <a:lnTo>
                    <a:pt x="1875" y="204"/>
                  </a:lnTo>
                  <a:lnTo>
                    <a:pt x="1884" y="204"/>
                  </a:lnTo>
                  <a:lnTo>
                    <a:pt x="1884" y="210"/>
                  </a:lnTo>
                  <a:lnTo>
                    <a:pt x="1878" y="215"/>
                  </a:lnTo>
                  <a:lnTo>
                    <a:pt x="1889" y="213"/>
                  </a:lnTo>
                  <a:lnTo>
                    <a:pt x="1887" y="221"/>
                  </a:lnTo>
                  <a:lnTo>
                    <a:pt x="1895" y="221"/>
                  </a:lnTo>
                  <a:lnTo>
                    <a:pt x="1897" y="220"/>
                  </a:lnTo>
                  <a:lnTo>
                    <a:pt x="1901" y="228"/>
                  </a:lnTo>
                  <a:lnTo>
                    <a:pt x="1906" y="225"/>
                  </a:lnTo>
                  <a:lnTo>
                    <a:pt x="1912" y="227"/>
                  </a:lnTo>
                  <a:lnTo>
                    <a:pt x="1914" y="230"/>
                  </a:lnTo>
                  <a:lnTo>
                    <a:pt x="1919" y="228"/>
                  </a:lnTo>
                  <a:lnTo>
                    <a:pt x="1919" y="233"/>
                  </a:lnTo>
                  <a:lnTo>
                    <a:pt x="1912" y="232"/>
                  </a:lnTo>
                  <a:lnTo>
                    <a:pt x="1926" y="235"/>
                  </a:lnTo>
                  <a:lnTo>
                    <a:pt x="1926" y="242"/>
                  </a:lnTo>
                  <a:lnTo>
                    <a:pt x="1931" y="245"/>
                  </a:lnTo>
                  <a:lnTo>
                    <a:pt x="1928" y="255"/>
                  </a:lnTo>
                  <a:lnTo>
                    <a:pt x="1935" y="259"/>
                  </a:lnTo>
                  <a:lnTo>
                    <a:pt x="1928" y="267"/>
                  </a:lnTo>
                  <a:lnTo>
                    <a:pt x="1929" y="271"/>
                  </a:lnTo>
                  <a:lnTo>
                    <a:pt x="1936" y="272"/>
                  </a:lnTo>
                  <a:lnTo>
                    <a:pt x="1935" y="279"/>
                  </a:lnTo>
                  <a:lnTo>
                    <a:pt x="1941" y="2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1" name="Freeform 10">
              <a:extLst>
                <a:ext uri="{FF2B5EF4-FFF2-40B4-BE49-F238E27FC236}">
                  <a16:creationId xmlns:a16="http://schemas.microsoft.com/office/drawing/2014/main" id="{082A154B-AD3A-4176-990B-819828933221}"/>
                </a:ext>
              </a:extLst>
            </p:cNvPr>
            <p:cNvSpPr>
              <a:spLocks/>
            </p:cNvSpPr>
            <p:nvPr/>
          </p:nvSpPr>
          <p:spPr bwMode="gray">
            <a:xfrm>
              <a:off x="5600700" y="2535238"/>
              <a:ext cx="2270125" cy="1701800"/>
            </a:xfrm>
            <a:custGeom>
              <a:avLst/>
              <a:gdLst>
                <a:gd name="T0" fmla="*/ 1081 w 1430"/>
                <a:gd name="T1" fmla="*/ 92 h 1072"/>
                <a:gd name="T2" fmla="*/ 1117 w 1430"/>
                <a:gd name="T3" fmla="*/ 99 h 1072"/>
                <a:gd name="T4" fmla="*/ 1171 w 1430"/>
                <a:gd name="T5" fmla="*/ 89 h 1072"/>
                <a:gd name="T6" fmla="*/ 1234 w 1430"/>
                <a:gd name="T7" fmla="*/ 90 h 1072"/>
                <a:gd name="T8" fmla="*/ 1272 w 1430"/>
                <a:gd name="T9" fmla="*/ 126 h 1072"/>
                <a:gd name="T10" fmla="*/ 1314 w 1430"/>
                <a:gd name="T11" fmla="*/ 159 h 1072"/>
                <a:gd name="T12" fmla="*/ 1369 w 1430"/>
                <a:gd name="T13" fmla="*/ 203 h 1072"/>
                <a:gd name="T14" fmla="*/ 1409 w 1430"/>
                <a:gd name="T15" fmla="*/ 215 h 1072"/>
                <a:gd name="T16" fmla="*/ 1399 w 1430"/>
                <a:gd name="T17" fmla="*/ 267 h 1072"/>
                <a:gd name="T18" fmla="*/ 1397 w 1430"/>
                <a:gd name="T19" fmla="*/ 344 h 1072"/>
                <a:gd name="T20" fmla="*/ 1380 w 1430"/>
                <a:gd name="T21" fmla="*/ 415 h 1072"/>
                <a:gd name="T22" fmla="*/ 1324 w 1430"/>
                <a:gd name="T23" fmla="*/ 455 h 1072"/>
                <a:gd name="T24" fmla="*/ 1260 w 1430"/>
                <a:gd name="T25" fmla="*/ 495 h 1072"/>
                <a:gd name="T26" fmla="*/ 1185 w 1430"/>
                <a:gd name="T27" fmla="*/ 553 h 1072"/>
                <a:gd name="T28" fmla="*/ 1137 w 1430"/>
                <a:gd name="T29" fmla="*/ 519 h 1072"/>
                <a:gd name="T30" fmla="*/ 1059 w 1430"/>
                <a:gd name="T31" fmla="*/ 521 h 1072"/>
                <a:gd name="T32" fmla="*/ 995 w 1430"/>
                <a:gd name="T33" fmla="*/ 548 h 1072"/>
                <a:gd name="T34" fmla="*/ 950 w 1430"/>
                <a:gd name="T35" fmla="*/ 591 h 1072"/>
                <a:gd name="T36" fmla="*/ 901 w 1430"/>
                <a:gd name="T37" fmla="*/ 599 h 1072"/>
                <a:gd name="T38" fmla="*/ 859 w 1430"/>
                <a:gd name="T39" fmla="*/ 652 h 1072"/>
                <a:gd name="T40" fmla="*/ 818 w 1430"/>
                <a:gd name="T41" fmla="*/ 696 h 1072"/>
                <a:gd name="T42" fmla="*/ 774 w 1430"/>
                <a:gd name="T43" fmla="*/ 749 h 1072"/>
                <a:gd name="T44" fmla="*/ 702 w 1430"/>
                <a:gd name="T45" fmla="*/ 791 h 1072"/>
                <a:gd name="T46" fmla="*/ 719 w 1430"/>
                <a:gd name="T47" fmla="*/ 837 h 1072"/>
                <a:gd name="T48" fmla="*/ 751 w 1430"/>
                <a:gd name="T49" fmla="*/ 899 h 1072"/>
                <a:gd name="T50" fmla="*/ 775 w 1430"/>
                <a:gd name="T51" fmla="*/ 946 h 1072"/>
                <a:gd name="T52" fmla="*/ 784 w 1430"/>
                <a:gd name="T53" fmla="*/ 992 h 1072"/>
                <a:gd name="T54" fmla="*/ 743 w 1430"/>
                <a:gd name="T55" fmla="*/ 1021 h 1072"/>
                <a:gd name="T56" fmla="*/ 678 w 1430"/>
                <a:gd name="T57" fmla="*/ 1035 h 1072"/>
                <a:gd name="T58" fmla="*/ 636 w 1430"/>
                <a:gd name="T59" fmla="*/ 1069 h 1072"/>
                <a:gd name="T60" fmla="*/ 566 w 1430"/>
                <a:gd name="T61" fmla="*/ 1065 h 1072"/>
                <a:gd name="T62" fmla="*/ 488 w 1430"/>
                <a:gd name="T63" fmla="*/ 1038 h 1072"/>
                <a:gd name="T64" fmla="*/ 427 w 1430"/>
                <a:gd name="T65" fmla="*/ 1029 h 1072"/>
                <a:gd name="T66" fmla="*/ 379 w 1430"/>
                <a:gd name="T67" fmla="*/ 1057 h 1072"/>
                <a:gd name="T68" fmla="*/ 321 w 1430"/>
                <a:gd name="T69" fmla="*/ 1053 h 1072"/>
                <a:gd name="T70" fmla="*/ 240 w 1430"/>
                <a:gd name="T71" fmla="*/ 1041 h 1072"/>
                <a:gd name="T72" fmla="*/ 179 w 1430"/>
                <a:gd name="T73" fmla="*/ 982 h 1072"/>
                <a:gd name="T74" fmla="*/ 131 w 1430"/>
                <a:gd name="T75" fmla="*/ 924 h 1072"/>
                <a:gd name="T76" fmla="*/ 80 w 1430"/>
                <a:gd name="T77" fmla="*/ 861 h 1072"/>
                <a:gd name="T78" fmla="*/ 7 w 1430"/>
                <a:gd name="T79" fmla="*/ 815 h 1072"/>
                <a:gd name="T80" fmla="*/ 95 w 1430"/>
                <a:gd name="T81" fmla="*/ 628 h 1072"/>
                <a:gd name="T82" fmla="*/ 150 w 1430"/>
                <a:gd name="T83" fmla="*/ 478 h 1072"/>
                <a:gd name="T84" fmla="*/ 202 w 1430"/>
                <a:gd name="T85" fmla="*/ 373 h 1072"/>
                <a:gd name="T86" fmla="*/ 250 w 1430"/>
                <a:gd name="T87" fmla="*/ 318 h 1072"/>
                <a:gd name="T88" fmla="*/ 311 w 1430"/>
                <a:gd name="T89" fmla="*/ 273 h 1072"/>
                <a:gd name="T90" fmla="*/ 381 w 1430"/>
                <a:gd name="T91" fmla="*/ 249 h 1072"/>
                <a:gd name="T92" fmla="*/ 447 w 1430"/>
                <a:gd name="T93" fmla="*/ 262 h 1072"/>
                <a:gd name="T94" fmla="*/ 486 w 1430"/>
                <a:gd name="T95" fmla="*/ 238 h 1072"/>
                <a:gd name="T96" fmla="*/ 546 w 1430"/>
                <a:gd name="T97" fmla="*/ 191 h 1072"/>
                <a:gd name="T98" fmla="*/ 575 w 1430"/>
                <a:gd name="T99" fmla="*/ 176 h 1072"/>
                <a:gd name="T100" fmla="*/ 576 w 1430"/>
                <a:gd name="T101" fmla="*/ 123 h 1072"/>
                <a:gd name="T102" fmla="*/ 634 w 1430"/>
                <a:gd name="T103" fmla="*/ 90 h 1072"/>
                <a:gd name="T104" fmla="*/ 694 w 1430"/>
                <a:gd name="T105" fmla="*/ 70 h 1072"/>
                <a:gd name="T106" fmla="*/ 758 w 1430"/>
                <a:gd name="T107" fmla="*/ 68 h 1072"/>
                <a:gd name="T108" fmla="*/ 809 w 1430"/>
                <a:gd name="T109" fmla="*/ 63 h 1072"/>
                <a:gd name="T110" fmla="*/ 867 w 1430"/>
                <a:gd name="T111" fmla="*/ 19 h 1072"/>
                <a:gd name="T112" fmla="*/ 947 w 1430"/>
                <a:gd name="T113" fmla="*/ 12 h 1072"/>
                <a:gd name="T114" fmla="*/ 1005 w 1430"/>
                <a:gd name="T115" fmla="*/ 51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0" h="1072">
                  <a:moveTo>
                    <a:pt x="1037" y="58"/>
                  </a:moveTo>
                  <a:lnTo>
                    <a:pt x="1040" y="67"/>
                  </a:lnTo>
                  <a:lnTo>
                    <a:pt x="1046" y="63"/>
                  </a:lnTo>
                  <a:lnTo>
                    <a:pt x="1051" y="73"/>
                  </a:lnTo>
                  <a:lnTo>
                    <a:pt x="1057" y="68"/>
                  </a:lnTo>
                  <a:lnTo>
                    <a:pt x="1056" y="75"/>
                  </a:lnTo>
                  <a:lnTo>
                    <a:pt x="1064" y="70"/>
                  </a:lnTo>
                  <a:lnTo>
                    <a:pt x="1076" y="72"/>
                  </a:lnTo>
                  <a:lnTo>
                    <a:pt x="1076" y="75"/>
                  </a:lnTo>
                  <a:lnTo>
                    <a:pt x="1080" y="82"/>
                  </a:lnTo>
                  <a:lnTo>
                    <a:pt x="1083" y="85"/>
                  </a:lnTo>
                  <a:lnTo>
                    <a:pt x="1081" y="92"/>
                  </a:lnTo>
                  <a:lnTo>
                    <a:pt x="1090" y="84"/>
                  </a:lnTo>
                  <a:lnTo>
                    <a:pt x="1085" y="80"/>
                  </a:lnTo>
                  <a:lnTo>
                    <a:pt x="1093" y="84"/>
                  </a:lnTo>
                  <a:lnTo>
                    <a:pt x="1097" y="75"/>
                  </a:lnTo>
                  <a:lnTo>
                    <a:pt x="1098" y="80"/>
                  </a:lnTo>
                  <a:lnTo>
                    <a:pt x="1105" y="85"/>
                  </a:lnTo>
                  <a:lnTo>
                    <a:pt x="1102" y="90"/>
                  </a:lnTo>
                  <a:lnTo>
                    <a:pt x="1108" y="94"/>
                  </a:lnTo>
                  <a:lnTo>
                    <a:pt x="1114" y="99"/>
                  </a:lnTo>
                  <a:lnTo>
                    <a:pt x="1110" y="106"/>
                  </a:lnTo>
                  <a:lnTo>
                    <a:pt x="1115" y="106"/>
                  </a:lnTo>
                  <a:lnTo>
                    <a:pt x="1117" y="99"/>
                  </a:lnTo>
                  <a:lnTo>
                    <a:pt x="1124" y="99"/>
                  </a:lnTo>
                  <a:lnTo>
                    <a:pt x="1131" y="94"/>
                  </a:lnTo>
                  <a:lnTo>
                    <a:pt x="1131" y="90"/>
                  </a:lnTo>
                  <a:lnTo>
                    <a:pt x="1139" y="94"/>
                  </a:lnTo>
                  <a:lnTo>
                    <a:pt x="1141" y="87"/>
                  </a:lnTo>
                  <a:lnTo>
                    <a:pt x="1129" y="87"/>
                  </a:lnTo>
                  <a:lnTo>
                    <a:pt x="1134" y="80"/>
                  </a:lnTo>
                  <a:lnTo>
                    <a:pt x="1141" y="77"/>
                  </a:lnTo>
                  <a:lnTo>
                    <a:pt x="1149" y="82"/>
                  </a:lnTo>
                  <a:lnTo>
                    <a:pt x="1156" y="80"/>
                  </a:lnTo>
                  <a:lnTo>
                    <a:pt x="1163" y="89"/>
                  </a:lnTo>
                  <a:lnTo>
                    <a:pt x="1171" y="89"/>
                  </a:lnTo>
                  <a:lnTo>
                    <a:pt x="1178" y="97"/>
                  </a:lnTo>
                  <a:lnTo>
                    <a:pt x="1182" y="92"/>
                  </a:lnTo>
                  <a:lnTo>
                    <a:pt x="1183" y="101"/>
                  </a:lnTo>
                  <a:lnTo>
                    <a:pt x="1195" y="96"/>
                  </a:lnTo>
                  <a:lnTo>
                    <a:pt x="1202" y="104"/>
                  </a:lnTo>
                  <a:lnTo>
                    <a:pt x="1205" y="102"/>
                  </a:lnTo>
                  <a:lnTo>
                    <a:pt x="1202" y="96"/>
                  </a:lnTo>
                  <a:lnTo>
                    <a:pt x="1204" y="92"/>
                  </a:lnTo>
                  <a:lnTo>
                    <a:pt x="1207" y="94"/>
                  </a:lnTo>
                  <a:lnTo>
                    <a:pt x="1219" y="92"/>
                  </a:lnTo>
                  <a:lnTo>
                    <a:pt x="1224" y="87"/>
                  </a:lnTo>
                  <a:lnTo>
                    <a:pt x="1234" y="90"/>
                  </a:lnTo>
                  <a:lnTo>
                    <a:pt x="1238" y="94"/>
                  </a:lnTo>
                  <a:lnTo>
                    <a:pt x="1239" y="97"/>
                  </a:lnTo>
                  <a:lnTo>
                    <a:pt x="1244" y="90"/>
                  </a:lnTo>
                  <a:lnTo>
                    <a:pt x="1244" y="97"/>
                  </a:lnTo>
                  <a:lnTo>
                    <a:pt x="1250" y="106"/>
                  </a:lnTo>
                  <a:lnTo>
                    <a:pt x="1244" y="111"/>
                  </a:lnTo>
                  <a:lnTo>
                    <a:pt x="1250" y="111"/>
                  </a:lnTo>
                  <a:lnTo>
                    <a:pt x="1253" y="119"/>
                  </a:lnTo>
                  <a:lnTo>
                    <a:pt x="1258" y="123"/>
                  </a:lnTo>
                  <a:lnTo>
                    <a:pt x="1260" y="135"/>
                  </a:lnTo>
                  <a:lnTo>
                    <a:pt x="1267" y="130"/>
                  </a:lnTo>
                  <a:lnTo>
                    <a:pt x="1272" y="126"/>
                  </a:lnTo>
                  <a:lnTo>
                    <a:pt x="1280" y="125"/>
                  </a:lnTo>
                  <a:lnTo>
                    <a:pt x="1289" y="128"/>
                  </a:lnTo>
                  <a:lnTo>
                    <a:pt x="1290" y="138"/>
                  </a:lnTo>
                  <a:lnTo>
                    <a:pt x="1294" y="140"/>
                  </a:lnTo>
                  <a:lnTo>
                    <a:pt x="1297" y="136"/>
                  </a:lnTo>
                  <a:lnTo>
                    <a:pt x="1299" y="142"/>
                  </a:lnTo>
                  <a:lnTo>
                    <a:pt x="1304" y="140"/>
                  </a:lnTo>
                  <a:lnTo>
                    <a:pt x="1309" y="147"/>
                  </a:lnTo>
                  <a:lnTo>
                    <a:pt x="1316" y="143"/>
                  </a:lnTo>
                  <a:lnTo>
                    <a:pt x="1318" y="152"/>
                  </a:lnTo>
                  <a:lnTo>
                    <a:pt x="1314" y="155"/>
                  </a:lnTo>
                  <a:lnTo>
                    <a:pt x="1314" y="159"/>
                  </a:lnTo>
                  <a:lnTo>
                    <a:pt x="1318" y="155"/>
                  </a:lnTo>
                  <a:lnTo>
                    <a:pt x="1331" y="153"/>
                  </a:lnTo>
                  <a:lnTo>
                    <a:pt x="1340" y="157"/>
                  </a:lnTo>
                  <a:lnTo>
                    <a:pt x="1341" y="159"/>
                  </a:lnTo>
                  <a:lnTo>
                    <a:pt x="1350" y="165"/>
                  </a:lnTo>
                  <a:lnTo>
                    <a:pt x="1350" y="176"/>
                  </a:lnTo>
                  <a:lnTo>
                    <a:pt x="1355" y="176"/>
                  </a:lnTo>
                  <a:lnTo>
                    <a:pt x="1353" y="184"/>
                  </a:lnTo>
                  <a:lnTo>
                    <a:pt x="1358" y="184"/>
                  </a:lnTo>
                  <a:lnTo>
                    <a:pt x="1365" y="194"/>
                  </a:lnTo>
                  <a:lnTo>
                    <a:pt x="1370" y="194"/>
                  </a:lnTo>
                  <a:lnTo>
                    <a:pt x="1369" y="203"/>
                  </a:lnTo>
                  <a:lnTo>
                    <a:pt x="1372" y="204"/>
                  </a:lnTo>
                  <a:lnTo>
                    <a:pt x="1377" y="211"/>
                  </a:lnTo>
                  <a:lnTo>
                    <a:pt x="1382" y="215"/>
                  </a:lnTo>
                  <a:lnTo>
                    <a:pt x="1387" y="223"/>
                  </a:lnTo>
                  <a:lnTo>
                    <a:pt x="1397" y="221"/>
                  </a:lnTo>
                  <a:lnTo>
                    <a:pt x="1409" y="220"/>
                  </a:lnTo>
                  <a:lnTo>
                    <a:pt x="1409" y="210"/>
                  </a:lnTo>
                  <a:lnTo>
                    <a:pt x="1414" y="204"/>
                  </a:lnTo>
                  <a:lnTo>
                    <a:pt x="1425" y="206"/>
                  </a:lnTo>
                  <a:lnTo>
                    <a:pt x="1413" y="213"/>
                  </a:lnTo>
                  <a:lnTo>
                    <a:pt x="1411" y="211"/>
                  </a:lnTo>
                  <a:lnTo>
                    <a:pt x="1409" y="215"/>
                  </a:lnTo>
                  <a:lnTo>
                    <a:pt x="1416" y="218"/>
                  </a:lnTo>
                  <a:lnTo>
                    <a:pt x="1411" y="225"/>
                  </a:lnTo>
                  <a:lnTo>
                    <a:pt x="1414" y="228"/>
                  </a:lnTo>
                  <a:lnTo>
                    <a:pt x="1423" y="228"/>
                  </a:lnTo>
                  <a:lnTo>
                    <a:pt x="1428" y="238"/>
                  </a:lnTo>
                  <a:lnTo>
                    <a:pt x="1430" y="247"/>
                  </a:lnTo>
                  <a:lnTo>
                    <a:pt x="1420" y="252"/>
                  </a:lnTo>
                  <a:lnTo>
                    <a:pt x="1416" y="250"/>
                  </a:lnTo>
                  <a:lnTo>
                    <a:pt x="1411" y="256"/>
                  </a:lnTo>
                  <a:lnTo>
                    <a:pt x="1401" y="259"/>
                  </a:lnTo>
                  <a:lnTo>
                    <a:pt x="1399" y="262"/>
                  </a:lnTo>
                  <a:lnTo>
                    <a:pt x="1399" y="267"/>
                  </a:lnTo>
                  <a:lnTo>
                    <a:pt x="1409" y="274"/>
                  </a:lnTo>
                  <a:lnTo>
                    <a:pt x="1409" y="281"/>
                  </a:lnTo>
                  <a:lnTo>
                    <a:pt x="1408" y="290"/>
                  </a:lnTo>
                  <a:lnTo>
                    <a:pt x="1406" y="293"/>
                  </a:lnTo>
                  <a:lnTo>
                    <a:pt x="1408" y="300"/>
                  </a:lnTo>
                  <a:lnTo>
                    <a:pt x="1413" y="303"/>
                  </a:lnTo>
                  <a:lnTo>
                    <a:pt x="1404" y="308"/>
                  </a:lnTo>
                  <a:lnTo>
                    <a:pt x="1406" y="317"/>
                  </a:lnTo>
                  <a:lnTo>
                    <a:pt x="1401" y="317"/>
                  </a:lnTo>
                  <a:lnTo>
                    <a:pt x="1401" y="327"/>
                  </a:lnTo>
                  <a:lnTo>
                    <a:pt x="1392" y="334"/>
                  </a:lnTo>
                  <a:lnTo>
                    <a:pt x="1397" y="344"/>
                  </a:lnTo>
                  <a:lnTo>
                    <a:pt x="1391" y="346"/>
                  </a:lnTo>
                  <a:lnTo>
                    <a:pt x="1387" y="354"/>
                  </a:lnTo>
                  <a:lnTo>
                    <a:pt x="1387" y="359"/>
                  </a:lnTo>
                  <a:lnTo>
                    <a:pt x="1380" y="368"/>
                  </a:lnTo>
                  <a:lnTo>
                    <a:pt x="1384" y="373"/>
                  </a:lnTo>
                  <a:lnTo>
                    <a:pt x="1391" y="380"/>
                  </a:lnTo>
                  <a:lnTo>
                    <a:pt x="1391" y="388"/>
                  </a:lnTo>
                  <a:lnTo>
                    <a:pt x="1389" y="392"/>
                  </a:lnTo>
                  <a:lnTo>
                    <a:pt x="1391" y="402"/>
                  </a:lnTo>
                  <a:lnTo>
                    <a:pt x="1382" y="405"/>
                  </a:lnTo>
                  <a:lnTo>
                    <a:pt x="1377" y="412"/>
                  </a:lnTo>
                  <a:lnTo>
                    <a:pt x="1380" y="415"/>
                  </a:lnTo>
                  <a:lnTo>
                    <a:pt x="1379" y="419"/>
                  </a:lnTo>
                  <a:lnTo>
                    <a:pt x="1377" y="421"/>
                  </a:lnTo>
                  <a:lnTo>
                    <a:pt x="1363" y="424"/>
                  </a:lnTo>
                  <a:lnTo>
                    <a:pt x="1362" y="421"/>
                  </a:lnTo>
                  <a:lnTo>
                    <a:pt x="1352" y="426"/>
                  </a:lnTo>
                  <a:lnTo>
                    <a:pt x="1343" y="427"/>
                  </a:lnTo>
                  <a:lnTo>
                    <a:pt x="1343" y="432"/>
                  </a:lnTo>
                  <a:lnTo>
                    <a:pt x="1336" y="438"/>
                  </a:lnTo>
                  <a:lnTo>
                    <a:pt x="1331" y="441"/>
                  </a:lnTo>
                  <a:lnTo>
                    <a:pt x="1331" y="443"/>
                  </a:lnTo>
                  <a:lnTo>
                    <a:pt x="1329" y="446"/>
                  </a:lnTo>
                  <a:lnTo>
                    <a:pt x="1324" y="455"/>
                  </a:lnTo>
                  <a:lnTo>
                    <a:pt x="1314" y="455"/>
                  </a:lnTo>
                  <a:lnTo>
                    <a:pt x="1311" y="458"/>
                  </a:lnTo>
                  <a:lnTo>
                    <a:pt x="1301" y="463"/>
                  </a:lnTo>
                  <a:lnTo>
                    <a:pt x="1301" y="468"/>
                  </a:lnTo>
                  <a:lnTo>
                    <a:pt x="1292" y="472"/>
                  </a:lnTo>
                  <a:lnTo>
                    <a:pt x="1282" y="468"/>
                  </a:lnTo>
                  <a:lnTo>
                    <a:pt x="1277" y="477"/>
                  </a:lnTo>
                  <a:lnTo>
                    <a:pt x="1273" y="480"/>
                  </a:lnTo>
                  <a:lnTo>
                    <a:pt x="1267" y="487"/>
                  </a:lnTo>
                  <a:lnTo>
                    <a:pt x="1272" y="494"/>
                  </a:lnTo>
                  <a:lnTo>
                    <a:pt x="1267" y="500"/>
                  </a:lnTo>
                  <a:lnTo>
                    <a:pt x="1260" y="495"/>
                  </a:lnTo>
                  <a:lnTo>
                    <a:pt x="1258" y="499"/>
                  </a:lnTo>
                  <a:lnTo>
                    <a:pt x="1251" y="506"/>
                  </a:lnTo>
                  <a:lnTo>
                    <a:pt x="1241" y="500"/>
                  </a:lnTo>
                  <a:lnTo>
                    <a:pt x="1234" y="502"/>
                  </a:lnTo>
                  <a:lnTo>
                    <a:pt x="1209" y="507"/>
                  </a:lnTo>
                  <a:lnTo>
                    <a:pt x="1207" y="516"/>
                  </a:lnTo>
                  <a:lnTo>
                    <a:pt x="1200" y="521"/>
                  </a:lnTo>
                  <a:lnTo>
                    <a:pt x="1200" y="528"/>
                  </a:lnTo>
                  <a:lnTo>
                    <a:pt x="1193" y="531"/>
                  </a:lnTo>
                  <a:lnTo>
                    <a:pt x="1187" y="540"/>
                  </a:lnTo>
                  <a:lnTo>
                    <a:pt x="1188" y="543"/>
                  </a:lnTo>
                  <a:lnTo>
                    <a:pt x="1185" y="553"/>
                  </a:lnTo>
                  <a:lnTo>
                    <a:pt x="1180" y="560"/>
                  </a:lnTo>
                  <a:lnTo>
                    <a:pt x="1176" y="557"/>
                  </a:lnTo>
                  <a:lnTo>
                    <a:pt x="1166" y="562"/>
                  </a:lnTo>
                  <a:lnTo>
                    <a:pt x="1165" y="560"/>
                  </a:lnTo>
                  <a:lnTo>
                    <a:pt x="1161" y="553"/>
                  </a:lnTo>
                  <a:lnTo>
                    <a:pt x="1165" y="545"/>
                  </a:lnTo>
                  <a:lnTo>
                    <a:pt x="1156" y="541"/>
                  </a:lnTo>
                  <a:lnTo>
                    <a:pt x="1151" y="536"/>
                  </a:lnTo>
                  <a:lnTo>
                    <a:pt x="1142" y="538"/>
                  </a:lnTo>
                  <a:lnTo>
                    <a:pt x="1137" y="534"/>
                  </a:lnTo>
                  <a:lnTo>
                    <a:pt x="1136" y="526"/>
                  </a:lnTo>
                  <a:lnTo>
                    <a:pt x="1137" y="519"/>
                  </a:lnTo>
                  <a:lnTo>
                    <a:pt x="1132" y="512"/>
                  </a:lnTo>
                  <a:lnTo>
                    <a:pt x="1125" y="507"/>
                  </a:lnTo>
                  <a:lnTo>
                    <a:pt x="1117" y="509"/>
                  </a:lnTo>
                  <a:lnTo>
                    <a:pt x="1108" y="517"/>
                  </a:lnTo>
                  <a:lnTo>
                    <a:pt x="1097" y="516"/>
                  </a:lnTo>
                  <a:lnTo>
                    <a:pt x="1093" y="517"/>
                  </a:lnTo>
                  <a:lnTo>
                    <a:pt x="1091" y="516"/>
                  </a:lnTo>
                  <a:lnTo>
                    <a:pt x="1088" y="519"/>
                  </a:lnTo>
                  <a:lnTo>
                    <a:pt x="1078" y="516"/>
                  </a:lnTo>
                  <a:lnTo>
                    <a:pt x="1073" y="519"/>
                  </a:lnTo>
                  <a:lnTo>
                    <a:pt x="1064" y="523"/>
                  </a:lnTo>
                  <a:lnTo>
                    <a:pt x="1059" y="521"/>
                  </a:lnTo>
                  <a:lnTo>
                    <a:pt x="1059" y="526"/>
                  </a:lnTo>
                  <a:lnTo>
                    <a:pt x="1051" y="533"/>
                  </a:lnTo>
                  <a:lnTo>
                    <a:pt x="1051" y="536"/>
                  </a:lnTo>
                  <a:lnTo>
                    <a:pt x="1046" y="543"/>
                  </a:lnTo>
                  <a:lnTo>
                    <a:pt x="1034" y="540"/>
                  </a:lnTo>
                  <a:lnTo>
                    <a:pt x="1029" y="545"/>
                  </a:lnTo>
                  <a:lnTo>
                    <a:pt x="1022" y="541"/>
                  </a:lnTo>
                  <a:lnTo>
                    <a:pt x="1015" y="540"/>
                  </a:lnTo>
                  <a:lnTo>
                    <a:pt x="1006" y="545"/>
                  </a:lnTo>
                  <a:lnTo>
                    <a:pt x="1003" y="540"/>
                  </a:lnTo>
                  <a:lnTo>
                    <a:pt x="996" y="550"/>
                  </a:lnTo>
                  <a:lnTo>
                    <a:pt x="995" y="548"/>
                  </a:lnTo>
                  <a:lnTo>
                    <a:pt x="988" y="553"/>
                  </a:lnTo>
                  <a:lnTo>
                    <a:pt x="986" y="551"/>
                  </a:lnTo>
                  <a:lnTo>
                    <a:pt x="986" y="557"/>
                  </a:lnTo>
                  <a:lnTo>
                    <a:pt x="981" y="560"/>
                  </a:lnTo>
                  <a:lnTo>
                    <a:pt x="979" y="563"/>
                  </a:lnTo>
                  <a:lnTo>
                    <a:pt x="972" y="572"/>
                  </a:lnTo>
                  <a:lnTo>
                    <a:pt x="967" y="572"/>
                  </a:lnTo>
                  <a:lnTo>
                    <a:pt x="967" y="579"/>
                  </a:lnTo>
                  <a:lnTo>
                    <a:pt x="959" y="584"/>
                  </a:lnTo>
                  <a:lnTo>
                    <a:pt x="961" y="589"/>
                  </a:lnTo>
                  <a:lnTo>
                    <a:pt x="952" y="587"/>
                  </a:lnTo>
                  <a:lnTo>
                    <a:pt x="950" y="591"/>
                  </a:lnTo>
                  <a:lnTo>
                    <a:pt x="945" y="587"/>
                  </a:lnTo>
                  <a:lnTo>
                    <a:pt x="937" y="580"/>
                  </a:lnTo>
                  <a:lnTo>
                    <a:pt x="932" y="584"/>
                  </a:lnTo>
                  <a:lnTo>
                    <a:pt x="932" y="589"/>
                  </a:lnTo>
                  <a:lnTo>
                    <a:pt x="925" y="589"/>
                  </a:lnTo>
                  <a:lnTo>
                    <a:pt x="923" y="599"/>
                  </a:lnTo>
                  <a:lnTo>
                    <a:pt x="918" y="599"/>
                  </a:lnTo>
                  <a:lnTo>
                    <a:pt x="915" y="596"/>
                  </a:lnTo>
                  <a:lnTo>
                    <a:pt x="911" y="599"/>
                  </a:lnTo>
                  <a:lnTo>
                    <a:pt x="910" y="596"/>
                  </a:lnTo>
                  <a:lnTo>
                    <a:pt x="904" y="601"/>
                  </a:lnTo>
                  <a:lnTo>
                    <a:pt x="901" y="599"/>
                  </a:lnTo>
                  <a:lnTo>
                    <a:pt x="889" y="594"/>
                  </a:lnTo>
                  <a:lnTo>
                    <a:pt x="891" y="604"/>
                  </a:lnTo>
                  <a:lnTo>
                    <a:pt x="881" y="608"/>
                  </a:lnTo>
                  <a:lnTo>
                    <a:pt x="881" y="614"/>
                  </a:lnTo>
                  <a:lnTo>
                    <a:pt x="876" y="616"/>
                  </a:lnTo>
                  <a:lnTo>
                    <a:pt x="877" y="625"/>
                  </a:lnTo>
                  <a:lnTo>
                    <a:pt x="870" y="623"/>
                  </a:lnTo>
                  <a:lnTo>
                    <a:pt x="867" y="633"/>
                  </a:lnTo>
                  <a:lnTo>
                    <a:pt x="859" y="633"/>
                  </a:lnTo>
                  <a:lnTo>
                    <a:pt x="867" y="642"/>
                  </a:lnTo>
                  <a:lnTo>
                    <a:pt x="859" y="643"/>
                  </a:lnTo>
                  <a:lnTo>
                    <a:pt x="859" y="652"/>
                  </a:lnTo>
                  <a:lnTo>
                    <a:pt x="847" y="657"/>
                  </a:lnTo>
                  <a:lnTo>
                    <a:pt x="850" y="665"/>
                  </a:lnTo>
                  <a:lnTo>
                    <a:pt x="842" y="665"/>
                  </a:lnTo>
                  <a:lnTo>
                    <a:pt x="840" y="671"/>
                  </a:lnTo>
                  <a:lnTo>
                    <a:pt x="833" y="674"/>
                  </a:lnTo>
                  <a:lnTo>
                    <a:pt x="830" y="679"/>
                  </a:lnTo>
                  <a:lnTo>
                    <a:pt x="825" y="681"/>
                  </a:lnTo>
                  <a:lnTo>
                    <a:pt x="826" y="686"/>
                  </a:lnTo>
                  <a:lnTo>
                    <a:pt x="833" y="686"/>
                  </a:lnTo>
                  <a:lnTo>
                    <a:pt x="830" y="691"/>
                  </a:lnTo>
                  <a:lnTo>
                    <a:pt x="823" y="696"/>
                  </a:lnTo>
                  <a:lnTo>
                    <a:pt x="818" y="696"/>
                  </a:lnTo>
                  <a:lnTo>
                    <a:pt x="816" y="701"/>
                  </a:lnTo>
                  <a:lnTo>
                    <a:pt x="808" y="699"/>
                  </a:lnTo>
                  <a:lnTo>
                    <a:pt x="813" y="706"/>
                  </a:lnTo>
                  <a:lnTo>
                    <a:pt x="802" y="710"/>
                  </a:lnTo>
                  <a:lnTo>
                    <a:pt x="801" y="720"/>
                  </a:lnTo>
                  <a:lnTo>
                    <a:pt x="794" y="718"/>
                  </a:lnTo>
                  <a:lnTo>
                    <a:pt x="799" y="728"/>
                  </a:lnTo>
                  <a:lnTo>
                    <a:pt x="791" y="730"/>
                  </a:lnTo>
                  <a:lnTo>
                    <a:pt x="787" y="739"/>
                  </a:lnTo>
                  <a:lnTo>
                    <a:pt x="780" y="742"/>
                  </a:lnTo>
                  <a:lnTo>
                    <a:pt x="782" y="751"/>
                  </a:lnTo>
                  <a:lnTo>
                    <a:pt x="774" y="749"/>
                  </a:lnTo>
                  <a:lnTo>
                    <a:pt x="767" y="754"/>
                  </a:lnTo>
                  <a:lnTo>
                    <a:pt x="767" y="762"/>
                  </a:lnTo>
                  <a:lnTo>
                    <a:pt x="760" y="761"/>
                  </a:lnTo>
                  <a:lnTo>
                    <a:pt x="750" y="769"/>
                  </a:lnTo>
                  <a:lnTo>
                    <a:pt x="745" y="766"/>
                  </a:lnTo>
                  <a:lnTo>
                    <a:pt x="740" y="773"/>
                  </a:lnTo>
                  <a:lnTo>
                    <a:pt x="728" y="771"/>
                  </a:lnTo>
                  <a:lnTo>
                    <a:pt x="717" y="774"/>
                  </a:lnTo>
                  <a:lnTo>
                    <a:pt x="714" y="781"/>
                  </a:lnTo>
                  <a:lnTo>
                    <a:pt x="709" y="785"/>
                  </a:lnTo>
                  <a:lnTo>
                    <a:pt x="704" y="779"/>
                  </a:lnTo>
                  <a:lnTo>
                    <a:pt x="702" y="791"/>
                  </a:lnTo>
                  <a:lnTo>
                    <a:pt x="695" y="785"/>
                  </a:lnTo>
                  <a:lnTo>
                    <a:pt x="692" y="786"/>
                  </a:lnTo>
                  <a:lnTo>
                    <a:pt x="694" y="791"/>
                  </a:lnTo>
                  <a:lnTo>
                    <a:pt x="690" y="796"/>
                  </a:lnTo>
                  <a:lnTo>
                    <a:pt x="695" y="802"/>
                  </a:lnTo>
                  <a:lnTo>
                    <a:pt x="702" y="808"/>
                  </a:lnTo>
                  <a:lnTo>
                    <a:pt x="709" y="813"/>
                  </a:lnTo>
                  <a:lnTo>
                    <a:pt x="707" y="813"/>
                  </a:lnTo>
                  <a:lnTo>
                    <a:pt x="711" y="815"/>
                  </a:lnTo>
                  <a:lnTo>
                    <a:pt x="714" y="822"/>
                  </a:lnTo>
                  <a:lnTo>
                    <a:pt x="714" y="824"/>
                  </a:lnTo>
                  <a:lnTo>
                    <a:pt x="719" y="837"/>
                  </a:lnTo>
                  <a:lnTo>
                    <a:pt x="721" y="841"/>
                  </a:lnTo>
                  <a:lnTo>
                    <a:pt x="726" y="851"/>
                  </a:lnTo>
                  <a:lnTo>
                    <a:pt x="729" y="861"/>
                  </a:lnTo>
                  <a:lnTo>
                    <a:pt x="731" y="863"/>
                  </a:lnTo>
                  <a:lnTo>
                    <a:pt x="734" y="871"/>
                  </a:lnTo>
                  <a:lnTo>
                    <a:pt x="734" y="873"/>
                  </a:lnTo>
                  <a:lnTo>
                    <a:pt x="740" y="883"/>
                  </a:lnTo>
                  <a:lnTo>
                    <a:pt x="741" y="887"/>
                  </a:lnTo>
                  <a:lnTo>
                    <a:pt x="740" y="890"/>
                  </a:lnTo>
                  <a:lnTo>
                    <a:pt x="743" y="890"/>
                  </a:lnTo>
                  <a:lnTo>
                    <a:pt x="751" y="895"/>
                  </a:lnTo>
                  <a:lnTo>
                    <a:pt x="751" y="899"/>
                  </a:lnTo>
                  <a:lnTo>
                    <a:pt x="758" y="902"/>
                  </a:lnTo>
                  <a:lnTo>
                    <a:pt x="765" y="924"/>
                  </a:lnTo>
                  <a:lnTo>
                    <a:pt x="765" y="927"/>
                  </a:lnTo>
                  <a:lnTo>
                    <a:pt x="770" y="926"/>
                  </a:lnTo>
                  <a:lnTo>
                    <a:pt x="782" y="926"/>
                  </a:lnTo>
                  <a:lnTo>
                    <a:pt x="785" y="924"/>
                  </a:lnTo>
                  <a:lnTo>
                    <a:pt x="787" y="926"/>
                  </a:lnTo>
                  <a:lnTo>
                    <a:pt x="780" y="934"/>
                  </a:lnTo>
                  <a:lnTo>
                    <a:pt x="780" y="939"/>
                  </a:lnTo>
                  <a:lnTo>
                    <a:pt x="775" y="939"/>
                  </a:lnTo>
                  <a:lnTo>
                    <a:pt x="779" y="941"/>
                  </a:lnTo>
                  <a:lnTo>
                    <a:pt x="775" y="946"/>
                  </a:lnTo>
                  <a:lnTo>
                    <a:pt x="777" y="948"/>
                  </a:lnTo>
                  <a:lnTo>
                    <a:pt x="775" y="958"/>
                  </a:lnTo>
                  <a:lnTo>
                    <a:pt x="775" y="960"/>
                  </a:lnTo>
                  <a:lnTo>
                    <a:pt x="780" y="963"/>
                  </a:lnTo>
                  <a:lnTo>
                    <a:pt x="779" y="967"/>
                  </a:lnTo>
                  <a:lnTo>
                    <a:pt x="782" y="970"/>
                  </a:lnTo>
                  <a:lnTo>
                    <a:pt x="777" y="975"/>
                  </a:lnTo>
                  <a:lnTo>
                    <a:pt x="770" y="975"/>
                  </a:lnTo>
                  <a:lnTo>
                    <a:pt x="774" y="977"/>
                  </a:lnTo>
                  <a:lnTo>
                    <a:pt x="775" y="987"/>
                  </a:lnTo>
                  <a:lnTo>
                    <a:pt x="782" y="984"/>
                  </a:lnTo>
                  <a:lnTo>
                    <a:pt x="784" y="992"/>
                  </a:lnTo>
                  <a:lnTo>
                    <a:pt x="775" y="995"/>
                  </a:lnTo>
                  <a:lnTo>
                    <a:pt x="767" y="994"/>
                  </a:lnTo>
                  <a:lnTo>
                    <a:pt x="762" y="1001"/>
                  </a:lnTo>
                  <a:lnTo>
                    <a:pt x="772" y="1001"/>
                  </a:lnTo>
                  <a:lnTo>
                    <a:pt x="774" y="1004"/>
                  </a:lnTo>
                  <a:lnTo>
                    <a:pt x="767" y="1007"/>
                  </a:lnTo>
                  <a:lnTo>
                    <a:pt x="757" y="1006"/>
                  </a:lnTo>
                  <a:lnTo>
                    <a:pt x="755" y="1011"/>
                  </a:lnTo>
                  <a:lnTo>
                    <a:pt x="763" y="1016"/>
                  </a:lnTo>
                  <a:lnTo>
                    <a:pt x="755" y="1019"/>
                  </a:lnTo>
                  <a:lnTo>
                    <a:pt x="755" y="1024"/>
                  </a:lnTo>
                  <a:lnTo>
                    <a:pt x="743" y="1021"/>
                  </a:lnTo>
                  <a:lnTo>
                    <a:pt x="740" y="1016"/>
                  </a:lnTo>
                  <a:lnTo>
                    <a:pt x="736" y="1023"/>
                  </a:lnTo>
                  <a:lnTo>
                    <a:pt x="733" y="1018"/>
                  </a:lnTo>
                  <a:lnTo>
                    <a:pt x="726" y="1028"/>
                  </a:lnTo>
                  <a:lnTo>
                    <a:pt x="721" y="1024"/>
                  </a:lnTo>
                  <a:lnTo>
                    <a:pt x="711" y="1023"/>
                  </a:lnTo>
                  <a:lnTo>
                    <a:pt x="712" y="1029"/>
                  </a:lnTo>
                  <a:lnTo>
                    <a:pt x="704" y="1036"/>
                  </a:lnTo>
                  <a:lnTo>
                    <a:pt x="699" y="1028"/>
                  </a:lnTo>
                  <a:lnTo>
                    <a:pt x="689" y="1029"/>
                  </a:lnTo>
                  <a:lnTo>
                    <a:pt x="678" y="1031"/>
                  </a:lnTo>
                  <a:lnTo>
                    <a:pt x="678" y="1035"/>
                  </a:lnTo>
                  <a:lnTo>
                    <a:pt x="687" y="1041"/>
                  </a:lnTo>
                  <a:lnTo>
                    <a:pt x="685" y="1047"/>
                  </a:lnTo>
                  <a:lnTo>
                    <a:pt x="680" y="1048"/>
                  </a:lnTo>
                  <a:lnTo>
                    <a:pt x="677" y="1045"/>
                  </a:lnTo>
                  <a:lnTo>
                    <a:pt x="672" y="1047"/>
                  </a:lnTo>
                  <a:lnTo>
                    <a:pt x="663" y="1048"/>
                  </a:lnTo>
                  <a:lnTo>
                    <a:pt x="658" y="1053"/>
                  </a:lnTo>
                  <a:lnTo>
                    <a:pt x="663" y="1062"/>
                  </a:lnTo>
                  <a:lnTo>
                    <a:pt x="651" y="1065"/>
                  </a:lnTo>
                  <a:lnTo>
                    <a:pt x="644" y="1064"/>
                  </a:lnTo>
                  <a:lnTo>
                    <a:pt x="641" y="1069"/>
                  </a:lnTo>
                  <a:lnTo>
                    <a:pt x="636" y="1069"/>
                  </a:lnTo>
                  <a:lnTo>
                    <a:pt x="634" y="1065"/>
                  </a:lnTo>
                  <a:lnTo>
                    <a:pt x="626" y="1057"/>
                  </a:lnTo>
                  <a:lnTo>
                    <a:pt x="619" y="1060"/>
                  </a:lnTo>
                  <a:lnTo>
                    <a:pt x="612" y="1065"/>
                  </a:lnTo>
                  <a:lnTo>
                    <a:pt x="605" y="1065"/>
                  </a:lnTo>
                  <a:lnTo>
                    <a:pt x="598" y="1070"/>
                  </a:lnTo>
                  <a:lnTo>
                    <a:pt x="592" y="1065"/>
                  </a:lnTo>
                  <a:lnTo>
                    <a:pt x="587" y="1070"/>
                  </a:lnTo>
                  <a:lnTo>
                    <a:pt x="580" y="1072"/>
                  </a:lnTo>
                  <a:lnTo>
                    <a:pt x="580" y="1064"/>
                  </a:lnTo>
                  <a:lnTo>
                    <a:pt x="571" y="1064"/>
                  </a:lnTo>
                  <a:lnTo>
                    <a:pt x="566" y="1065"/>
                  </a:lnTo>
                  <a:lnTo>
                    <a:pt x="563" y="1064"/>
                  </a:lnTo>
                  <a:lnTo>
                    <a:pt x="553" y="1058"/>
                  </a:lnTo>
                  <a:lnTo>
                    <a:pt x="549" y="1055"/>
                  </a:lnTo>
                  <a:lnTo>
                    <a:pt x="542" y="1055"/>
                  </a:lnTo>
                  <a:lnTo>
                    <a:pt x="546" y="1045"/>
                  </a:lnTo>
                  <a:lnTo>
                    <a:pt x="536" y="1040"/>
                  </a:lnTo>
                  <a:lnTo>
                    <a:pt x="527" y="1038"/>
                  </a:lnTo>
                  <a:lnTo>
                    <a:pt x="515" y="1041"/>
                  </a:lnTo>
                  <a:lnTo>
                    <a:pt x="510" y="1047"/>
                  </a:lnTo>
                  <a:lnTo>
                    <a:pt x="500" y="1043"/>
                  </a:lnTo>
                  <a:lnTo>
                    <a:pt x="491" y="1045"/>
                  </a:lnTo>
                  <a:lnTo>
                    <a:pt x="488" y="1038"/>
                  </a:lnTo>
                  <a:lnTo>
                    <a:pt x="488" y="1031"/>
                  </a:lnTo>
                  <a:lnTo>
                    <a:pt x="476" y="1029"/>
                  </a:lnTo>
                  <a:lnTo>
                    <a:pt x="471" y="1029"/>
                  </a:lnTo>
                  <a:lnTo>
                    <a:pt x="469" y="1021"/>
                  </a:lnTo>
                  <a:lnTo>
                    <a:pt x="462" y="1016"/>
                  </a:lnTo>
                  <a:lnTo>
                    <a:pt x="454" y="1021"/>
                  </a:lnTo>
                  <a:lnTo>
                    <a:pt x="457" y="1024"/>
                  </a:lnTo>
                  <a:lnTo>
                    <a:pt x="456" y="1031"/>
                  </a:lnTo>
                  <a:lnTo>
                    <a:pt x="451" y="1029"/>
                  </a:lnTo>
                  <a:lnTo>
                    <a:pt x="444" y="1024"/>
                  </a:lnTo>
                  <a:lnTo>
                    <a:pt x="434" y="1026"/>
                  </a:lnTo>
                  <a:lnTo>
                    <a:pt x="427" y="1029"/>
                  </a:lnTo>
                  <a:lnTo>
                    <a:pt x="418" y="1029"/>
                  </a:lnTo>
                  <a:lnTo>
                    <a:pt x="413" y="1031"/>
                  </a:lnTo>
                  <a:lnTo>
                    <a:pt x="405" y="1036"/>
                  </a:lnTo>
                  <a:lnTo>
                    <a:pt x="401" y="1043"/>
                  </a:lnTo>
                  <a:lnTo>
                    <a:pt x="400" y="1041"/>
                  </a:lnTo>
                  <a:lnTo>
                    <a:pt x="394" y="1031"/>
                  </a:lnTo>
                  <a:lnTo>
                    <a:pt x="391" y="1031"/>
                  </a:lnTo>
                  <a:lnTo>
                    <a:pt x="386" y="1036"/>
                  </a:lnTo>
                  <a:lnTo>
                    <a:pt x="391" y="1047"/>
                  </a:lnTo>
                  <a:lnTo>
                    <a:pt x="391" y="1050"/>
                  </a:lnTo>
                  <a:lnTo>
                    <a:pt x="383" y="1050"/>
                  </a:lnTo>
                  <a:lnTo>
                    <a:pt x="379" y="1057"/>
                  </a:lnTo>
                  <a:lnTo>
                    <a:pt x="376" y="1055"/>
                  </a:lnTo>
                  <a:lnTo>
                    <a:pt x="366" y="1057"/>
                  </a:lnTo>
                  <a:lnTo>
                    <a:pt x="362" y="1060"/>
                  </a:lnTo>
                  <a:lnTo>
                    <a:pt x="360" y="1069"/>
                  </a:lnTo>
                  <a:lnTo>
                    <a:pt x="357" y="1070"/>
                  </a:lnTo>
                  <a:lnTo>
                    <a:pt x="354" y="1069"/>
                  </a:lnTo>
                  <a:lnTo>
                    <a:pt x="345" y="1069"/>
                  </a:lnTo>
                  <a:lnTo>
                    <a:pt x="338" y="1067"/>
                  </a:lnTo>
                  <a:lnTo>
                    <a:pt x="335" y="1058"/>
                  </a:lnTo>
                  <a:lnTo>
                    <a:pt x="325" y="1062"/>
                  </a:lnTo>
                  <a:lnTo>
                    <a:pt x="318" y="1062"/>
                  </a:lnTo>
                  <a:lnTo>
                    <a:pt x="321" y="1053"/>
                  </a:lnTo>
                  <a:lnTo>
                    <a:pt x="315" y="1045"/>
                  </a:lnTo>
                  <a:lnTo>
                    <a:pt x="306" y="1052"/>
                  </a:lnTo>
                  <a:lnTo>
                    <a:pt x="296" y="1052"/>
                  </a:lnTo>
                  <a:lnTo>
                    <a:pt x="291" y="1053"/>
                  </a:lnTo>
                  <a:lnTo>
                    <a:pt x="282" y="1057"/>
                  </a:lnTo>
                  <a:lnTo>
                    <a:pt x="281" y="1053"/>
                  </a:lnTo>
                  <a:lnTo>
                    <a:pt x="277" y="1050"/>
                  </a:lnTo>
                  <a:lnTo>
                    <a:pt x="269" y="1043"/>
                  </a:lnTo>
                  <a:lnTo>
                    <a:pt x="269" y="1041"/>
                  </a:lnTo>
                  <a:lnTo>
                    <a:pt x="258" y="1036"/>
                  </a:lnTo>
                  <a:lnTo>
                    <a:pt x="247" y="1036"/>
                  </a:lnTo>
                  <a:lnTo>
                    <a:pt x="240" y="1041"/>
                  </a:lnTo>
                  <a:lnTo>
                    <a:pt x="235" y="1036"/>
                  </a:lnTo>
                  <a:lnTo>
                    <a:pt x="233" y="1033"/>
                  </a:lnTo>
                  <a:lnTo>
                    <a:pt x="224" y="1024"/>
                  </a:lnTo>
                  <a:lnTo>
                    <a:pt x="223" y="1021"/>
                  </a:lnTo>
                  <a:lnTo>
                    <a:pt x="211" y="1019"/>
                  </a:lnTo>
                  <a:lnTo>
                    <a:pt x="209" y="1016"/>
                  </a:lnTo>
                  <a:lnTo>
                    <a:pt x="201" y="1009"/>
                  </a:lnTo>
                  <a:lnTo>
                    <a:pt x="202" y="1006"/>
                  </a:lnTo>
                  <a:lnTo>
                    <a:pt x="199" y="1001"/>
                  </a:lnTo>
                  <a:lnTo>
                    <a:pt x="192" y="995"/>
                  </a:lnTo>
                  <a:lnTo>
                    <a:pt x="187" y="987"/>
                  </a:lnTo>
                  <a:lnTo>
                    <a:pt x="179" y="982"/>
                  </a:lnTo>
                  <a:lnTo>
                    <a:pt x="173" y="984"/>
                  </a:lnTo>
                  <a:lnTo>
                    <a:pt x="172" y="978"/>
                  </a:lnTo>
                  <a:lnTo>
                    <a:pt x="175" y="972"/>
                  </a:lnTo>
                  <a:lnTo>
                    <a:pt x="172" y="963"/>
                  </a:lnTo>
                  <a:lnTo>
                    <a:pt x="160" y="965"/>
                  </a:lnTo>
                  <a:lnTo>
                    <a:pt x="156" y="960"/>
                  </a:lnTo>
                  <a:lnTo>
                    <a:pt x="150" y="955"/>
                  </a:lnTo>
                  <a:lnTo>
                    <a:pt x="151" y="948"/>
                  </a:lnTo>
                  <a:lnTo>
                    <a:pt x="145" y="941"/>
                  </a:lnTo>
                  <a:lnTo>
                    <a:pt x="138" y="943"/>
                  </a:lnTo>
                  <a:lnTo>
                    <a:pt x="134" y="934"/>
                  </a:lnTo>
                  <a:lnTo>
                    <a:pt x="131" y="924"/>
                  </a:lnTo>
                  <a:lnTo>
                    <a:pt x="122" y="919"/>
                  </a:lnTo>
                  <a:lnTo>
                    <a:pt x="124" y="912"/>
                  </a:lnTo>
                  <a:lnTo>
                    <a:pt x="119" y="909"/>
                  </a:lnTo>
                  <a:lnTo>
                    <a:pt x="114" y="902"/>
                  </a:lnTo>
                  <a:lnTo>
                    <a:pt x="116" y="893"/>
                  </a:lnTo>
                  <a:lnTo>
                    <a:pt x="112" y="887"/>
                  </a:lnTo>
                  <a:lnTo>
                    <a:pt x="102" y="885"/>
                  </a:lnTo>
                  <a:lnTo>
                    <a:pt x="95" y="885"/>
                  </a:lnTo>
                  <a:lnTo>
                    <a:pt x="90" y="883"/>
                  </a:lnTo>
                  <a:lnTo>
                    <a:pt x="82" y="881"/>
                  </a:lnTo>
                  <a:lnTo>
                    <a:pt x="80" y="871"/>
                  </a:lnTo>
                  <a:lnTo>
                    <a:pt x="80" y="861"/>
                  </a:lnTo>
                  <a:lnTo>
                    <a:pt x="75" y="864"/>
                  </a:lnTo>
                  <a:lnTo>
                    <a:pt x="66" y="864"/>
                  </a:lnTo>
                  <a:lnTo>
                    <a:pt x="60" y="859"/>
                  </a:lnTo>
                  <a:lnTo>
                    <a:pt x="54" y="854"/>
                  </a:lnTo>
                  <a:lnTo>
                    <a:pt x="51" y="846"/>
                  </a:lnTo>
                  <a:lnTo>
                    <a:pt x="39" y="844"/>
                  </a:lnTo>
                  <a:lnTo>
                    <a:pt x="37" y="839"/>
                  </a:lnTo>
                  <a:lnTo>
                    <a:pt x="29" y="837"/>
                  </a:lnTo>
                  <a:lnTo>
                    <a:pt x="22" y="837"/>
                  </a:lnTo>
                  <a:lnTo>
                    <a:pt x="15" y="830"/>
                  </a:lnTo>
                  <a:lnTo>
                    <a:pt x="10" y="822"/>
                  </a:lnTo>
                  <a:lnTo>
                    <a:pt x="7" y="815"/>
                  </a:lnTo>
                  <a:lnTo>
                    <a:pt x="0" y="808"/>
                  </a:lnTo>
                  <a:lnTo>
                    <a:pt x="2" y="796"/>
                  </a:lnTo>
                  <a:lnTo>
                    <a:pt x="0" y="796"/>
                  </a:lnTo>
                  <a:lnTo>
                    <a:pt x="0" y="795"/>
                  </a:lnTo>
                  <a:lnTo>
                    <a:pt x="2" y="793"/>
                  </a:lnTo>
                  <a:lnTo>
                    <a:pt x="19" y="764"/>
                  </a:lnTo>
                  <a:lnTo>
                    <a:pt x="24" y="756"/>
                  </a:lnTo>
                  <a:lnTo>
                    <a:pt x="53" y="705"/>
                  </a:lnTo>
                  <a:lnTo>
                    <a:pt x="66" y="677"/>
                  </a:lnTo>
                  <a:lnTo>
                    <a:pt x="80" y="654"/>
                  </a:lnTo>
                  <a:lnTo>
                    <a:pt x="87" y="642"/>
                  </a:lnTo>
                  <a:lnTo>
                    <a:pt x="95" y="628"/>
                  </a:lnTo>
                  <a:lnTo>
                    <a:pt x="111" y="599"/>
                  </a:lnTo>
                  <a:lnTo>
                    <a:pt x="112" y="599"/>
                  </a:lnTo>
                  <a:lnTo>
                    <a:pt x="122" y="582"/>
                  </a:lnTo>
                  <a:lnTo>
                    <a:pt x="126" y="575"/>
                  </a:lnTo>
                  <a:lnTo>
                    <a:pt x="128" y="570"/>
                  </a:lnTo>
                  <a:lnTo>
                    <a:pt x="129" y="568"/>
                  </a:lnTo>
                  <a:lnTo>
                    <a:pt x="153" y="528"/>
                  </a:lnTo>
                  <a:lnTo>
                    <a:pt x="134" y="523"/>
                  </a:lnTo>
                  <a:lnTo>
                    <a:pt x="145" y="492"/>
                  </a:lnTo>
                  <a:lnTo>
                    <a:pt x="139" y="489"/>
                  </a:lnTo>
                  <a:lnTo>
                    <a:pt x="146" y="482"/>
                  </a:lnTo>
                  <a:lnTo>
                    <a:pt x="150" y="478"/>
                  </a:lnTo>
                  <a:lnTo>
                    <a:pt x="155" y="470"/>
                  </a:lnTo>
                  <a:lnTo>
                    <a:pt x="155" y="465"/>
                  </a:lnTo>
                  <a:lnTo>
                    <a:pt x="165" y="441"/>
                  </a:lnTo>
                  <a:lnTo>
                    <a:pt x="153" y="438"/>
                  </a:lnTo>
                  <a:lnTo>
                    <a:pt x="148" y="427"/>
                  </a:lnTo>
                  <a:lnTo>
                    <a:pt x="156" y="427"/>
                  </a:lnTo>
                  <a:lnTo>
                    <a:pt x="163" y="421"/>
                  </a:lnTo>
                  <a:lnTo>
                    <a:pt x="172" y="422"/>
                  </a:lnTo>
                  <a:lnTo>
                    <a:pt x="180" y="400"/>
                  </a:lnTo>
                  <a:lnTo>
                    <a:pt x="184" y="395"/>
                  </a:lnTo>
                  <a:lnTo>
                    <a:pt x="190" y="375"/>
                  </a:lnTo>
                  <a:lnTo>
                    <a:pt x="202" y="373"/>
                  </a:lnTo>
                  <a:lnTo>
                    <a:pt x="204" y="368"/>
                  </a:lnTo>
                  <a:lnTo>
                    <a:pt x="211" y="359"/>
                  </a:lnTo>
                  <a:lnTo>
                    <a:pt x="211" y="358"/>
                  </a:lnTo>
                  <a:lnTo>
                    <a:pt x="207" y="351"/>
                  </a:lnTo>
                  <a:lnTo>
                    <a:pt x="213" y="347"/>
                  </a:lnTo>
                  <a:lnTo>
                    <a:pt x="218" y="342"/>
                  </a:lnTo>
                  <a:lnTo>
                    <a:pt x="219" y="335"/>
                  </a:lnTo>
                  <a:lnTo>
                    <a:pt x="226" y="335"/>
                  </a:lnTo>
                  <a:lnTo>
                    <a:pt x="233" y="330"/>
                  </a:lnTo>
                  <a:lnTo>
                    <a:pt x="236" y="325"/>
                  </a:lnTo>
                  <a:lnTo>
                    <a:pt x="243" y="322"/>
                  </a:lnTo>
                  <a:lnTo>
                    <a:pt x="250" y="318"/>
                  </a:lnTo>
                  <a:lnTo>
                    <a:pt x="247" y="312"/>
                  </a:lnTo>
                  <a:lnTo>
                    <a:pt x="253" y="308"/>
                  </a:lnTo>
                  <a:lnTo>
                    <a:pt x="257" y="301"/>
                  </a:lnTo>
                  <a:lnTo>
                    <a:pt x="267" y="300"/>
                  </a:lnTo>
                  <a:lnTo>
                    <a:pt x="272" y="300"/>
                  </a:lnTo>
                  <a:lnTo>
                    <a:pt x="274" y="300"/>
                  </a:lnTo>
                  <a:lnTo>
                    <a:pt x="275" y="295"/>
                  </a:lnTo>
                  <a:lnTo>
                    <a:pt x="281" y="288"/>
                  </a:lnTo>
                  <a:lnTo>
                    <a:pt x="289" y="283"/>
                  </a:lnTo>
                  <a:lnTo>
                    <a:pt x="296" y="279"/>
                  </a:lnTo>
                  <a:lnTo>
                    <a:pt x="308" y="278"/>
                  </a:lnTo>
                  <a:lnTo>
                    <a:pt x="311" y="273"/>
                  </a:lnTo>
                  <a:lnTo>
                    <a:pt x="320" y="274"/>
                  </a:lnTo>
                  <a:lnTo>
                    <a:pt x="330" y="271"/>
                  </a:lnTo>
                  <a:lnTo>
                    <a:pt x="340" y="264"/>
                  </a:lnTo>
                  <a:lnTo>
                    <a:pt x="350" y="266"/>
                  </a:lnTo>
                  <a:lnTo>
                    <a:pt x="359" y="274"/>
                  </a:lnTo>
                  <a:lnTo>
                    <a:pt x="362" y="269"/>
                  </a:lnTo>
                  <a:lnTo>
                    <a:pt x="362" y="257"/>
                  </a:lnTo>
                  <a:lnTo>
                    <a:pt x="364" y="257"/>
                  </a:lnTo>
                  <a:lnTo>
                    <a:pt x="371" y="256"/>
                  </a:lnTo>
                  <a:lnTo>
                    <a:pt x="376" y="250"/>
                  </a:lnTo>
                  <a:lnTo>
                    <a:pt x="379" y="250"/>
                  </a:lnTo>
                  <a:lnTo>
                    <a:pt x="381" y="249"/>
                  </a:lnTo>
                  <a:lnTo>
                    <a:pt x="389" y="244"/>
                  </a:lnTo>
                  <a:lnTo>
                    <a:pt x="396" y="244"/>
                  </a:lnTo>
                  <a:lnTo>
                    <a:pt x="401" y="240"/>
                  </a:lnTo>
                  <a:lnTo>
                    <a:pt x="403" y="240"/>
                  </a:lnTo>
                  <a:lnTo>
                    <a:pt x="406" y="250"/>
                  </a:lnTo>
                  <a:lnTo>
                    <a:pt x="410" y="256"/>
                  </a:lnTo>
                  <a:lnTo>
                    <a:pt x="418" y="256"/>
                  </a:lnTo>
                  <a:lnTo>
                    <a:pt x="420" y="250"/>
                  </a:lnTo>
                  <a:lnTo>
                    <a:pt x="427" y="249"/>
                  </a:lnTo>
                  <a:lnTo>
                    <a:pt x="434" y="257"/>
                  </a:lnTo>
                  <a:lnTo>
                    <a:pt x="442" y="256"/>
                  </a:lnTo>
                  <a:lnTo>
                    <a:pt x="447" y="262"/>
                  </a:lnTo>
                  <a:lnTo>
                    <a:pt x="449" y="273"/>
                  </a:lnTo>
                  <a:lnTo>
                    <a:pt x="447" y="278"/>
                  </a:lnTo>
                  <a:lnTo>
                    <a:pt x="452" y="284"/>
                  </a:lnTo>
                  <a:lnTo>
                    <a:pt x="462" y="279"/>
                  </a:lnTo>
                  <a:lnTo>
                    <a:pt x="471" y="273"/>
                  </a:lnTo>
                  <a:lnTo>
                    <a:pt x="461" y="267"/>
                  </a:lnTo>
                  <a:lnTo>
                    <a:pt x="469" y="261"/>
                  </a:lnTo>
                  <a:lnTo>
                    <a:pt x="466" y="254"/>
                  </a:lnTo>
                  <a:lnTo>
                    <a:pt x="469" y="247"/>
                  </a:lnTo>
                  <a:lnTo>
                    <a:pt x="476" y="247"/>
                  </a:lnTo>
                  <a:lnTo>
                    <a:pt x="481" y="237"/>
                  </a:lnTo>
                  <a:lnTo>
                    <a:pt x="486" y="238"/>
                  </a:lnTo>
                  <a:lnTo>
                    <a:pt x="491" y="232"/>
                  </a:lnTo>
                  <a:lnTo>
                    <a:pt x="500" y="227"/>
                  </a:lnTo>
                  <a:lnTo>
                    <a:pt x="507" y="225"/>
                  </a:lnTo>
                  <a:lnTo>
                    <a:pt x="505" y="215"/>
                  </a:lnTo>
                  <a:lnTo>
                    <a:pt x="508" y="210"/>
                  </a:lnTo>
                  <a:lnTo>
                    <a:pt x="512" y="204"/>
                  </a:lnTo>
                  <a:lnTo>
                    <a:pt x="517" y="199"/>
                  </a:lnTo>
                  <a:lnTo>
                    <a:pt x="525" y="199"/>
                  </a:lnTo>
                  <a:lnTo>
                    <a:pt x="532" y="204"/>
                  </a:lnTo>
                  <a:lnTo>
                    <a:pt x="534" y="198"/>
                  </a:lnTo>
                  <a:lnTo>
                    <a:pt x="539" y="191"/>
                  </a:lnTo>
                  <a:lnTo>
                    <a:pt x="546" y="191"/>
                  </a:lnTo>
                  <a:lnTo>
                    <a:pt x="549" y="193"/>
                  </a:lnTo>
                  <a:lnTo>
                    <a:pt x="558" y="198"/>
                  </a:lnTo>
                  <a:lnTo>
                    <a:pt x="566" y="191"/>
                  </a:lnTo>
                  <a:lnTo>
                    <a:pt x="570" y="193"/>
                  </a:lnTo>
                  <a:lnTo>
                    <a:pt x="580" y="194"/>
                  </a:lnTo>
                  <a:lnTo>
                    <a:pt x="581" y="194"/>
                  </a:lnTo>
                  <a:lnTo>
                    <a:pt x="581" y="191"/>
                  </a:lnTo>
                  <a:lnTo>
                    <a:pt x="575" y="189"/>
                  </a:lnTo>
                  <a:lnTo>
                    <a:pt x="564" y="182"/>
                  </a:lnTo>
                  <a:lnTo>
                    <a:pt x="568" y="176"/>
                  </a:lnTo>
                  <a:lnTo>
                    <a:pt x="573" y="170"/>
                  </a:lnTo>
                  <a:lnTo>
                    <a:pt x="575" y="176"/>
                  </a:lnTo>
                  <a:lnTo>
                    <a:pt x="578" y="174"/>
                  </a:lnTo>
                  <a:lnTo>
                    <a:pt x="576" y="165"/>
                  </a:lnTo>
                  <a:lnTo>
                    <a:pt x="578" y="160"/>
                  </a:lnTo>
                  <a:lnTo>
                    <a:pt x="576" y="155"/>
                  </a:lnTo>
                  <a:lnTo>
                    <a:pt x="573" y="153"/>
                  </a:lnTo>
                  <a:lnTo>
                    <a:pt x="570" y="150"/>
                  </a:lnTo>
                  <a:lnTo>
                    <a:pt x="564" y="145"/>
                  </a:lnTo>
                  <a:lnTo>
                    <a:pt x="563" y="140"/>
                  </a:lnTo>
                  <a:lnTo>
                    <a:pt x="559" y="133"/>
                  </a:lnTo>
                  <a:lnTo>
                    <a:pt x="563" y="130"/>
                  </a:lnTo>
                  <a:lnTo>
                    <a:pt x="573" y="130"/>
                  </a:lnTo>
                  <a:lnTo>
                    <a:pt x="576" y="123"/>
                  </a:lnTo>
                  <a:lnTo>
                    <a:pt x="583" y="123"/>
                  </a:lnTo>
                  <a:lnTo>
                    <a:pt x="588" y="113"/>
                  </a:lnTo>
                  <a:lnTo>
                    <a:pt x="592" y="113"/>
                  </a:lnTo>
                  <a:lnTo>
                    <a:pt x="602" y="118"/>
                  </a:lnTo>
                  <a:lnTo>
                    <a:pt x="605" y="109"/>
                  </a:lnTo>
                  <a:lnTo>
                    <a:pt x="602" y="102"/>
                  </a:lnTo>
                  <a:lnTo>
                    <a:pt x="610" y="96"/>
                  </a:lnTo>
                  <a:lnTo>
                    <a:pt x="612" y="90"/>
                  </a:lnTo>
                  <a:lnTo>
                    <a:pt x="617" y="90"/>
                  </a:lnTo>
                  <a:lnTo>
                    <a:pt x="626" y="87"/>
                  </a:lnTo>
                  <a:lnTo>
                    <a:pt x="631" y="94"/>
                  </a:lnTo>
                  <a:lnTo>
                    <a:pt x="634" y="90"/>
                  </a:lnTo>
                  <a:lnTo>
                    <a:pt x="638" y="82"/>
                  </a:lnTo>
                  <a:lnTo>
                    <a:pt x="648" y="80"/>
                  </a:lnTo>
                  <a:lnTo>
                    <a:pt x="651" y="75"/>
                  </a:lnTo>
                  <a:lnTo>
                    <a:pt x="661" y="70"/>
                  </a:lnTo>
                  <a:lnTo>
                    <a:pt x="663" y="75"/>
                  </a:lnTo>
                  <a:lnTo>
                    <a:pt x="668" y="75"/>
                  </a:lnTo>
                  <a:lnTo>
                    <a:pt x="677" y="67"/>
                  </a:lnTo>
                  <a:lnTo>
                    <a:pt x="682" y="72"/>
                  </a:lnTo>
                  <a:lnTo>
                    <a:pt x="689" y="73"/>
                  </a:lnTo>
                  <a:lnTo>
                    <a:pt x="692" y="82"/>
                  </a:lnTo>
                  <a:lnTo>
                    <a:pt x="692" y="77"/>
                  </a:lnTo>
                  <a:lnTo>
                    <a:pt x="694" y="70"/>
                  </a:lnTo>
                  <a:lnTo>
                    <a:pt x="692" y="63"/>
                  </a:lnTo>
                  <a:lnTo>
                    <a:pt x="697" y="55"/>
                  </a:lnTo>
                  <a:lnTo>
                    <a:pt x="700" y="62"/>
                  </a:lnTo>
                  <a:lnTo>
                    <a:pt x="706" y="65"/>
                  </a:lnTo>
                  <a:lnTo>
                    <a:pt x="714" y="68"/>
                  </a:lnTo>
                  <a:lnTo>
                    <a:pt x="716" y="70"/>
                  </a:lnTo>
                  <a:lnTo>
                    <a:pt x="719" y="72"/>
                  </a:lnTo>
                  <a:lnTo>
                    <a:pt x="731" y="72"/>
                  </a:lnTo>
                  <a:lnTo>
                    <a:pt x="734" y="72"/>
                  </a:lnTo>
                  <a:lnTo>
                    <a:pt x="741" y="68"/>
                  </a:lnTo>
                  <a:lnTo>
                    <a:pt x="750" y="73"/>
                  </a:lnTo>
                  <a:lnTo>
                    <a:pt x="758" y="68"/>
                  </a:lnTo>
                  <a:lnTo>
                    <a:pt x="757" y="80"/>
                  </a:lnTo>
                  <a:lnTo>
                    <a:pt x="765" y="84"/>
                  </a:lnTo>
                  <a:lnTo>
                    <a:pt x="768" y="75"/>
                  </a:lnTo>
                  <a:lnTo>
                    <a:pt x="775" y="67"/>
                  </a:lnTo>
                  <a:lnTo>
                    <a:pt x="780" y="65"/>
                  </a:lnTo>
                  <a:lnTo>
                    <a:pt x="784" y="60"/>
                  </a:lnTo>
                  <a:lnTo>
                    <a:pt x="789" y="56"/>
                  </a:lnTo>
                  <a:lnTo>
                    <a:pt x="792" y="50"/>
                  </a:lnTo>
                  <a:lnTo>
                    <a:pt x="799" y="50"/>
                  </a:lnTo>
                  <a:lnTo>
                    <a:pt x="801" y="55"/>
                  </a:lnTo>
                  <a:lnTo>
                    <a:pt x="809" y="60"/>
                  </a:lnTo>
                  <a:lnTo>
                    <a:pt x="809" y="63"/>
                  </a:lnTo>
                  <a:lnTo>
                    <a:pt x="813" y="62"/>
                  </a:lnTo>
                  <a:lnTo>
                    <a:pt x="819" y="68"/>
                  </a:lnTo>
                  <a:lnTo>
                    <a:pt x="826" y="62"/>
                  </a:lnTo>
                  <a:lnTo>
                    <a:pt x="836" y="58"/>
                  </a:lnTo>
                  <a:lnTo>
                    <a:pt x="840" y="48"/>
                  </a:lnTo>
                  <a:lnTo>
                    <a:pt x="847" y="46"/>
                  </a:lnTo>
                  <a:lnTo>
                    <a:pt x="848" y="38"/>
                  </a:lnTo>
                  <a:lnTo>
                    <a:pt x="847" y="31"/>
                  </a:lnTo>
                  <a:lnTo>
                    <a:pt x="859" y="28"/>
                  </a:lnTo>
                  <a:lnTo>
                    <a:pt x="864" y="29"/>
                  </a:lnTo>
                  <a:lnTo>
                    <a:pt x="862" y="21"/>
                  </a:lnTo>
                  <a:lnTo>
                    <a:pt x="867" y="19"/>
                  </a:lnTo>
                  <a:lnTo>
                    <a:pt x="879" y="17"/>
                  </a:lnTo>
                  <a:lnTo>
                    <a:pt x="879" y="28"/>
                  </a:lnTo>
                  <a:lnTo>
                    <a:pt x="887" y="29"/>
                  </a:lnTo>
                  <a:lnTo>
                    <a:pt x="893" y="26"/>
                  </a:lnTo>
                  <a:lnTo>
                    <a:pt x="903" y="26"/>
                  </a:lnTo>
                  <a:lnTo>
                    <a:pt x="908" y="33"/>
                  </a:lnTo>
                  <a:lnTo>
                    <a:pt x="913" y="36"/>
                  </a:lnTo>
                  <a:lnTo>
                    <a:pt x="913" y="26"/>
                  </a:lnTo>
                  <a:lnTo>
                    <a:pt x="918" y="22"/>
                  </a:lnTo>
                  <a:lnTo>
                    <a:pt x="930" y="22"/>
                  </a:lnTo>
                  <a:lnTo>
                    <a:pt x="944" y="21"/>
                  </a:lnTo>
                  <a:lnTo>
                    <a:pt x="947" y="12"/>
                  </a:lnTo>
                  <a:lnTo>
                    <a:pt x="955" y="11"/>
                  </a:lnTo>
                  <a:lnTo>
                    <a:pt x="961" y="2"/>
                  </a:lnTo>
                  <a:lnTo>
                    <a:pt x="967" y="0"/>
                  </a:lnTo>
                  <a:lnTo>
                    <a:pt x="974" y="7"/>
                  </a:lnTo>
                  <a:lnTo>
                    <a:pt x="972" y="16"/>
                  </a:lnTo>
                  <a:lnTo>
                    <a:pt x="976" y="28"/>
                  </a:lnTo>
                  <a:lnTo>
                    <a:pt x="981" y="31"/>
                  </a:lnTo>
                  <a:lnTo>
                    <a:pt x="978" y="34"/>
                  </a:lnTo>
                  <a:lnTo>
                    <a:pt x="986" y="36"/>
                  </a:lnTo>
                  <a:lnTo>
                    <a:pt x="993" y="45"/>
                  </a:lnTo>
                  <a:lnTo>
                    <a:pt x="1003" y="48"/>
                  </a:lnTo>
                  <a:lnTo>
                    <a:pt x="1005" y="51"/>
                  </a:lnTo>
                  <a:lnTo>
                    <a:pt x="1003" y="60"/>
                  </a:lnTo>
                  <a:lnTo>
                    <a:pt x="1013" y="58"/>
                  </a:lnTo>
                  <a:lnTo>
                    <a:pt x="1017" y="60"/>
                  </a:lnTo>
                  <a:lnTo>
                    <a:pt x="1015" y="48"/>
                  </a:lnTo>
                  <a:lnTo>
                    <a:pt x="1020" y="50"/>
                  </a:lnTo>
                  <a:lnTo>
                    <a:pt x="1022" y="60"/>
                  </a:lnTo>
                  <a:lnTo>
                    <a:pt x="1025" y="65"/>
                  </a:lnTo>
                  <a:lnTo>
                    <a:pt x="1032" y="68"/>
                  </a:lnTo>
                  <a:lnTo>
                    <a:pt x="1035" y="67"/>
                  </a:lnTo>
                  <a:lnTo>
                    <a:pt x="1032" y="60"/>
                  </a:lnTo>
                  <a:lnTo>
                    <a:pt x="1037"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2" name="Freeform 11">
              <a:extLst>
                <a:ext uri="{FF2B5EF4-FFF2-40B4-BE49-F238E27FC236}">
                  <a16:creationId xmlns:a16="http://schemas.microsoft.com/office/drawing/2014/main" id="{CD261C98-D844-4EF9-AABB-615E23104A7C}"/>
                </a:ext>
              </a:extLst>
            </p:cNvPr>
            <p:cNvSpPr>
              <a:spLocks/>
            </p:cNvSpPr>
            <p:nvPr/>
          </p:nvSpPr>
          <p:spPr bwMode="gray">
            <a:xfrm>
              <a:off x="4937125" y="1676400"/>
              <a:ext cx="2355850" cy="1470025"/>
            </a:xfrm>
            <a:custGeom>
              <a:avLst/>
              <a:gdLst>
                <a:gd name="T0" fmla="*/ 1426 w 1484"/>
                <a:gd name="T1" fmla="*/ 199 h 926"/>
                <a:gd name="T2" fmla="*/ 1409 w 1484"/>
                <a:gd name="T3" fmla="*/ 239 h 926"/>
                <a:gd name="T4" fmla="*/ 1389 w 1484"/>
                <a:gd name="T5" fmla="*/ 283 h 926"/>
                <a:gd name="T6" fmla="*/ 1362 w 1484"/>
                <a:gd name="T7" fmla="*/ 322 h 926"/>
                <a:gd name="T8" fmla="*/ 1282 w 1484"/>
                <a:gd name="T9" fmla="*/ 322 h 926"/>
                <a:gd name="T10" fmla="*/ 1251 w 1484"/>
                <a:gd name="T11" fmla="*/ 370 h 926"/>
                <a:gd name="T12" fmla="*/ 1214 w 1484"/>
                <a:gd name="T13" fmla="*/ 444 h 926"/>
                <a:gd name="T14" fmla="*/ 1175 w 1484"/>
                <a:gd name="T15" fmla="*/ 504 h 926"/>
                <a:gd name="T16" fmla="*/ 1236 w 1484"/>
                <a:gd name="T17" fmla="*/ 529 h 926"/>
                <a:gd name="T18" fmla="*/ 1285 w 1484"/>
                <a:gd name="T19" fmla="*/ 560 h 926"/>
                <a:gd name="T20" fmla="*/ 1227 w 1484"/>
                <a:gd name="T21" fmla="*/ 601 h 926"/>
                <a:gd name="T22" fmla="*/ 1159 w 1484"/>
                <a:gd name="T23" fmla="*/ 609 h 926"/>
                <a:gd name="T24" fmla="*/ 1107 w 1484"/>
                <a:gd name="T25" fmla="*/ 614 h 926"/>
                <a:gd name="T26" fmla="*/ 1030 w 1484"/>
                <a:gd name="T27" fmla="*/ 631 h 926"/>
                <a:gd name="T28" fmla="*/ 982 w 1484"/>
                <a:gd name="T29" fmla="*/ 686 h 926"/>
                <a:gd name="T30" fmla="*/ 999 w 1484"/>
                <a:gd name="T31" fmla="*/ 735 h 926"/>
                <a:gd name="T32" fmla="*/ 926 w 1484"/>
                <a:gd name="T33" fmla="*/ 751 h 926"/>
                <a:gd name="T34" fmla="*/ 880 w 1484"/>
                <a:gd name="T35" fmla="*/ 820 h 926"/>
                <a:gd name="T36" fmla="*/ 819 w 1484"/>
                <a:gd name="T37" fmla="*/ 781 h 926"/>
                <a:gd name="T38" fmla="*/ 748 w 1484"/>
                <a:gd name="T39" fmla="*/ 812 h 926"/>
                <a:gd name="T40" fmla="*/ 665 w 1484"/>
                <a:gd name="T41" fmla="*/ 853 h 926"/>
                <a:gd name="T42" fmla="*/ 620 w 1484"/>
                <a:gd name="T43" fmla="*/ 914 h 926"/>
                <a:gd name="T44" fmla="*/ 569 w 1484"/>
                <a:gd name="T45" fmla="*/ 865 h 926"/>
                <a:gd name="T46" fmla="*/ 585 w 1484"/>
                <a:gd name="T47" fmla="*/ 814 h 926"/>
                <a:gd name="T48" fmla="*/ 529 w 1484"/>
                <a:gd name="T49" fmla="*/ 802 h 926"/>
                <a:gd name="T50" fmla="*/ 506 w 1484"/>
                <a:gd name="T51" fmla="*/ 870 h 926"/>
                <a:gd name="T52" fmla="*/ 464 w 1484"/>
                <a:gd name="T53" fmla="*/ 907 h 926"/>
                <a:gd name="T54" fmla="*/ 462 w 1484"/>
                <a:gd name="T55" fmla="*/ 837 h 926"/>
                <a:gd name="T56" fmla="*/ 359 w 1484"/>
                <a:gd name="T57" fmla="*/ 778 h 926"/>
                <a:gd name="T58" fmla="*/ 321 w 1484"/>
                <a:gd name="T59" fmla="*/ 698 h 926"/>
                <a:gd name="T60" fmla="*/ 348 w 1484"/>
                <a:gd name="T61" fmla="*/ 609 h 926"/>
                <a:gd name="T62" fmla="*/ 280 w 1484"/>
                <a:gd name="T63" fmla="*/ 584 h 926"/>
                <a:gd name="T64" fmla="*/ 168 w 1484"/>
                <a:gd name="T65" fmla="*/ 455 h 926"/>
                <a:gd name="T66" fmla="*/ 121 w 1484"/>
                <a:gd name="T67" fmla="*/ 363 h 926"/>
                <a:gd name="T68" fmla="*/ 19 w 1484"/>
                <a:gd name="T69" fmla="*/ 473 h 926"/>
                <a:gd name="T70" fmla="*/ 12 w 1484"/>
                <a:gd name="T71" fmla="*/ 383 h 926"/>
                <a:gd name="T72" fmla="*/ 42 w 1484"/>
                <a:gd name="T73" fmla="*/ 317 h 926"/>
                <a:gd name="T74" fmla="*/ 61 w 1484"/>
                <a:gd name="T75" fmla="*/ 259 h 926"/>
                <a:gd name="T76" fmla="*/ 83 w 1484"/>
                <a:gd name="T77" fmla="*/ 206 h 926"/>
                <a:gd name="T78" fmla="*/ 158 w 1484"/>
                <a:gd name="T79" fmla="*/ 171 h 926"/>
                <a:gd name="T80" fmla="*/ 226 w 1484"/>
                <a:gd name="T81" fmla="*/ 177 h 926"/>
                <a:gd name="T82" fmla="*/ 275 w 1484"/>
                <a:gd name="T83" fmla="*/ 215 h 926"/>
                <a:gd name="T84" fmla="*/ 336 w 1484"/>
                <a:gd name="T85" fmla="*/ 259 h 926"/>
                <a:gd name="T86" fmla="*/ 401 w 1484"/>
                <a:gd name="T87" fmla="*/ 266 h 926"/>
                <a:gd name="T88" fmla="*/ 471 w 1484"/>
                <a:gd name="T89" fmla="*/ 298 h 926"/>
                <a:gd name="T90" fmla="*/ 535 w 1484"/>
                <a:gd name="T91" fmla="*/ 315 h 926"/>
                <a:gd name="T92" fmla="*/ 602 w 1484"/>
                <a:gd name="T93" fmla="*/ 307 h 926"/>
                <a:gd name="T94" fmla="*/ 688 w 1484"/>
                <a:gd name="T95" fmla="*/ 301 h 926"/>
                <a:gd name="T96" fmla="*/ 785 w 1484"/>
                <a:gd name="T97" fmla="*/ 240 h 926"/>
                <a:gd name="T98" fmla="*/ 814 w 1484"/>
                <a:gd name="T99" fmla="*/ 165 h 926"/>
                <a:gd name="T100" fmla="*/ 858 w 1484"/>
                <a:gd name="T101" fmla="*/ 67 h 926"/>
                <a:gd name="T102" fmla="*/ 913 w 1484"/>
                <a:gd name="T103" fmla="*/ 19 h 926"/>
                <a:gd name="T104" fmla="*/ 1008 w 1484"/>
                <a:gd name="T105" fmla="*/ 46 h 926"/>
                <a:gd name="T106" fmla="*/ 1095 w 1484"/>
                <a:gd name="T107" fmla="*/ 53 h 926"/>
                <a:gd name="T108" fmla="*/ 1159 w 1484"/>
                <a:gd name="T109" fmla="*/ 67 h 926"/>
                <a:gd name="T110" fmla="*/ 1217 w 1484"/>
                <a:gd name="T111" fmla="*/ 108 h 926"/>
                <a:gd name="T112" fmla="*/ 1302 w 1484"/>
                <a:gd name="T113" fmla="*/ 106 h 926"/>
                <a:gd name="T114" fmla="*/ 1385 w 1484"/>
                <a:gd name="T115" fmla="*/ 96 h 926"/>
                <a:gd name="T116" fmla="*/ 1470 w 1484"/>
                <a:gd name="T117" fmla="*/ 118 h 926"/>
                <a:gd name="T118" fmla="*/ 1470 w 1484"/>
                <a:gd name="T119" fmla="*/ 153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4" h="926">
                  <a:moveTo>
                    <a:pt x="1482" y="181"/>
                  </a:moveTo>
                  <a:lnTo>
                    <a:pt x="1482" y="188"/>
                  </a:lnTo>
                  <a:lnTo>
                    <a:pt x="1479" y="188"/>
                  </a:lnTo>
                  <a:lnTo>
                    <a:pt x="1479" y="189"/>
                  </a:lnTo>
                  <a:lnTo>
                    <a:pt x="1475" y="189"/>
                  </a:lnTo>
                  <a:lnTo>
                    <a:pt x="1464" y="191"/>
                  </a:lnTo>
                  <a:lnTo>
                    <a:pt x="1458" y="184"/>
                  </a:lnTo>
                  <a:lnTo>
                    <a:pt x="1452" y="184"/>
                  </a:lnTo>
                  <a:lnTo>
                    <a:pt x="1450" y="194"/>
                  </a:lnTo>
                  <a:lnTo>
                    <a:pt x="1438" y="198"/>
                  </a:lnTo>
                  <a:lnTo>
                    <a:pt x="1433" y="198"/>
                  </a:lnTo>
                  <a:lnTo>
                    <a:pt x="1433" y="194"/>
                  </a:lnTo>
                  <a:lnTo>
                    <a:pt x="1426" y="199"/>
                  </a:lnTo>
                  <a:lnTo>
                    <a:pt x="1419" y="205"/>
                  </a:lnTo>
                  <a:lnTo>
                    <a:pt x="1416" y="205"/>
                  </a:lnTo>
                  <a:lnTo>
                    <a:pt x="1407" y="196"/>
                  </a:lnTo>
                  <a:lnTo>
                    <a:pt x="1406" y="193"/>
                  </a:lnTo>
                  <a:lnTo>
                    <a:pt x="1397" y="194"/>
                  </a:lnTo>
                  <a:lnTo>
                    <a:pt x="1390" y="206"/>
                  </a:lnTo>
                  <a:lnTo>
                    <a:pt x="1396" y="215"/>
                  </a:lnTo>
                  <a:lnTo>
                    <a:pt x="1402" y="210"/>
                  </a:lnTo>
                  <a:lnTo>
                    <a:pt x="1406" y="215"/>
                  </a:lnTo>
                  <a:lnTo>
                    <a:pt x="1413" y="223"/>
                  </a:lnTo>
                  <a:lnTo>
                    <a:pt x="1406" y="227"/>
                  </a:lnTo>
                  <a:lnTo>
                    <a:pt x="1401" y="235"/>
                  </a:lnTo>
                  <a:lnTo>
                    <a:pt x="1409" y="239"/>
                  </a:lnTo>
                  <a:lnTo>
                    <a:pt x="1418" y="240"/>
                  </a:lnTo>
                  <a:lnTo>
                    <a:pt x="1416" y="247"/>
                  </a:lnTo>
                  <a:lnTo>
                    <a:pt x="1411" y="245"/>
                  </a:lnTo>
                  <a:lnTo>
                    <a:pt x="1406" y="244"/>
                  </a:lnTo>
                  <a:lnTo>
                    <a:pt x="1399" y="242"/>
                  </a:lnTo>
                  <a:lnTo>
                    <a:pt x="1394" y="252"/>
                  </a:lnTo>
                  <a:lnTo>
                    <a:pt x="1392" y="256"/>
                  </a:lnTo>
                  <a:lnTo>
                    <a:pt x="1396" y="257"/>
                  </a:lnTo>
                  <a:lnTo>
                    <a:pt x="1397" y="266"/>
                  </a:lnTo>
                  <a:lnTo>
                    <a:pt x="1390" y="269"/>
                  </a:lnTo>
                  <a:lnTo>
                    <a:pt x="1389" y="276"/>
                  </a:lnTo>
                  <a:lnTo>
                    <a:pt x="1390" y="283"/>
                  </a:lnTo>
                  <a:lnTo>
                    <a:pt x="1389" y="283"/>
                  </a:lnTo>
                  <a:lnTo>
                    <a:pt x="1392" y="290"/>
                  </a:lnTo>
                  <a:lnTo>
                    <a:pt x="1396" y="298"/>
                  </a:lnTo>
                  <a:lnTo>
                    <a:pt x="1389" y="300"/>
                  </a:lnTo>
                  <a:lnTo>
                    <a:pt x="1392" y="310"/>
                  </a:lnTo>
                  <a:lnTo>
                    <a:pt x="1390" y="315"/>
                  </a:lnTo>
                  <a:lnTo>
                    <a:pt x="1382" y="317"/>
                  </a:lnTo>
                  <a:lnTo>
                    <a:pt x="1385" y="320"/>
                  </a:lnTo>
                  <a:lnTo>
                    <a:pt x="1375" y="322"/>
                  </a:lnTo>
                  <a:lnTo>
                    <a:pt x="1373" y="327"/>
                  </a:lnTo>
                  <a:lnTo>
                    <a:pt x="1370" y="327"/>
                  </a:lnTo>
                  <a:lnTo>
                    <a:pt x="1372" y="317"/>
                  </a:lnTo>
                  <a:lnTo>
                    <a:pt x="1363" y="315"/>
                  </a:lnTo>
                  <a:lnTo>
                    <a:pt x="1362" y="322"/>
                  </a:lnTo>
                  <a:lnTo>
                    <a:pt x="1356" y="327"/>
                  </a:lnTo>
                  <a:lnTo>
                    <a:pt x="1346" y="330"/>
                  </a:lnTo>
                  <a:lnTo>
                    <a:pt x="1333" y="336"/>
                  </a:lnTo>
                  <a:lnTo>
                    <a:pt x="1333" y="324"/>
                  </a:lnTo>
                  <a:lnTo>
                    <a:pt x="1331" y="325"/>
                  </a:lnTo>
                  <a:lnTo>
                    <a:pt x="1322" y="329"/>
                  </a:lnTo>
                  <a:lnTo>
                    <a:pt x="1317" y="330"/>
                  </a:lnTo>
                  <a:lnTo>
                    <a:pt x="1312" y="320"/>
                  </a:lnTo>
                  <a:lnTo>
                    <a:pt x="1309" y="322"/>
                  </a:lnTo>
                  <a:lnTo>
                    <a:pt x="1309" y="310"/>
                  </a:lnTo>
                  <a:lnTo>
                    <a:pt x="1299" y="312"/>
                  </a:lnTo>
                  <a:lnTo>
                    <a:pt x="1290" y="320"/>
                  </a:lnTo>
                  <a:lnTo>
                    <a:pt x="1282" y="322"/>
                  </a:lnTo>
                  <a:lnTo>
                    <a:pt x="1283" y="324"/>
                  </a:lnTo>
                  <a:lnTo>
                    <a:pt x="1278" y="324"/>
                  </a:lnTo>
                  <a:lnTo>
                    <a:pt x="1273" y="327"/>
                  </a:lnTo>
                  <a:lnTo>
                    <a:pt x="1270" y="327"/>
                  </a:lnTo>
                  <a:lnTo>
                    <a:pt x="1260" y="329"/>
                  </a:lnTo>
                  <a:lnTo>
                    <a:pt x="1261" y="334"/>
                  </a:lnTo>
                  <a:lnTo>
                    <a:pt x="1258" y="334"/>
                  </a:lnTo>
                  <a:lnTo>
                    <a:pt x="1260" y="342"/>
                  </a:lnTo>
                  <a:lnTo>
                    <a:pt x="1258" y="342"/>
                  </a:lnTo>
                  <a:lnTo>
                    <a:pt x="1258" y="356"/>
                  </a:lnTo>
                  <a:lnTo>
                    <a:pt x="1258" y="359"/>
                  </a:lnTo>
                  <a:lnTo>
                    <a:pt x="1256" y="368"/>
                  </a:lnTo>
                  <a:lnTo>
                    <a:pt x="1251" y="370"/>
                  </a:lnTo>
                  <a:lnTo>
                    <a:pt x="1251" y="378"/>
                  </a:lnTo>
                  <a:lnTo>
                    <a:pt x="1248" y="387"/>
                  </a:lnTo>
                  <a:lnTo>
                    <a:pt x="1248" y="395"/>
                  </a:lnTo>
                  <a:lnTo>
                    <a:pt x="1232" y="395"/>
                  </a:lnTo>
                  <a:lnTo>
                    <a:pt x="1231" y="405"/>
                  </a:lnTo>
                  <a:lnTo>
                    <a:pt x="1219" y="404"/>
                  </a:lnTo>
                  <a:lnTo>
                    <a:pt x="1214" y="402"/>
                  </a:lnTo>
                  <a:lnTo>
                    <a:pt x="1215" y="417"/>
                  </a:lnTo>
                  <a:lnTo>
                    <a:pt x="1217" y="424"/>
                  </a:lnTo>
                  <a:lnTo>
                    <a:pt x="1220" y="431"/>
                  </a:lnTo>
                  <a:lnTo>
                    <a:pt x="1222" y="438"/>
                  </a:lnTo>
                  <a:lnTo>
                    <a:pt x="1222" y="439"/>
                  </a:lnTo>
                  <a:lnTo>
                    <a:pt x="1214" y="444"/>
                  </a:lnTo>
                  <a:lnTo>
                    <a:pt x="1207" y="448"/>
                  </a:lnTo>
                  <a:lnTo>
                    <a:pt x="1197" y="453"/>
                  </a:lnTo>
                  <a:lnTo>
                    <a:pt x="1195" y="455"/>
                  </a:lnTo>
                  <a:lnTo>
                    <a:pt x="1188" y="460"/>
                  </a:lnTo>
                  <a:lnTo>
                    <a:pt x="1185" y="465"/>
                  </a:lnTo>
                  <a:lnTo>
                    <a:pt x="1192" y="477"/>
                  </a:lnTo>
                  <a:lnTo>
                    <a:pt x="1193" y="482"/>
                  </a:lnTo>
                  <a:lnTo>
                    <a:pt x="1193" y="484"/>
                  </a:lnTo>
                  <a:lnTo>
                    <a:pt x="1193" y="485"/>
                  </a:lnTo>
                  <a:lnTo>
                    <a:pt x="1193" y="494"/>
                  </a:lnTo>
                  <a:lnTo>
                    <a:pt x="1195" y="499"/>
                  </a:lnTo>
                  <a:lnTo>
                    <a:pt x="1183" y="504"/>
                  </a:lnTo>
                  <a:lnTo>
                    <a:pt x="1175" y="504"/>
                  </a:lnTo>
                  <a:lnTo>
                    <a:pt x="1178" y="511"/>
                  </a:lnTo>
                  <a:lnTo>
                    <a:pt x="1181" y="516"/>
                  </a:lnTo>
                  <a:lnTo>
                    <a:pt x="1193" y="516"/>
                  </a:lnTo>
                  <a:lnTo>
                    <a:pt x="1195" y="523"/>
                  </a:lnTo>
                  <a:lnTo>
                    <a:pt x="1195" y="528"/>
                  </a:lnTo>
                  <a:lnTo>
                    <a:pt x="1197" y="533"/>
                  </a:lnTo>
                  <a:lnTo>
                    <a:pt x="1207" y="529"/>
                  </a:lnTo>
                  <a:lnTo>
                    <a:pt x="1210" y="529"/>
                  </a:lnTo>
                  <a:lnTo>
                    <a:pt x="1222" y="526"/>
                  </a:lnTo>
                  <a:lnTo>
                    <a:pt x="1222" y="516"/>
                  </a:lnTo>
                  <a:lnTo>
                    <a:pt x="1229" y="516"/>
                  </a:lnTo>
                  <a:lnTo>
                    <a:pt x="1232" y="526"/>
                  </a:lnTo>
                  <a:lnTo>
                    <a:pt x="1236" y="529"/>
                  </a:lnTo>
                  <a:lnTo>
                    <a:pt x="1243" y="536"/>
                  </a:lnTo>
                  <a:lnTo>
                    <a:pt x="1244" y="536"/>
                  </a:lnTo>
                  <a:lnTo>
                    <a:pt x="1246" y="531"/>
                  </a:lnTo>
                  <a:lnTo>
                    <a:pt x="1251" y="531"/>
                  </a:lnTo>
                  <a:lnTo>
                    <a:pt x="1253" y="531"/>
                  </a:lnTo>
                  <a:lnTo>
                    <a:pt x="1265" y="536"/>
                  </a:lnTo>
                  <a:lnTo>
                    <a:pt x="1282" y="536"/>
                  </a:lnTo>
                  <a:lnTo>
                    <a:pt x="1282" y="546"/>
                  </a:lnTo>
                  <a:lnTo>
                    <a:pt x="1282" y="555"/>
                  </a:lnTo>
                  <a:lnTo>
                    <a:pt x="1290" y="548"/>
                  </a:lnTo>
                  <a:lnTo>
                    <a:pt x="1288" y="557"/>
                  </a:lnTo>
                  <a:lnTo>
                    <a:pt x="1283" y="558"/>
                  </a:lnTo>
                  <a:lnTo>
                    <a:pt x="1285" y="560"/>
                  </a:lnTo>
                  <a:lnTo>
                    <a:pt x="1280" y="562"/>
                  </a:lnTo>
                  <a:lnTo>
                    <a:pt x="1282" y="570"/>
                  </a:lnTo>
                  <a:lnTo>
                    <a:pt x="1277" y="569"/>
                  </a:lnTo>
                  <a:lnTo>
                    <a:pt x="1265" y="572"/>
                  </a:lnTo>
                  <a:lnTo>
                    <a:pt x="1266" y="579"/>
                  </a:lnTo>
                  <a:lnTo>
                    <a:pt x="1265" y="587"/>
                  </a:lnTo>
                  <a:lnTo>
                    <a:pt x="1258" y="589"/>
                  </a:lnTo>
                  <a:lnTo>
                    <a:pt x="1254" y="599"/>
                  </a:lnTo>
                  <a:lnTo>
                    <a:pt x="1244" y="603"/>
                  </a:lnTo>
                  <a:lnTo>
                    <a:pt x="1237" y="609"/>
                  </a:lnTo>
                  <a:lnTo>
                    <a:pt x="1231" y="603"/>
                  </a:lnTo>
                  <a:lnTo>
                    <a:pt x="1227" y="604"/>
                  </a:lnTo>
                  <a:lnTo>
                    <a:pt x="1227" y="601"/>
                  </a:lnTo>
                  <a:lnTo>
                    <a:pt x="1219" y="596"/>
                  </a:lnTo>
                  <a:lnTo>
                    <a:pt x="1217" y="591"/>
                  </a:lnTo>
                  <a:lnTo>
                    <a:pt x="1210" y="591"/>
                  </a:lnTo>
                  <a:lnTo>
                    <a:pt x="1207" y="597"/>
                  </a:lnTo>
                  <a:lnTo>
                    <a:pt x="1202" y="601"/>
                  </a:lnTo>
                  <a:lnTo>
                    <a:pt x="1198" y="606"/>
                  </a:lnTo>
                  <a:lnTo>
                    <a:pt x="1193" y="608"/>
                  </a:lnTo>
                  <a:lnTo>
                    <a:pt x="1186" y="616"/>
                  </a:lnTo>
                  <a:lnTo>
                    <a:pt x="1183" y="625"/>
                  </a:lnTo>
                  <a:lnTo>
                    <a:pt x="1175" y="621"/>
                  </a:lnTo>
                  <a:lnTo>
                    <a:pt x="1176" y="609"/>
                  </a:lnTo>
                  <a:lnTo>
                    <a:pt x="1168" y="614"/>
                  </a:lnTo>
                  <a:lnTo>
                    <a:pt x="1159" y="609"/>
                  </a:lnTo>
                  <a:lnTo>
                    <a:pt x="1152" y="613"/>
                  </a:lnTo>
                  <a:lnTo>
                    <a:pt x="1149" y="613"/>
                  </a:lnTo>
                  <a:lnTo>
                    <a:pt x="1137" y="613"/>
                  </a:lnTo>
                  <a:lnTo>
                    <a:pt x="1134" y="611"/>
                  </a:lnTo>
                  <a:lnTo>
                    <a:pt x="1132" y="609"/>
                  </a:lnTo>
                  <a:lnTo>
                    <a:pt x="1124" y="606"/>
                  </a:lnTo>
                  <a:lnTo>
                    <a:pt x="1118" y="603"/>
                  </a:lnTo>
                  <a:lnTo>
                    <a:pt x="1115" y="596"/>
                  </a:lnTo>
                  <a:lnTo>
                    <a:pt x="1110" y="604"/>
                  </a:lnTo>
                  <a:lnTo>
                    <a:pt x="1112" y="611"/>
                  </a:lnTo>
                  <a:lnTo>
                    <a:pt x="1110" y="618"/>
                  </a:lnTo>
                  <a:lnTo>
                    <a:pt x="1110" y="623"/>
                  </a:lnTo>
                  <a:lnTo>
                    <a:pt x="1107" y="614"/>
                  </a:lnTo>
                  <a:lnTo>
                    <a:pt x="1100" y="613"/>
                  </a:lnTo>
                  <a:lnTo>
                    <a:pt x="1095" y="608"/>
                  </a:lnTo>
                  <a:lnTo>
                    <a:pt x="1086" y="616"/>
                  </a:lnTo>
                  <a:lnTo>
                    <a:pt x="1081" y="616"/>
                  </a:lnTo>
                  <a:lnTo>
                    <a:pt x="1079" y="611"/>
                  </a:lnTo>
                  <a:lnTo>
                    <a:pt x="1069" y="616"/>
                  </a:lnTo>
                  <a:lnTo>
                    <a:pt x="1066" y="621"/>
                  </a:lnTo>
                  <a:lnTo>
                    <a:pt x="1056" y="623"/>
                  </a:lnTo>
                  <a:lnTo>
                    <a:pt x="1052" y="631"/>
                  </a:lnTo>
                  <a:lnTo>
                    <a:pt x="1049" y="635"/>
                  </a:lnTo>
                  <a:lnTo>
                    <a:pt x="1044" y="628"/>
                  </a:lnTo>
                  <a:lnTo>
                    <a:pt x="1035" y="631"/>
                  </a:lnTo>
                  <a:lnTo>
                    <a:pt x="1030" y="631"/>
                  </a:lnTo>
                  <a:lnTo>
                    <a:pt x="1028" y="637"/>
                  </a:lnTo>
                  <a:lnTo>
                    <a:pt x="1020" y="643"/>
                  </a:lnTo>
                  <a:lnTo>
                    <a:pt x="1023" y="650"/>
                  </a:lnTo>
                  <a:lnTo>
                    <a:pt x="1020" y="659"/>
                  </a:lnTo>
                  <a:lnTo>
                    <a:pt x="1010" y="654"/>
                  </a:lnTo>
                  <a:lnTo>
                    <a:pt x="1006" y="654"/>
                  </a:lnTo>
                  <a:lnTo>
                    <a:pt x="1001" y="664"/>
                  </a:lnTo>
                  <a:lnTo>
                    <a:pt x="994" y="664"/>
                  </a:lnTo>
                  <a:lnTo>
                    <a:pt x="991" y="671"/>
                  </a:lnTo>
                  <a:lnTo>
                    <a:pt x="981" y="671"/>
                  </a:lnTo>
                  <a:lnTo>
                    <a:pt x="977" y="674"/>
                  </a:lnTo>
                  <a:lnTo>
                    <a:pt x="981" y="681"/>
                  </a:lnTo>
                  <a:lnTo>
                    <a:pt x="982" y="686"/>
                  </a:lnTo>
                  <a:lnTo>
                    <a:pt x="988" y="691"/>
                  </a:lnTo>
                  <a:lnTo>
                    <a:pt x="991" y="694"/>
                  </a:lnTo>
                  <a:lnTo>
                    <a:pt x="994" y="696"/>
                  </a:lnTo>
                  <a:lnTo>
                    <a:pt x="996" y="701"/>
                  </a:lnTo>
                  <a:lnTo>
                    <a:pt x="994" y="706"/>
                  </a:lnTo>
                  <a:lnTo>
                    <a:pt x="996" y="715"/>
                  </a:lnTo>
                  <a:lnTo>
                    <a:pt x="993" y="717"/>
                  </a:lnTo>
                  <a:lnTo>
                    <a:pt x="991" y="711"/>
                  </a:lnTo>
                  <a:lnTo>
                    <a:pt x="986" y="717"/>
                  </a:lnTo>
                  <a:lnTo>
                    <a:pt x="982" y="723"/>
                  </a:lnTo>
                  <a:lnTo>
                    <a:pt x="993" y="730"/>
                  </a:lnTo>
                  <a:lnTo>
                    <a:pt x="999" y="732"/>
                  </a:lnTo>
                  <a:lnTo>
                    <a:pt x="999" y="735"/>
                  </a:lnTo>
                  <a:lnTo>
                    <a:pt x="998" y="735"/>
                  </a:lnTo>
                  <a:lnTo>
                    <a:pt x="988" y="734"/>
                  </a:lnTo>
                  <a:lnTo>
                    <a:pt x="984" y="732"/>
                  </a:lnTo>
                  <a:lnTo>
                    <a:pt x="976" y="739"/>
                  </a:lnTo>
                  <a:lnTo>
                    <a:pt x="967" y="734"/>
                  </a:lnTo>
                  <a:lnTo>
                    <a:pt x="964" y="732"/>
                  </a:lnTo>
                  <a:lnTo>
                    <a:pt x="957" y="732"/>
                  </a:lnTo>
                  <a:lnTo>
                    <a:pt x="952" y="739"/>
                  </a:lnTo>
                  <a:lnTo>
                    <a:pt x="950" y="745"/>
                  </a:lnTo>
                  <a:lnTo>
                    <a:pt x="943" y="740"/>
                  </a:lnTo>
                  <a:lnTo>
                    <a:pt x="935" y="740"/>
                  </a:lnTo>
                  <a:lnTo>
                    <a:pt x="930" y="745"/>
                  </a:lnTo>
                  <a:lnTo>
                    <a:pt x="926" y="751"/>
                  </a:lnTo>
                  <a:lnTo>
                    <a:pt x="923" y="756"/>
                  </a:lnTo>
                  <a:lnTo>
                    <a:pt x="925" y="766"/>
                  </a:lnTo>
                  <a:lnTo>
                    <a:pt x="918" y="768"/>
                  </a:lnTo>
                  <a:lnTo>
                    <a:pt x="909" y="773"/>
                  </a:lnTo>
                  <a:lnTo>
                    <a:pt x="904" y="779"/>
                  </a:lnTo>
                  <a:lnTo>
                    <a:pt x="899" y="778"/>
                  </a:lnTo>
                  <a:lnTo>
                    <a:pt x="894" y="788"/>
                  </a:lnTo>
                  <a:lnTo>
                    <a:pt x="887" y="788"/>
                  </a:lnTo>
                  <a:lnTo>
                    <a:pt x="884" y="795"/>
                  </a:lnTo>
                  <a:lnTo>
                    <a:pt x="887" y="802"/>
                  </a:lnTo>
                  <a:lnTo>
                    <a:pt x="879" y="808"/>
                  </a:lnTo>
                  <a:lnTo>
                    <a:pt x="889" y="814"/>
                  </a:lnTo>
                  <a:lnTo>
                    <a:pt x="880" y="820"/>
                  </a:lnTo>
                  <a:lnTo>
                    <a:pt x="870" y="825"/>
                  </a:lnTo>
                  <a:lnTo>
                    <a:pt x="865" y="819"/>
                  </a:lnTo>
                  <a:lnTo>
                    <a:pt x="867" y="814"/>
                  </a:lnTo>
                  <a:lnTo>
                    <a:pt x="865" y="803"/>
                  </a:lnTo>
                  <a:lnTo>
                    <a:pt x="860" y="797"/>
                  </a:lnTo>
                  <a:lnTo>
                    <a:pt x="852" y="798"/>
                  </a:lnTo>
                  <a:lnTo>
                    <a:pt x="845" y="790"/>
                  </a:lnTo>
                  <a:lnTo>
                    <a:pt x="838" y="791"/>
                  </a:lnTo>
                  <a:lnTo>
                    <a:pt x="836" y="797"/>
                  </a:lnTo>
                  <a:lnTo>
                    <a:pt x="828" y="797"/>
                  </a:lnTo>
                  <a:lnTo>
                    <a:pt x="824" y="791"/>
                  </a:lnTo>
                  <a:lnTo>
                    <a:pt x="821" y="781"/>
                  </a:lnTo>
                  <a:lnTo>
                    <a:pt x="819" y="781"/>
                  </a:lnTo>
                  <a:lnTo>
                    <a:pt x="814" y="785"/>
                  </a:lnTo>
                  <a:lnTo>
                    <a:pt x="807" y="785"/>
                  </a:lnTo>
                  <a:lnTo>
                    <a:pt x="799" y="790"/>
                  </a:lnTo>
                  <a:lnTo>
                    <a:pt x="797" y="791"/>
                  </a:lnTo>
                  <a:lnTo>
                    <a:pt x="794" y="791"/>
                  </a:lnTo>
                  <a:lnTo>
                    <a:pt x="789" y="797"/>
                  </a:lnTo>
                  <a:lnTo>
                    <a:pt x="782" y="798"/>
                  </a:lnTo>
                  <a:lnTo>
                    <a:pt x="780" y="798"/>
                  </a:lnTo>
                  <a:lnTo>
                    <a:pt x="780" y="810"/>
                  </a:lnTo>
                  <a:lnTo>
                    <a:pt x="777" y="815"/>
                  </a:lnTo>
                  <a:lnTo>
                    <a:pt x="768" y="807"/>
                  </a:lnTo>
                  <a:lnTo>
                    <a:pt x="758" y="805"/>
                  </a:lnTo>
                  <a:lnTo>
                    <a:pt x="748" y="812"/>
                  </a:lnTo>
                  <a:lnTo>
                    <a:pt x="738" y="815"/>
                  </a:lnTo>
                  <a:lnTo>
                    <a:pt x="729" y="814"/>
                  </a:lnTo>
                  <a:lnTo>
                    <a:pt x="726" y="819"/>
                  </a:lnTo>
                  <a:lnTo>
                    <a:pt x="714" y="820"/>
                  </a:lnTo>
                  <a:lnTo>
                    <a:pt x="707" y="824"/>
                  </a:lnTo>
                  <a:lnTo>
                    <a:pt x="699" y="829"/>
                  </a:lnTo>
                  <a:lnTo>
                    <a:pt x="693" y="836"/>
                  </a:lnTo>
                  <a:lnTo>
                    <a:pt x="692" y="841"/>
                  </a:lnTo>
                  <a:lnTo>
                    <a:pt x="690" y="841"/>
                  </a:lnTo>
                  <a:lnTo>
                    <a:pt x="685" y="841"/>
                  </a:lnTo>
                  <a:lnTo>
                    <a:pt x="675" y="842"/>
                  </a:lnTo>
                  <a:lnTo>
                    <a:pt x="671" y="849"/>
                  </a:lnTo>
                  <a:lnTo>
                    <a:pt x="665" y="853"/>
                  </a:lnTo>
                  <a:lnTo>
                    <a:pt x="668" y="859"/>
                  </a:lnTo>
                  <a:lnTo>
                    <a:pt x="661" y="863"/>
                  </a:lnTo>
                  <a:lnTo>
                    <a:pt x="654" y="866"/>
                  </a:lnTo>
                  <a:lnTo>
                    <a:pt x="651" y="871"/>
                  </a:lnTo>
                  <a:lnTo>
                    <a:pt x="644" y="876"/>
                  </a:lnTo>
                  <a:lnTo>
                    <a:pt x="637" y="876"/>
                  </a:lnTo>
                  <a:lnTo>
                    <a:pt x="636" y="883"/>
                  </a:lnTo>
                  <a:lnTo>
                    <a:pt x="631" y="888"/>
                  </a:lnTo>
                  <a:lnTo>
                    <a:pt x="625" y="892"/>
                  </a:lnTo>
                  <a:lnTo>
                    <a:pt x="629" y="899"/>
                  </a:lnTo>
                  <a:lnTo>
                    <a:pt x="629" y="900"/>
                  </a:lnTo>
                  <a:lnTo>
                    <a:pt x="622" y="909"/>
                  </a:lnTo>
                  <a:lnTo>
                    <a:pt x="620" y="914"/>
                  </a:lnTo>
                  <a:lnTo>
                    <a:pt x="608" y="916"/>
                  </a:lnTo>
                  <a:lnTo>
                    <a:pt x="602" y="917"/>
                  </a:lnTo>
                  <a:lnTo>
                    <a:pt x="595" y="917"/>
                  </a:lnTo>
                  <a:lnTo>
                    <a:pt x="588" y="926"/>
                  </a:lnTo>
                  <a:lnTo>
                    <a:pt x="581" y="914"/>
                  </a:lnTo>
                  <a:lnTo>
                    <a:pt x="566" y="890"/>
                  </a:lnTo>
                  <a:lnTo>
                    <a:pt x="563" y="885"/>
                  </a:lnTo>
                  <a:lnTo>
                    <a:pt x="559" y="878"/>
                  </a:lnTo>
                  <a:lnTo>
                    <a:pt x="557" y="878"/>
                  </a:lnTo>
                  <a:lnTo>
                    <a:pt x="566" y="876"/>
                  </a:lnTo>
                  <a:lnTo>
                    <a:pt x="566" y="871"/>
                  </a:lnTo>
                  <a:lnTo>
                    <a:pt x="563" y="873"/>
                  </a:lnTo>
                  <a:lnTo>
                    <a:pt x="569" y="865"/>
                  </a:lnTo>
                  <a:lnTo>
                    <a:pt x="573" y="861"/>
                  </a:lnTo>
                  <a:lnTo>
                    <a:pt x="574" y="859"/>
                  </a:lnTo>
                  <a:lnTo>
                    <a:pt x="581" y="853"/>
                  </a:lnTo>
                  <a:lnTo>
                    <a:pt x="588" y="846"/>
                  </a:lnTo>
                  <a:lnTo>
                    <a:pt x="595" y="839"/>
                  </a:lnTo>
                  <a:lnTo>
                    <a:pt x="603" y="829"/>
                  </a:lnTo>
                  <a:lnTo>
                    <a:pt x="608" y="824"/>
                  </a:lnTo>
                  <a:lnTo>
                    <a:pt x="617" y="815"/>
                  </a:lnTo>
                  <a:lnTo>
                    <a:pt x="614" y="814"/>
                  </a:lnTo>
                  <a:lnTo>
                    <a:pt x="605" y="812"/>
                  </a:lnTo>
                  <a:lnTo>
                    <a:pt x="598" y="812"/>
                  </a:lnTo>
                  <a:lnTo>
                    <a:pt x="590" y="812"/>
                  </a:lnTo>
                  <a:lnTo>
                    <a:pt x="585" y="814"/>
                  </a:lnTo>
                  <a:lnTo>
                    <a:pt x="574" y="815"/>
                  </a:lnTo>
                  <a:lnTo>
                    <a:pt x="566" y="815"/>
                  </a:lnTo>
                  <a:lnTo>
                    <a:pt x="563" y="815"/>
                  </a:lnTo>
                  <a:lnTo>
                    <a:pt x="552" y="817"/>
                  </a:lnTo>
                  <a:lnTo>
                    <a:pt x="551" y="812"/>
                  </a:lnTo>
                  <a:lnTo>
                    <a:pt x="552" y="805"/>
                  </a:lnTo>
                  <a:lnTo>
                    <a:pt x="549" y="798"/>
                  </a:lnTo>
                  <a:lnTo>
                    <a:pt x="549" y="791"/>
                  </a:lnTo>
                  <a:lnTo>
                    <a:pt x="542" y="791"/>
                  </a:lnTo>
                  <a:lnTo>
                    <a:pt x="544" y="798"/>
                  </a:lnTo>
                  <a:lnTo>
                    <a:pt x="542" y="798"/>
                  </a:lnTo>
                  <a:lnTo>
                    <a:pt x="537" y="800"/>
                  </a:lnTo>
                  <a:lnTo>
                    <a:pt x="529" y="802"/>
                  </a:lnTo>
                  <a:lnTo>
                    <a:pt x="525" y="802"/>
                  </a:lnTo>
                  <a:lnTo>
                    <a:pt x="520" y="812"/>
                  </a:lnTo>
                  <a:lnTo>
                    <a:pt x="525" y="820"/>
                  </a:lnTo>
                  <a:lnTo>
                    <a:pt x="525" y="825"/>
                  </a:lnTo>
                  <a:lnTo>
                    <a:pt x="522" y="827"/>
                  </a:lnTo>
                  <a:lnTo>
                    <a:pt x="518" y="837"/>
                  </a:lnTo>
                  <a:lnTo>
                    <a:pt x="515" y="841"/>
                  </a:lnTo>
                  <a:lnTo>
                    <a:pt x="517" y="842"/>
                  </a:lnTo>
                  <a:lnTo>
                    <a:pt x="525" y="851"/>
                  </a:lnTo>
                  <a:lnTo>
                    <a:pt x="525" y="856"/>
                  </a:lnTo>
                  <a:lnTo>
                    <a:pt x="515" y="856"/>
                  </a:lnTo>
                  <a:lnTo>
                    <a:pt x="512" y="865"/>
                  </a:lnTo>
                  <a:lnTo>
                    <a:pt x="506" y="870"/>
                  </a:lnTo>
                  <a:lnTo>
                    <a:pt x="501" y="870"/>
                  </a:lnTo>
                  <a:lnTo>
                    <a:pt x="506" y="878"/>
                  </a:lnTo>
                  <a:lnTo>
                    <a:pt x="503" y="883"/>
                  </a:lnTo>
                  <a:lnTo>
                    <a:pt x="505" y="887"/>
                  </a:lnTo>
                  <a:lnTo>
                    <a:pt x="505" y="895"/>
                  </a:lnTo>
                  <a:lnTo>
                    <a:pt x="500" y="904"/>
                  </a:lnTo>
                  <a:lnTo>
                    <a:pt x="495" y="904"/>
                  </a:lnTo>
                  <a:lnTo>
                    <a:pt x="488" y="907"/>
                  </a:lnTo>
                  <a:lnTo>
                    <a:pt x="488" y="914"/>
                  </a:lnTo>
                  <a:lnTo>
                    <a:pt x="481" y="921"/>
                  </a:lnTo>
                  <a:lnTo>
                    <a:pt x="476" y="917"/>
                  </a:lnTo>
                  <a:lnTo>
                    <a:pt x="471" y="912"/>
                  </a:lnTo>
                  <a:lnTo>
                    <a:pt x="464" y="907"/>
                  </a:lnTo>
                  <a:lnTo>
                    <a:pt x="462" y="905"/>
                  </a:lnTo>
                  <a:lnTo>
                    <a:pt x="457" y="904"/>
                  </a:lnTo>
                  <a:lnTo>
                    <a:pt x="464" y="895"/>
                  </a:lnTo>
                  <a:lnTo>
                    <a:pt x="464" y="890"/>
                  </a:lnTo>
                  <a:lnTo>
                    <a:pt x="459" y="887"/>
                  </a:lnTo>
                  <a:lnTo>
                    <a:pt x="449" y="875"/>
                  </a:lnTo>
                  <a:lnTo>
                    <a:pt x="445" y="880"/>
                  </a:lnTo>
                  <a:lnTo>
                    <a:pt x="437" y="871"/>
                  </a:lnTo>
                  <a:lnTo>
                    <a:pt x="438" y="870"/>
                  </a:lnTo>
                  <a:lnTo>
                    <a:pt x="450" y="854"/>
                  </a:lnTo>
                  <a:lnTo>
                    <a:pt x="454" y="854"/>
                  </a:lnTo>
                  <a:lnTo>
                    <a:pt x="459" y="846"/>
                  </a:lnTo>
                  <a:lnTo>
                    <a:pt x="462" y="837"/>
                  </a:lnTo>
                  <a:lnTo>
                    <a:pt x="450" y="832"/>
                  </a:lnTo>
                  <a:lnTo>
                    <a:pt x="461" y="817"/>
                  </a:lnTo>
                  <a:lnTo>
                    <a:pt x="450" y="812"/>
                  </a:lnTo>
                  <a:lnTo>
                    <a:pt x="440" y="814"/>
                  </a:lnTo>
                  <a:lnTo>
                    <a:pt x="399" y="820"/>
                  </a:lnTo>
                  <a:lnTo>
                    <a:pt x="391" y="824"/>
                  </a:lnTo>
                  <a:lnTo>
                    <a:pt x="374" y="827"/>
                  </a:lnTo>
                  <a:lnTo>
                    <a:pt x="369" y="817"/>
                  </a:lnTo>
                  <a:lnTo>
                    <a:pt x="370" y="815"/>
                  </a:lnTo>
                  <a:lnTo>
                    <a:pt x="372" y="803"/>
                  </a:lnTo>
                  <a:lnTo>
                    <a:pt x="376" y="795"/>
                  </a:lnTo>
                  <a:lnTo>
                    <a:pt x="359" y="790"/>
                  </a:lnTo>
                  <a:lnTo>
                    <a:pt x="359" y="778"/>
                  </a:lnTo>
                  <a:lnTo>
                    <a:pt x="360" y="771"/>
                  </a:lnTo>
                  <a:lnTo>
                    <a:pt x="360" y="764"/>
                  </a:lnTo>
                  <a:lnTo>
                    <a:pt x="360" y="761"/>
                  </a:lnTo>
                  <a:lnTo>
                    <a:pt x="360" y="752"/>
                  </a:lnTo>
                  <a:lnTo>
                    <a:pt x="362" y="744"/>
                  </a:lnTo>
                  <a:lnTo>
                    <a:pt x="370" y="723"/>
                  </a:lnTo>
                  <a:lnTo>
                    <a:pt x="364" y="723"/>
                  </a:lnTo>
                  <a:lnTo>
                    <a:pt x="352" y="717"/>
                  </a:lnTo>
                  <a:lnTo>
                    <a:pt x="340" y="708"/>
                  </a:lnTo>
                  <a:lnTo>
                    <a:pt x="336" y="705"/>
                  </a:lnTo>
                  <a:lnTo>
                    <a:pt x="335" y="705"/>
                  </a:lnTo>
                  <a:lnTo>
                    <a:pt x="333" y="703"/>
                  </a:lnTo>
                  <a:lnTo>
                    <a:pt x="321" y="698"/>
                  </a:lnTo>
                  <a:lnTo>
                    <a:pt x="321" y="693"/>
                  </a:lnTo>
                  <a:lnTo>
                    <a:pt x="325" y="689"/>
                  </a:lnTo>
                  <a:lnTo>
                    <a:pt x="331" y="679"/>
                  </a:lnTo>
                  <a:lnTo>
                    <a:pt x="333" y="674"/>
                  </a:lnTo>
                  <a:lnTo>
                    <a:pt x="336" y="666"/>
                  </a:lnTo>
                  <a:lnTo>
                    <a:pt x="343" y="655"/>
                  </a:lnTo>
                  <a:lnTo>
                    <a:pt x="343" y="650"/>
                  </a:lnTo>
                  <a:lnTo>
                    <a:pt x="350" y="649"/>
                  </a:lnTo>
                  <a:lnTo>
                    <a:pt x="360" y="643"/>
                  </a:lnTo>
                  <a:lnTo>
                    <a:pt x="359" y="643"/>
                  </a:lnTo>
                  <a:lnTo>
                    <a:pt x="357" y="630"/>
                  </a:lnTo>
                  <a:lnTo>
                    <a:pt x="350" y="614"/>
                  </a:lnTo>
                  <a:lnTo>
                    <a:pt x="348" y="609"/>
                  </a:lnTo>
                  <a:lnTo>
                    <a:pt x="343" y="601"/>
                  </a:lnTo>
                  <a:lnTo>
                    <a:pt x="342" y="603"/>
                  </a:lnTo>
                  <a:lnTo>
                    <a:pt x="340" y="603"/>
                  </a:lnTo>
                  <a:lnTo>
                    <a:pt x="340" y="601"/>
                  </a:lnTo>
                  <a:lnTo>
                    <a:pt x="335" y="597"/>
                  </a:lnTo>
                  <a:lnTo>
                    <a:pt x="330" y="592"/>
                  </a:lnTo>
                  <a:lnTo>
                    <a:pt x="318" y="592"/>
                  </a:lnTo>
                  <a:lnTo>
                    <a:pt x="313" y="601"/>
                  </a:lnTo>
                  <a:lnTo>
                    <a:pt x="304" y="596"/>
                  </a:lnTo>
                  <a:lnTo>
                    <a:pt x="301" y="594"/>
                  </a:lnTo>
                  <a:lnTo>
                    <a:pt x="292" y="589"/>
                  </a:lnTo>
                  <a:lnTo>
                    <a:pt x="289" y="587"/>
                  </a:lnTo>
                  <a:lnTo>
                    <a:pt x="280" y="584"/>
                  </a:lnTo>
                  <a:lnTo>
                    <a:pt x="270" y="580"/>
                  </a:lnTo>
                  <a:lnTo>
                    <a:pt x="260" y="579"/>
                  </a:lnTo>
                  <a:lnTo>
                    <a:pt x="252" y="574"/>
                  </a:lnTo>
                  <a:lnTo>
                    <a:pt x="240" y="570"/>
                  </a:lnTo>
                  <a:lnTo>
                    <a:pt x="228" y="565"/>
                  </a:lnTo>
                  <a:lnTo>
                    <a:pt x="219" y="560"/>
                  </a:lnTo>
                  <a:lnTo>
                    <a:pt x="221" y="557"/>
                  </a:lnTo>
                  <a:lnTo>
                    <a:pt x="235" y="540"/>
                  </a:lnTo>
                  <a:lnTo>
                    <a:pt x="245" y="528"/>
                  </a:lnTo>
                  <a:lnTo>
                    <a:pt x="223" y="511"/>
                  </a:lnTo>
                  <a:lnTo>
                    <a:pt x="214" y="506"/>
                  </a:lnTo>
                  <a:lnTo>
                    <a:pt x="163" y="492"/>
                  </a:lnTo>
                  <a:lnTo>
                    <a:pt x="168" y="455"/>
                  </a:lnTo>
                  <a:lnTo>
                    <a:pt x="153" y="436"/>
                  </a:lnTo>
                  <a:lnTo>
                    <a:pt x="165" y="417"/>
                  </a:lnTo>
                  <a:lnTo>
                    <a:pt x="177" y="402"/>
                  </a:lnTo>
                  <a:lnTo>
                    <a:pt x="161" y="393"/>
                  </a:lnTo>
                  <a:lnTo>
                    <a:pt x="153" y="395"/>
                  </a:lnTo>
                  <a:lnTo>
                    <a:pt x="158" y="378"/>
                  </a:lnTo>
                  <a:lnTo>
                    <a:pt x="177" y="381"/>
                  </a:lnTo>
                  <a:lnTo>
                    <a:pt x="189" y="387"/>
                  </a:lnTo>
                  <a:lnTo>
                    <a:pt x="195" y="370"/>
                  </a:lnTo>
                  <a:lnTo>
                    <a:pt x="199" y="364"/>
                  </a:lnTo>
                  <a:lnTo>
                    <a:pt x="180" y="361"/>
                  </a:lnTo>
                  <a:lnTo>
                    <a:pt x="121" y="359"/>
                  </a:lnTo>
                  <a:lnTo>
                    <a:pt x="121" y="363"/>
                  </a:lnTo>
                  <a:lnTo>
                    <a:pt x="121" y="375"/>
                  </a:lnTo>
                  <a:lnTo>
                    <a:pt x="114" y="390"/>
                  </a:lnTo>
                  <a:lnTo>
                    <a:pt x="93" y="388"/>
                  </a:lnTo>
                  <a:lnTo>
                    <a:pt x="92" y="404"/>
                  </a:lnTo>
                  <a:lnTo>
                    <a:pt x="71" y="402"/>
                  </a:lnTo>
                  <a:lnTo>
                    <a:pt x="70" y="421"/>
                  </a:lnTo>
                  <a:lnTo>
                    <a:pt x="65" y="434"/>
                  </a:lnTo>
                  <a:lnTo>
                    <a:pt x="56" y="463"/>
                  </a:lnTo>
                  <a:lnTo>
                    <a:pt x="53" y="468"/>
                  </a:lnTo>
                  <a:lnTo>
                    <a:pt x="48" y="478"/>
                  </a:lnTo>
                  <a:lnTo>
                    <a:pt x="42" y="484"/>
                  </a:lnTo>
                  <a:lnTo>
                    <a:pt x="27" y="477"/>
                  </a:lnTo>
                  <a:lnTo>
                    <a:pt x="19" y="473"/>
                  </a:lnTo>
                  <a:lnTo>
                    <a:pt x="19" y="458"/>
                  </a:lnTo>
                  <a:lnTo>
                    <a:pt x="19" y="443"/>
                  </a:lnTo>
                  <a:lnTo>
                    <a:pt x="19" y="431"/>
                  </a:lnTo>
                  <a:lnTo>
                    <a:pt x="19" y="426"/>
                  </a:lnTo>
                  <a:lnTo>
                    <a:pt x="19" y="412"/>
                  </a:lnTo>
                  <a:lnTo>
                    <a:pt x="19" y="402"/>
                  </a:lnTo>
                  <a:lnTo>
                    <a:pt x="19" y="395"/>
                  </a:lnTo>
                  <a:lnTo>
                    <a:pt x="2" y="397"/>
                  </a:lnTo>
                  <a:lnTo>
                    <a:pt x="0" y="397"/>
                  </a:lnTo>
                  <a:lnTo>
                    <a:pt x="0" y="395"/>
                  </a:lnTo>
                  <a:lnTo>
                    <a:pt x="0" y="390"/>
                  </a:lnTo>
                  <a:lnTo>
                    <a:pt x="2" y="388"/>
                  </a:lnTo>
                  <a:lnTo>
                    <a:pt x="12" y="383"/>
                  </a:lnTo>
                  <a:lnTo>
                    <a:pt x="12" y="375"/>
                  </a:lnTo>
                  <a:lnTo>
                    <a:pt x="10" y="370"/>
                  </a:lnTo>
                  <a:lnTo>
                    <a:pt x="10" y="368"/>
                  </a:lnTo>
                  <a:lnTo>
                    <a:pt x="22" y="370"/>
                  </a:lnTo>
                  <a:lnTo>
                    <a:pt x="25" y="368"/>
                  </a:lnTo>
                  <a:lnTo>
                    <a:pt x="27" y="356"/>
                  </a:lnTo>
                  <a:lnTo>
                    <a:pt x="25" y="351"/>
                  </a:lnTo>
                  <a:lnTo>
                    <a:pt x="32" y="342"/>
                  </a:lnTo>
                  <a:lnTo>
                    <a:pt x="24" y="336"/>
                  </a:lnTo>
                  <a:lnTo>
                    <a:pt x="31" y="332"/>
                  </a:lnTo>
                  <a:lnTo>
                    <a:pt x="29" y="325"/>
                  </a:lnTo>
                  <a:lnTo>
                    <a:pt x="39" y="322"/>
                  </a:lnTo>
                  <a:lnTo>
                    <a:pt x="42" y="317"/>
                  </a:lnTo>
                  <a:lnTo>
                    <a:pt x="41" y="313"/>
                  </a:lnTo>
                  <a:lnTo>
                    <a:pt x="29" y="308"/>
                  </a:lnTo>
                  <a:lnTo>
                    <a:pt x="36" y="307"/>
                  </a:lnTo>
                  <a:lnTo>
                    <a:pt x="37" y="305"/>
                  </a:lnTo>
                  <a:lnTo>
                    <a:pt x="37" y="296"/>
                  </a:lnTo>
                  <a:lnTo>
                    <a:pt x="39" y="293"/>
                  </a:lnTo>
                  <a:lnTo>
                    <a:pt x="48" y="290"/>
                  </a:lnTo>
                  <a:lnTo>
                    <a:pt x="53" y="281"/>
                  </a:lnTo>
                  <a:lnTo>
                    <a:pt x="56" y="273"/>
                  </a:lnTo>
                  <a:lnTo>
                    <a:pt x="48" y="266"/>
                  </a:lnTo>
                  <a:lnTo>
                    <a:pt x="59" y="262"/>
                  </a:lnTo>
                  <a:lnTo>
                    <a:pt x="61" y="261"/>
                  </a:lnTo>
                  <a:lnTo>
                    <a:pt x="61" y="259"/>
                  </a:lnTo>
                  <a:lnTo>
                    <a:pt x="51" y="252"/>
                  </a:lnTo>
                  <a:lnTo>
                    <a:pt x="54" y="250"/>
                  </a:lnTo>
                  <a:lnTo>
                    <a:pt x="59" y="242"/>
                  </a:lnTo>
                  <a:lnTo>
                    <a:pt x="63" y="239"/>
                  </a:lnTo>
                  <a:lnTo>
                    <a:pt x="65" y="232"/>
                  </a:lnTo>
                  <a:lnTo>
                    <a:pt x="61" y="228"/>
                  </a:lnTo>
                  <a:lnTo>
                    <a:pt x="66" y="225"/>
                  </a:lnTo>
                  <a:lnTo>
                    <a:pt x="75" y="227"/>
                  </a:lnTo>
                  <a:lnTo>
                    <a:pt x="71" y="222"/>
                  </a:lnTo>
                  <a:lnTo>
                    <a:pt x="75" y="218"/>
                  </a:lnTo>
                  <a:lnTo>
                    <a:pt x="78" y="210"/>
                  </a:lnTo>
                  <a:lnTo>
                    <a:pt x="80" y="208"/>
                  </a:lnTo>
                  <a:lnTo>
                    <a:pt x="83" y="206"/>
                  </a:lnTo>
                  <a:lnTo>
                    <a:pt x="93" y="199"/>
                  </a:lnTo>
                  <a:lnTo>
                    <a:pt x="97" y="188"/>
                  </a:lnTo>
                  <a:lnTo>
                    <a:pt x="105" y="188"/>
                  </a:lnTo>
                  <a:lnTo>
                    <a:pt x="104" y="177"/>
                  </a:lnTo>
                  <a:lnTo>
                    <a:pt x="110" y="181"/>
                  </a:lnTo>
                  <a:lnTo>
                    <a:pt x="116" y="174"/>
                  </a:lnTo>
                  <a:lnTo>
                    <a:pt x="116" y="182"/>
                  </a:lnTo>
                  <a:lnTo>
                    <a:pt x="122" y="186"/>
                  </a:lnTo>
                  <a:lnTo>
                    <a:pt x="131" y="179"/>
                  </a:lnTo>
                  <a:lnTo>
                    <a:pt x="138" y="182"/>
                  </a:lnTo>
                  <a:lnTo>
                    <a:pt x="144" y="179"/>
                  </a:lnTo>
                  <a:lnTo>
                    <a:pt x="151" y="172"/>
                  </a:lnTo>
                  <a:lnTo>
                    <a:pt x="158" y="171"/>
                  </a:lnTo>
                  <a:lnTo>
                    <a:pt x="163" y="172"/>
                  </a:lnTo>
                  <a:lnTo>
                    <a:pt x="175" y="171"/>
                  </a:lnTo>
                  <a:lnTo>
                    <a:pt x="178" y="176"/>
                  </a:lnTo>
                  <a:lnTo>
                    <a:pt x="184" y="172"/>
                  </a:lnTo>
                  <a:lnTo>
                    <a:pt x="187" y="176"/>
                  </a:lnTo>
                  <a:lnTo>
                    <a:pt x="195" y="174"/>
                  </a:lnTo>
                  <a:lnTo>
                    <a:pt x="199" y="177"/>
                  </a:lnTo>
                  <a:lnTo>
                    <a:pt x="211" y="181"/>
                  </a:lnTo>
                  <a:lnTo>
                    <a:pt x="214" y="176"/>
                  </a:lnTo>
                  <a:lnTo>
                    <a:pt x="218" y="171"/>
                  </a:lnTo>
                  <a:lnTo>
                    <a:pt x="224" y="171"/>
                  </a:lnTo>
                  <a:lnTo>
                    <a:pt x="221" y="177"/>
                  </a:lnTo>
                  <a:lnTo>
                    <a:pt x="226" y="177"/>
                  </a:lnTo>
                  <a:lnTo>
                    <a:pt x="231" y="182"/>
                  </a:lnTo>
                  <a:lnTo>
                    <a:pt x="231" y="191"/>
                  </a:lnTo>
                  <a:lnTo>
                    <a:pt x="238" y="188"/>
                  </a:lnTo>
                  <a:lnTo>
                    <a:pt x="248" y="193"/>
                  </a:lnTo>
                  <a:lnTo>
                    <a:pt x="246" y="196"/>
                  </a:lnTo>
                  <a:lnTo>
                    <a:pt x="253" y="198"/>
                  </a:lnTo>
                  <a:lnTo>
                    <a:pt x="255" y="203"/>
                  </a:lnTo>
                  <a:lnTo>
                    <a:pt x="262" y="199"/>
                  </a:lnTo>
                  <a:lnTo>
                    <a:pt x="260" y="205"/>
                  </a:lnTo>
                  <a:lnTo>
                    <a:pt x="267" y="206"/>
                  </a:lnTo>
                  <a:lnTo>
                    <a:pt x="267" y="213"/>
                  </a:lnTo>
                  <a:lnTo>
                    <a:pt x="275" y="208"/>
                  </a:lnTo>
                  <a:lnTo>
                    <a:pt x="275" y="215"/>
                  </a:lnTo>
                  <a:lnTo>
                    <a:pt x="282" y="216"/>
                  </a:lnTo>
                  <a:lnTo>
                    <a:pt x="284" y="220"/>
                  </a:lnTo>
                  <a:lnTo>
                    <a:pt x="291" y="216"/>
                  </a:lnTo>
                  <a:lnTo>
                    <a:pt x="299" y="222"/>
                  </a:lnTo>
                  <a:lnTo>
                    <a:pt x="299" y="232"/>
                  </a:lnTo>
                  <a:lnTo>
                    <a:pt x="306" y="233"/>
                  </a:lnTo>
                  <a:lnTo>
                    <a:pt x="314" y="233"/>
                  </a:lnTo>
                  <a:lnTo>
                    <a:pt x="311" y="242"/>
                  </a:lnTo>
                  <a:lnTo>
                    <a:pt x="318" y="242"/>
                  </a:lnTo>
                  <a:lnTo>
                    <a:pt x="319" y="249"/>
                  </a:lnTo>
                  <a:lnTo>
                    <a:pt x="330" y="250"/>
                  </a:lnTo>
                  <a:lnTo>
                    <a:pt x="330" y="256"/>
                  </a:lnTo>
                  <a:lnTo>
                    <a:pt x="336" y="259"/>
                  </a:lnTo>
                  <a:lnTo>
                    <a:pt x="335" y="264"/>
                  </a:lnTo>
                  <a:lnTo>
                    <a:pt x="347" y="267"/>
                  </a:lnTo>
                  <a:lnTo>
                    <a:pt x="353" y="261"/>
                  </a:lnTo>
                  <a:lnTo>
                    <a:pt x="364" y="264"/>
                  </a:lnTo>
                  <a:lnTo>
                    <a:pt x="362" y="271"/>
                  </a:lnTo>
                  <a:lnTo>
                    <a:pt x="369" y="266"/>
                  </a:lnTo>
                  <a:lnTo>
                    <a:pt x="376" y="271"/>
                  </a:lnTo>
                  <a:lnTo>
                    <a:pt x="377" y="266"/>
                  </a:lnTo>
                  <a:lnTo>
                    <a:pt x="382" y="269"/>
                  </a:lnTo>
                  <a:lnTo>
                    <a:pt x="387" y="266"/>
                  </a:lnTo>
                  <a:lnTo>
                    <a:pt x="396" y="264"/>
                  </a:lnTo>
                  <a:lnTo>
                    <a:pt x="401" y="259"/>
                  </a:lnTo>
                  <a:lnTo>
                    <a:pt x="401" y="266"/>
                  </a:lnTo>
                  <a:lnTo>
                    <a:pt x="410" y="262"/>
                  </a:lnTo>
                  <a:lnTo>
                    <a:pt x="420" y="269"/>
                  </a:lnTo>
                  <a:lnTo>
                    <a:pt x="425" y="278"/>
                  </a:lnTo>
                  <a:lnTo>
                    <a:pt x="428" y="286"/>
                  </a:lnTo>
                  <a:lnTo>
                    <a:pt x="435" y="283"/>
                  </a:lnTo>
                  <a:lnTo>
                    <a:pt x="433" y="291"/>
                  </a:lnTo>
                  <a:lnTo>
                    <a:pt x="444" y="286"/>
                  </a:lnTo>
                  <a:lnTo>
                    <a:pt x="444" y="293"/>
                  </a:lnTo>
                  <a:lnTo>
                    <a:pt x="452" y="298"/>
                  </a:lnTo>
                  <a:lnTo>
                    <a:pt x="457" y="301"/>
                  </a:lnTo>
                  <a:lnTo>
                    <a:pt x="464" y="300"/>
                  </a:lnTo>
                  <a:lnTo>
                    <a:pt x="466" y="296"/>
                  </a:lnTo>
                  <a:lnTo>
                    <a:pt x="471" y="298"/>
                  </a:lnTo>
                  <a:lnTo>
                    <a:pt x="476" y="293"/>
                  </a:lnTo>
                  <a:lnTo>
                    <a:pt x="479" y="295"/>
                  </a:lnTo>
                  <a:lnTo>
                    <a:pt x="481" y="293"/>
                  </a:lnTo>
                  <a:lnTo>
                    <a:pt x="483" y="296"/>
                  </a:lnTo>
                  <a:lnTo>
                    <a:pt x="488" y="298"/>
                  </a:lnTo>
                  <a:lnTo>
                    <a:pt x="495" y="300"/>
                  </a:lnTo>
                  <a:lnTo>
                    <a:pt x="501" y="303"/>
                  </a:lnTo>
                  <a:lnTo>
                    <a:pt x="508" y="303"/>
                  </a:lnTo>
                  <a:lnTo>
                    <a:pt x="513" y="308"/>
                  </a:lnTo>
                  <a:lnTo>
                    <a:pt x="518" y="310"/>
                  </a:lnTo>
                  <a:lnTo>
                    <a:pt x="525" y="312"/>
                  </a:lnTo>
                  <a:lnTo>
                    <a:pt x="532" y="315"/>
                  </a:lnTo>
                  <a:lnTo>
                    <a:pt x="535" y="315"/>
                  </a:lnTo>
                  <a:lnTo>
                    <a:pt x="537" y="317"/>
                  </a:lnTo>
                  <a:lnTo>
                    <a:pt x="540" y="313"/>
                  </a:lnTo>
                  <a:lnTo>
                    <a:pt x="549" y="312"/>
                  </a:lnTo>
                  <a:lnTo>
                    <a:pt x="554" y="313"/>
                  </a:lnTo>
                  <a:lnTo>
                    <a:pt x="564" y="315"/>
                  </a:lnTo>
                  <a:lnTo>
                    <a:pt x="566" y="317"/>
                  </a:lnTo>
                  <a:lnTo>
                    <a:pt x="571" y="313"/>
                  </a:lnTo>
                  <a:lnTo>
                    <a:pt x="573" y="315"/>
                  </a:lnTo>
                  <a:lnTo>
                    <a:pt x="574" y="313"/>
                  </a:lnTo>
                  <a:lnTo>
                    <a:pt x="586" y="312"/>
                  </a:lnTo>
                  <a:lnTo>
                    <a:pt x="593" y="313"/>
                  </a:lnTo>
                  <a:lnTo>
                    <a:pt x="597" y="307"/>
                  </a:lnTo>
                  <a:lnTo>
                    <a:pt x="602" y="307"/>
                  </a:lnTo>
                  <a:lnTo>
                    <a:pt x="608" y="300"/>
                  </a:lnTo>
                  <a:lnTo>
                    <a:pt x="612" y="301"/>
                  </a:lnTo>
                  <a:lnTo>
                    <a:pt x="620" y="295"/>
                  </a:lnTo>
                  <a:lnTo>
                    <a:pt x="620" y="291"/>
                  </a:lnTo>
                  <a:lnTo>
                    <a:pt x="631" y="290"/>
                  </a:lnTo>
                  <a:lnTo>
                    <a:pt x="636" y="293"/>
                  </a:lnTo>
                  <a:lnTo>
                    <a:pt x="648" y="295"/>
                  </a:lnTo>
                  <a:lnTo>
                    <a:pt x="651" y="301"/>
                  </a:lnTo>
                  <a:lnTo>
                    <a:pt x="658" y="298"/>
                  </a:lnTo>
                  <a:lnTo>
                    <a:pt x="665" y="301"/>
                  </a:lnTo>
                  <a:lnTo>
                    <a:pt x="673" y="300"/>
                  </a:lnTo>
                  <a:lnTo>
                    <a:pt x="676" y="301"/>
                  </a:lnTo>
                  <a:lnTo>
                    <a:pt x="688" y="301"/>
                  </a:lnTo>
                  <a:lnTo>
                    <a:pt x="699" y="301"/>
                  </a:lnTo>
                  <a:lnTo>
                    <a:pt x="704" y="303"/>
                  </a:lnTo>
                  <a:lnTo>
                    <a:pt x="709" y="301"/>
                  </a:lnTo>
                  <a:lnTo>
                    <a:pt x="716" y="300"/>
                  </a:lnTo>
                  <a:lnTo>
                    <a:pt x="721" y="296"/>
                  </a:lnTo>
                  <a:lnTo>
                    <a:pt x="731" y="291"/>
                  </a:lnTo>
                  <a:lnTo>
                    <a:pt x="739" y="286"/>
                  </a:lnTo>
                  <a:lnTo>
                    <a:pt x="743" y="283"/>
                  </a:lnTo>
                  <a:lnTo>
                    <a:pt x="755" y="279"/>
                  </a:lnTo>
                  <a:lnTo>
                    <a:pt x="760" y="274"/>
                  </a:lnTo>
                  <a:lnTo>
                    <a:pt x="767" y="271"/>
                  </a:lnTo>
                  <a:lnTo>
                    <a:pt x="772" y="267"/>
                  </a:lnTo>
                  <a:lnTo>
                    <a:pt x="785" y="240"/>
                  </a:lnTo>
                  <a:lnTo>
                    <a:pt x="785" y="239"/>
                  </a:lnTo>
                  <a:lnTo>
                    <a:pt x="792" y="228"/>
                  </a:lnTo>
                  <a:lnTo>
                    <a:pt x="792" y="227"/>
                  </a:lnTo>
                  <a:lnTo>
                    <a:pt x="794" y="223"/>
                  </a:lnTo>
                  <a:lnTo>
                    <a:pt x="795" y="222"/>
                  </a:lnTo>
                  <a:lnTo>
                    <a:pt x="797" y="211"/>
                  </a:lnTo>
                  <a:lnTo>
                    <a:pt x="801" y="205"/>
                  </a:lnTo>
                  <a:lnTo>
                    <a:pt x="802" y="198"/>
                  </a:lnTo>
                  <a:lnTo>
                    <a:pt x="802" y="194"/>
                  </a:lnTo>
                  <a:lnTo>
                    <a:pt x="804" y="189"/>
                  </a:lnTo>
                  <a:lnTo>
                    <a:pt x="804" y="182"/>
                  </a:lnTo>
                  <a:lnTo>
                    <a:pt x="806" y="176"/>
                  </a:lnTo>
                  <a:lnTo>
                    <a:pt x="814" y="165"/>
                  </a:lnTo>
                  <a:lnTo>
                    <a:pt x="818" y="155"/>
                  </a:lnTo>
                  <a:lnTo>
                    <a:pt x="821" y="148"/>
                  </a:lnTo>
                  <a:lnTo>
                    <a:pt x="828" y="135"/>
                  </a:lnTo>
                  <a:lnTo>
                    <a:pt x="835" y="118"/>
                  </a:lnTo>
                  <a:lnTo>
                    <a:pt x="841" y="99"/>
                  </a:lnTo>
                  <a:lnTo>
                    <a:pt x="845" y="92"/>
                  </a:lnTo>
                  <a:lnTo>
                    <a:pt x="846" y="91"/>
                  </a:lnTo>
                  <a:lnTo>
                    <a:pt x="846" y="87"/>
                  </a:lnTo>
                  <a:lnTo>
                    <a:pt x="852" y="77"/>
                  </a:lnTo>
                  <a:lnTo>
                    <a:pt x="850" y="77"/>
                  </a:lnTo>
                  <a:lnTo>
                    <a:pt x="857" y="75"/>
                  </a:lnTo>
                  <a:lnTo>
                    <a:pt x="853" y="72"/>
                  </a:lnTo>
                  <a:lnTo>
                    <a:pt x="858" y="67"/>
                  </a:lnTo>
                  <a:lnTo>
                    <a:pt x="855" y="58"/>
                  </a:lnTo>
                  <a:lnTo>
                    <a:pt x="855" y="51"/>
                  </a:lnTo>
                  <a:lnTo>
                    <a:pt x="852" y="51"/>
                  </a:lnTo>
                  <a:lnTo>
                    <a:pt x="852" y="46"/>
                  </a:lnTo>
                  <a:lnTo>
                    <a:pt x="846" y="41"/>
                  </a:lnTo>
                  <a:lnTo>
                    <a:pt x="848" y="33"/>
                  </a:lnTo>
                  <a:lnTo>
                    <a:pt x="852" y="33"/>
                  </a:lnTo>
                  <a:lnTo>
                    <a:pt x="865" y="31"/>
                  </a:lnTo>
                  <a:lnTo>
                    <a:pt x="867" y="29"/>
                  </a:lnTo>
                  <a:lnTo>
                    <a:pt x="879" y="31"/>
                  </a:lnTo>
                  <a:lnTo>
                    <a:pt x="891" y="24"/>
                  </a:lnTo>
                  <a:lnTo>
                    <a:pt x="906" y="21"/>
                  </a:lnTo>
                  <a:lnTo>
                    <a:pt x="913" y="19"/>
                  </a:lnTo>
                  <a:lnTo>
                    <a:pt x="914" y="19"/>
                  </a:lnTo>
                  <a:lnTo>
                    <a:pt x="938" y="14"/>
                  </a:lnTo>
                  <a:lnTo>
                    <a:pt x="952" y="11"/>
                  </a:lnTo>
                  <a:lnTo>
                    <a:pt x="964" y="7"/>
                  </a:lnTo>
                  <a:lnTo>
                    <a:pt x="979" y="4"/>
                  </a:lnTo>
                  <a:lnTo>
                    <a:pt x="993" y="0"/>
                  </a:lnTo>
                  <a:lnTo>
                    <a:pt x="996" y="4"/>
                  </a:lnTo>
                  <a:lnTo>
                    <a:pt x="1001" y="7"/>
                  </a:lnTo>
                  <a:lnTo>
                    <a:pt x="999" y="17"/>
                  </a:lnTo>
                  <a:lnTo>
                    <a:pt x="998" y="26"/>
                  </a:lnTo>
                  <a:lnTo>
                    <a:pt x="999" y="36"/>
                  </a:lnTo>
                  <a:lnTo>
                    <a:pt x="1008" y="41"/>
                  </a:lnTo>
                  <a:lnTo>
                    <a:pt x="1008" y="46"/>
                  </a:lnTo>
                  <a:lnTo>
                    <a:pt x="1020" y="48"/>
                  </a:lnTo>
                  <a:lnTo>
                    <a:pt x="1025" y="48"/>
                  </a:lnTo>
                  <a:lnTo>
                    <a:pt x="1035" y="50"/>
                  </a:lnTo>
                  <a:lnTo>
                    <a:pt x="1045" y="48"/>
                  </a:lnTo>
                  <a:lnTo>
                    <a:pt x="1050" y="46"/>
                  </a:lnTo>
                  <a:lnTo>
                    <a:pt x="1061" y="55"/>
                  </a:lnTo>
                  <a:lnTo>
                    <a:pt x="1069" y="62"/>
                  </a:lnTo>
                  <a:lnTo>
                    <a:pt x="1071" y="60"/>
                  </a:lnTo>
                  <a:lnTo>
                    <a:pt x="1074" y="60"/>
                  </a:lnTo>
                  <a:lnTo>
                    <a:pt x="1083" y="67"/>
                  </a:lnTo>
                  <a:lnTo>
                    <a:pt x="1088" y="60"/>
                  </a:lnTo>
                  <a:lnTo>
                    <a:pt x="1091" y="55"/>
                  </a:lnTo>
                  <a:lnTo>
                    <a:pt x="1095" y="53"/>
                  </a:lnTo>
                  <a:lnTo>
                    <a:pt x="1112" y="46"/>
                  </a:lnTo>
                  <a:lnTo>
                    <a:pt x="1124" y="43"/>
                  </a:lnTo>
                  <a:lnTo>
                    <a:pt x="1134" y="40"/>
                  </a:lnTo>
                  <a:lnTo>
                    <a:pt x="1134" y="38"/>
                  </a:lnTo>
                  <a:lnTo>
                    <a:pt x="1144" y="38"/>
                  </a:lnTo>
                  <a:lnTo>
                    <a:pt x="1144" y="31"/>
                  </a:lnTo>
                  <a:lnTo>
                    <a:pt x="1144" y="23"/>
                  </a:lnTo>
                  <a:lnTo>
                    <a:pt x="1149" y="23"/>
                  </a:lnTo>
                  <a:lnTo>
                    <a:pt x="1156" y="23"/>
                  </a:lnTo>
                  <a:lnTo>
                    <a:pt x="1158" y="43"/>
                  </a:lnTo>
                  <a:lnTo>
                    <a:pt x="1158" y="51"/>
                  </a:lnTo>
                  <a:lnTo>
                    <a:pt x="1158" y="58"/>
                  </a:lnTo>
                  <a:lnTo>
                    <a:pt x="1159" y="67"/>
                  </a:lnTo>
                  <a:lnTo>
                    <a:pt x="1175" y="70"/>
                  </a:lnTo>
                  <a:lnTo>
                    <a:pt x="1180" y="77"/>
                  </a:lnTo>
                  <a:lnTo>
                    <a:pt x="1185" y="82"/>
                  </a:lnTo>
                  <a:lnTo>
                    <a:pt x="1185" y="84"/>
                  </a:lnTo>
                  <a:lnTo>
                    <a:pt x="1188" y="92"/>
                  </a:lnTo>
                  <a:lnTo>
                    <a:pt x="1195" y="84"/>
                  </a:lnTo>
                  <a:lnTo>
                    <a:pt x="1207" y="87"/>
                  </a:lnTo>
                  <a:lnTo>
                    <a:pt x="1202" y="96"/>
                  </a:lnTo>
                  <a:lnTo>
                    <a:pt x="1200" y="106"/>
                  </a:lnTo>
                  <a:lnTo>
                    <a:pt x="1207" y="108"/>
                  </a:lnTo>
                  <a:lnTo>
                    <a:pt x="1205" y="116"/>
                  </a:lnTo>
                  <a:lnTo>
                    <a:pt x="1212" y="111"/>
                  </a:lnTo>
                  <a:lnTo>
                    <a:pt x="1217" y="108"/>
                  </a:lnTo>
                  <a:lnTo>
                    <a:pt x="1229" y="109"/>
                  </a:lnTo>
                  <a:lnTo>
                    <a:pt x="1232" y="118"/>
                  </a:lnTo>
                  <a:lnTo>
                    <a:pt x="1234" y="121"/>
                  </a:lnTo>
                  <a:lnTo>
                    <a:pt x="1246" y="119"/>
                  </a:lnTo>
                  <a:lnTo>
                    <a:pt x="1258" y="116"/>
                  </a:lnTo>
                  <a:lnTo>
                    <a:pt x="1260" y="119"/>
                  </a:lnTo>
                  <a:lnTo>
                    <a:pt x="1271" y="116"/>
                  </a:lnTo>
                  <a:lnTo>
                    <a:pt x="1273" y="118"/>
                  </a:lnTo>
                  <a:lnTo>
                    <a:pt x="1282" y="118"/>
                  </a:lnTo>
                  <a:lnTo>
                    <a:pt x="1288" y="123"/>
                  </a:lnTo>
                  <a:lnTo>
                    <a:pt x="1294" y="119"/>
                  </a:lnTo>
                  <a:lnTo>
                    <a:pt x="1295" y="113"/>
                  </a:lnTo>
                  <a:lnTo>
                    <a:pt x="1302" y="106"/>
                  </a:lnTo>
                  <a:lnTo>
                    <a:pt x="1304" y="94"/>
                  </a:lnTo>
                  <a:lnTo>
                    <a:pt x="1311" y="91"/>
                  </a:lnTo>
                  <a:lnTo>
                    <a:pt x="1312" y="91"/>
                  </a:lnTo>
                  <a:lnTo>
                    <a:pt x="1326" y="94"/>
                  </a:lnTo>
                  <a:lnTo>
                    <a:pt x="1326" y="96"/>
                  </a:lnTo>
                  <a:lnTo>
                    <a:pt x="1331" y="94"/>
                  </a:lnTo>
                  <a:lnTo>
                    <a:pt x="1339" y="92"/>
                  </a:lnTo>
                  <a:lnTo>
                    <a:pt x="1346" y="89"/>
                  </a:lnTo>
                  <a:lnTo>
                    <a:pt x="1353" y="89"/>
                  </a:lnTo>
                  <a:lnTo>
                    <a:pt x="1365" y="91"/>
                  </a:lnTo>
                  <a:lnTo>
                    <a:pt x="1377" y="94"/>
                  </a:lnTo>
                  <a:lnTo>
                    <a:pt x="1379" y="94"/>
                  </a:lnTo>
                  <a:lnTo>
                    <a:pt x="1385" y="96"/>
                  </a:lnTo>
                  <a:lnTo>
                    <a:pt x="1394" y="97"/>
                  </a:lnTo>
                  <a:lnTo>
                    <a:pt x="1397" y="89"/>
                  </a:lnTo>
                  <a:lnTo>
                    <a:pt x="1404" y="85"/>
                  </a:lnTo>
                  <a:lnTo>
                    <a:pt x="1407" y="91"/>
                  </a:lnTo>
                  <a:lnTo>
                    <a:pt x="1418" y="94"/>
                  </a:lnTo>
                  <a:lnTo>
                    <a:pt x="1430" y="92"/>
                  </a:lnTo>
                  <a:lnTo>
                    <a:pt x="1440" y="92"/>
                  </a:lnTo>
                  <a:lnTo>
                    <a:pt x="1440" y="99"/>
                  </a:lnTo>
                  <a:lnTo>
                    <a:pt x="1450" y="102"/>
                  </a:lnTo>
                  <a:lnTo>
                    <a:pt x="1457" y="106"/>
                  </a:lnTo>
                  <a:lnTo>
                    <a:pt x="1469" y="109"/>
                  </a:lnTo>
                  <a:lnTo>
                    <a:pt x="1475" y="111"/>
                  </a:lnTo>
                  <a:lnTo>
                    <a:pt x="1470" y="118"/>
                  </a:lnTo>
                  <a:lnTo>
                    <a:pt x="1464" y="128"/>
                  </a:lnTo>
                  <a:lnTo>
                    <a:pt x="1464" y="131"/>
                  </a:lnTo>
                  <a:lnTo>
                    <a:pt x="1452" y="130"/>
                  </a:lnTo>
                  <a:lnTo>
                    <a:pt x="1447" y="121"/>
                  </a:lnTo>
                  <a:lnTo>
                    <a:pt x="1438" y="123"/>
                  </a:lnTo>
                  <a:lnTo>
                    <a:pt x="1430" y="125"/>
                  </a:lnTo>
                  <a:lnTo>
                    <a:pt x="1431" y="136"/>
                  </a:lnTo>
                  <a:lnTo>
                    <a:pt x="1440" y="136"/>
                  </a:lnTo>
                  <a:lnTo>
                    <a:pt x="1441" y="143"/>
                  </a:lnTo>
                  <a:lnTo>
                    <a:pt x="1441" y="152"/>
                  </a:lnTo>
                  <a:lnTo>
                    <a:pt x="1450" y="153"/>
                  </a:lnTo>
                  <a:lnTo>
                    <a:pt x="1462" y="150"/>
                  </a:lnTo>
                  <a:lnTo>
                    <a:pt x="1470" y="153"/>
                  </a:lnTo>
                  <a:lnTo>
                    <a:pt x="1474" y="160"/>
                  </a:lnTo>
                  <a:lnTo>
                    <a:pt x="1479" y="169"/>
                  </a:lnTo>
                  <a:lnTo>
                    <a:pt x="1484" y="176"/>
                  </a:lnTo>
                  <a:lnTo>
                    <a:pt x="1482" y="18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3" name="Freeform 12">
              <a:extLst>
                <a:ext uri="{FF2B5EF4-FFF2-40B4-BE49-F238E27FC236}">
                  <a16:creationId xmlns:a16="http://schemas.microsoft.com/office/drawing/2014/main" id="{FD104BF0-4010-4CA5-8ECE-CFE93C2BCA99}"/>
                </a:ext>
              </a:extLst>
            </p:cNvPr>
            <p:cNvSpPr>
              <a:spLocks/>
            </p:cNvSpPr>
            <p:nvPr/>
          </p:nvSpPr>
          <p:spPr bwMode="gray">
            <a:xfrm>
              <a:off x="7243763" y="1401763"/>
              <a:ext cx="1598612" cy="1487488"/>
            </a:xfrm>
            <a:custGeom>
              <a:avLst/>
              <a:gdLst>
                <a:gd name="T0" fmla="*/ 1003 w 1007"/>
                <a:gd name="T1" fmla="*/ 250 h 937"/>
                <a:gd name="T2" fmla="*/ 991 w 1007"/>
                <a:gd name="T3" fmla="*/ 384 h 937"/>
                <a:gd name="T4" fmla="*/ 983 w 1007"/>
                <a:gd name="T5" fmla="*/ 463 h 937"/>
                <a:gd name="T6" fmla="*/ 934 w 1007"/>
                <a:gd name="T7" fmla="*/ 524 h 937"/>
                <a:gd name="T8" fmla="*/ 828 w 1007"/>
                <a:gd name="T9" fmla="*/ 464 h 937"/>
                <a:gd name="T10" fmla="*/ 745 w 1007"/>
                <a:gd name="T11" fmla="*/ 554 h 937"/>
                <a:gd name="T12" fmla="*/ 679 w 1007"/>
                <a:gd name="T13" fmla="*/ 646 h 937"/>
                <a:gd name="T14" fmla="*/ 665 w 1007"/>
                <a:gd name="T15" fmla="*/ 725 h 937"/>
                <a:gd name="T16" fmla="*/ 691 w 1007"/>
                <a:gd name="T17" fmla="*/ 752 h 937"/>
                <a:gd name="T18" fmla="*/ 721 w 1007"/>
                <a:gd name="T19" fmla="*/ 822 h 937"/>
                <a:gd name="T20" fmla="*/ 774 w 1007"/>
                <a:gd name="T21" fmla="*/ 879 h 937"/>
                <a:gd name="T22" fmla="*/ 718 w 1007"/>
                <a:gd name="T23" fmla="*/ 898 h 937"/>
                <a:gd name="T24" fmla="*/ 668 w 1007"/>
                <a:gd name="T25" fmla="*/ 895 h 937"/>
                <a:gd name="T26" fmla="*/ 606 w 1007"/>
                <a:gd name="T27" fmla="*/ 890 h 937"/>
                <a:gd name="T28" fmla="*/ 548 w 1007"/>
                <a:gd name="T29" fmla="*/ 886 h 937"/>
                <a:gd name="T30" fmla="*/ 475 w 1007"/>
                <a:gd name="T31" fmla="*/ 901 h 937"/>
                <a:gd name="T32" fmla="*/ 407 w 1007"/>
                <a:gd name="T33" fmla="*/ 917 h 937"/>
                <a:gd name="T34" fmla="*/ 334 w 1007"/>
                <a:gd name="T35" fmla="*/ 917 h 937"/>
                <a:gd name="T36" fmla="*/ 283 w 1007"/>
                <a:gd name="T37" fmla="*/ 869 h 937"/>
                <a:gd name="T38" fmla="*/ 254 w 1007"/>
                <a:gd name="T39" fmla="*/ 842 h 937"/>
                <a:gd name="T40" fmla="*/ 209 w 1007"/>
                <a:gd name="T41" fmla="*/ 804 h 937"/>
                <a:gd name="T42" fmla="*/ 160 w 1007"/>
                <a:gd name="T43" fmla="*/ 810 h 937"/>
                <a:gd name="T44" fmla="*/ 106 w 1007"/>
                <a:gd name="T45" fmla="*/ 801 h 937"/>
                <a:gd name="T46" fmla="*/ 70 w 1007"/>
                <a:gd name="T47" fmla="*/ 799 h 937"/>
                <a:gd name="T48" fmla="*/ 29 w 1007"/>
                <a:gd name="T49" fmla="*/ 784 h 937"/>
                <a:gd name="T50" fmla="*/ 22 w 1007"/>
                <a:gd name="T51" fmla="*/ 760 h 937"/>
                <a:gd name="T52" fmla="*/ 68 w 1007"/>
                <a:gd name="T53" fmla="*/ 706 h 937"/>
                <a:gd name="T54" fmla="*/ 94 w 1007"/>
                <a:gd name="T55" fmla="*/ 675 h 937"/>
                <a:gd name="T56" fmla="*/ 167 w 1007"/>
                <a:gd name="T57" fmla="*/ 643 h 937"/>
                <a:gd name="T58" fmla="*/ 106 w 1007"/>
                <a:gd name="T59" fmla="*/ 602 h 937"/>
                <a:gd name="T60" fmla="*/ 85 w 1007"/>
                <a:gd name="T61" fmla="*/ 549 h 937"/>
                <a:gd name="T62" fmla="*/ 153 w 1007"/>
                <a:gd name="T63" fmla="*/ 537 h 937"/>
                <a:gd name="T64" fmla="*/ 191 w 1007"/>
                <a:gd name="T65" fmla="*/ 507 h 937"/>
                <a:gd name="T66" fmla="*/ 226 w 1007"/>
                <a:gd name="T67" fmla="*/ 442 h 937"/>
                <a:gd name="T68" fmla="*/ 215 w 1007"/>
                <a:gd name="T69" fmla="*/ 406 h 937"/>
                <a:gd name="T70" fmla="*/ 172 w 1007"/>
                <a:gd name="T71" fmla="*/ 405 h 937"/>
                <a:gd name="T72" fmla="*/ 169 w 1007"/>
                <a:gd name="T73" fmla="*/ 444 h 937"/>
                <a:gd name="T74" fmla="*/ 138 w 1007"/>
                <a:gd name="T75" fmla="*/ 439 h 937"/>
                <a:gd name="T76" fmla="*/ 116 w 1007"/>
                <a:gd name="T77" fmla="*/ 400 h 937"/>
                <a:gd name="T78" fmla="*/ 143 w 1007"/>
                <a:gd name="T79" fmla="*/ 342 h 937"/>
                <a:gd name="T80" fmla="*/ 119 w 1007"/>
                <a:gd name="T81" fmla="*/ 304 h 937"/>
                <a:gd name="T82" fmla="*/ 56 w 1007"/>
                <a:gd name="T83" fmla="*/ 315 h 937"/>
                <a:gd name="T84" fmla="*/ 116 w 1007"/>
                <a:gd name="T85" fmla="*/ 279 h 937"/>
                <a:gd name="T86" fmla="*/ 198 w 1007"/>
                <a:gd name="T87" fmla="*/ 245 h 937"/>
                <a:gd name="T88" fmla="*/ 228 w 1007"/>
                <a:gd name="T89" fmla="*/ 287 h 937"/>
                <a:gd name="T90" fmla="*/ 235 w 1007"/>
                <a:gd name="T91" fmla="*/ 349 h 937"/>
                <a:gd name="T92" fmla="*/ 276 w 1007"/>
                <a:gd name="T93" fmla="*/ 378 h 937"/>
                <a:gd name="T94" fmla="*/ 366 w 1007"/>
                <a:gd name="T95" fmla="*/ 376 h 937"/>
                <a:gd name="T96" fmla="*/ 471 w 1007"/>
                <a:gd name="T97" fmla="*/ 361 h 937"/>
                <a:gd name="T98" fmla="*/ 483 w 1007"/>
                <a:gd name="T99" fmla="*/ 287 h 937"/>
                <a:gd name="T100" fmla="*/ 524 w 1007"/>
                <a:gd name="T101" fmla="*/ 270 h 937"/>
                <a:gd name="T102" fmla="*/ 551 w 1007"/>
                <a:gd name="T103" fmla="*/ 235 h 937"/>
                <a:gd name="T104" fmla="*/ 595 w 1007"/>
                <a:gd name="T105" fmla="*/ 247 h 937"/>
                <a:gd name="T106" fmla="*/ 643 w 1007"/>
                <a:gd name="T107" fmla="*/ 231 h 937"/>
                <a:gd name="T108" fmla="*/ 663 w 1007"/>
                <a:gd name="T109" fmla="*/ 160 h 937"/>
                <a:gd name="T110" fmla="*/ 730 w 1007"/>
                <a:gd name="T111" fmla="*/ 143 h 937"/>
                <a:gd name="T112" fmla="*/ 799 w 1007"/>
                <a:gd name="T113" fmla="*/ 124 h 937"/>
                <a:gd name="T114" fmla="*/ 784 w 1007"/>
                <a:gd name="T115" fmla="*/ 88 h 937"/>
                <a:gd name="T116" fmla="*/ 776 w 1007"/>
                <a:gd name="T117" fmla="*/ 36 h 937"/>
                <a:gd name="T118" fmla="*/ 808 w 1007"/>
                <a:gd name="T119" fmla="*/ 20 h 937"/>
                <a:gd name="T120" fmla="*/ 879 w 1007"/>
                <a:gd name="T121" fmla="*/ 15 h 937"/>
                <a:gd name="T122" fmla="*/ 949 w 1007"/>
                <a:gd name="T123"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07" h="937">
                  <a:moveTo>
                    <a:pt x="978" y="0"/>
                  </a:moveTo>
                  <a:lnTo>
                    <a:pt x="979" y="5"/>
                  </a:lnTo>
                  <a:lnTo>
                    <a:pt x="983" y="53"/>
                  </a:lnTo>
                  <a:lnTo>
                    <a:pt x="993" y="71"/>
                  </a:lnTo>
                  <a:lnTo>
                    <a:pt x="1000" y="83"/>
                  </a:lnTo>
                  <a:lnTo>
                    <a:pt x="1002" y="85"/>
                  </a:lnTo>
                  <a:lnTo>
                    <a:pt x="1007" y="126"/>
                  </a:lnTo>
                  <a:lnTo>
                    <a:pt x="1005" y="158"/>
                  </a:lnTo>
                  <a:lnTo>
                    <a:pt x="1002" y="187"/>
                  </a:lnTo>
                  <a:lnTo>
                    <a:pt x="1002" y="219"/>
                  </a:lnTo>
                  <a:lnTo>
                    <a:pt x="1003" y="250"/>
                  </a:lnTo>
                  <a:lnTo>
                    <a:pt x="1005" y="287"/>
                  </a:lnTo>
                  <a:lnTo>
                    <a:pt x="1005" y="306"/>
                  </a:lnTo>
                  <a:lnTo>
                    <a:pt x="1005" y="318"/>
                  </a:lnTo>
                  <a:lnTo>
                    <a:pt x="1005" y="320"/>
                  </a:lnTo>
                  <a:lnTo>
                    <a:pt x="1003" y="335"/>
                  </a:lnTo>
                  <a:lnTo>
                    <a:pt x="1000" y="352"/>
                  </a:lnTo>
                  <a:lnTo>
                    <a:pt x="998" y="364"/>
                  </a:lnTo>
                  <a:lnTo>
                    <a:pt x="998" y="372"/>
                  </a:lnTo>
                  <a:lnTo>
                    <a:pt x="998" y="374"/>
                  </a:lnTo>
                  <a:lnTo>
                    <a:pt x="991" y="383"/>
                  </a:lnTo>
                  <a:lnTo>
                    <a:pt x="991" y="384"/>
                  </a:lnTo>
                  <a:lnTo>
                    <a:pt x="988" y="393"/>
                  </a:lnTo>
                  <a:lnTo>
                    <a:pt x="988" y="396"/>
                  </a:lnTo>
                  <a:lnTo>
                    <a:pt x="986" y="406"/>
                  </a:lnTo>
                  <a:lnTo>
                    <a:pt x="988" y="410"/>
                  </a:lnTo>
                  <a:lnTo>
                    <a:pt x="991" y="410"/>
                  </a:lnTo>
                  <a:lnTo>
                    <a:pt x="991" y="427"/>
                  </a:lnTo>
                  <a:lnTo>
                    <a:pt x="993" y="437"/>
                  </a:lnTo>
                  <a:lnTo>
                    <a:pt x="993" y="442"/>
                  </a:lnTo>
                  <a:lnTo>
                    <a:pt x="990" y="451"/>
                  </a:lnTo>
                  <a:lnTo>
                    <a:pt x="985" y="456"/>
                  </a:lnTo>
                  <a:lnTo>
                    <a:pt x="983" y="463"/>
                  </a:lnTo>
                  <a:lnTo>
                    <a:pt x="981" y="468"/>
                  </a:lnTo>
                  <a:lnTo>
                    <a:pt x="979" y="473"/>
                  </a:lnTo>
                  <a:lnTo>
                    <a:pt x="976" y="480"/>
                  </a:lnTo>
                  <a:lnTo>
                    <a:pt x="973" y="488"/>
                  </a:lnTo>
                  <a:lnTo>
                    <a:pt x="971" y="495"/>
                  </a:lnTo>
                  <a:lnTo>
                    <a:pt x="981" y="524"/>
                  </a:lnTo>
                  <a:lnTo>
                    <a:pt x="964" y="531"/>
                  </a:lnTo>
                  <a:lnTo>
                    <a:pt x="956" y="536"/>
                  </a:lnTo>
                  <a:lnTo>
                    <a:pt x="952" y="536"/>
                  </a:lnTo>
                  <a:lnTo>
                    <a:pt x="942" y="529"/>
                  </a:lnTo>
                  <a:lnTo>
                    <a:pt x="934" y="524"/>
                  </a:lnTo>
                  <a:lnTo>
                    <a:pt x="925" y="519"/>
                  </a:lnTo>
                  <a:lnTo>
                    <a:pt x="915" y="512"/>
                  </a:lnTo>
                  <a:lnTo>
                    <a:pt x="886" y="493"/>
                  </a:lnTo>
                  <a:lnTo>
                    <a:pt x="881" y="490"/>
                  </a:lnTo>
                  <a:lnTo>
                    <a:pt x="876" y="486"/>
                  </a:lnTo>
                  <a:lnTo>
                    <a:pt x="869" y="481"/>
                  </a:lnTo>
                  <a:lnTo>
                    <a:pt x="859" y="474"/>
                  </a:lnTo>
                  <a:lnTo>
                    <a:pt x="857" y="473"/>
                  </a:lnTo>
                  <a:lnTo>
                    <a:pt x="850" y="469"/>
                  </a:lnTo>
                  <a:lnTo>
                    <a:pt x="838" y="461"/>
                  </a:lnTo>
                  <a:lnTo>
                    <a:pt x="828" y="464"/>
                  </a:lnTo>
                  <a:lnTo>
                    <a:pt x="811" y="468"/>
                  </a:lnTo>
                  <a:lnTo>
                    <a:pt x="798" y="486"/>
                  </a:lnTo>
                  <a:lnTo>
                    <a:pt x="791" y="491"/>
                  </a:lnTo>
                  <a:lnTo>
                    <a:pt x="776" y="503"/>
                  </a:lnTo>
                  <a:lnTo>
                    <a:pt x="769" y="510"/>
                  </a:lnTo>
                  <a:lnTo>
                    <a:pt x="760" y="515"/>
                  </a:lnTo>
                  <a:lnTo>
                    <a:pt x="759" y="526"/>
                  </a:lnTo>
                  <a:lnTo>
                    <a:pt x="757" y="532"/>
                  </a:lnTo>
                  <a:lnTo>
                    <a:pt x="753" y="537"/>
                  </a:lnTo>
                  <a:lnTo>
                    <a:pt x="750" y="544"/>
                  </a:lnTo>
                  <a:lnTo>
                    <a:pt x="745" y="554"/>
                  </a:lnTo>
                  <a:lnTo>
                    <a:pt x="740" y="565"/>
                  </a:lnTo>
                  <a:lnTo>
                    <a:pt x="730" y="578"/>
                  </a:lnTo>
                  <a:lnTo>
                    <a:pt x="725" y="588"/>
                  </a:lnTo>
                  <a:lnTo>
                    <a:pt x="723" y="594"/>
                  </a:lnTo>
                  <a:lnTo>
                    <a:pt x="718" y="600"/>
                  </a:lnTo>
                  <a:lnTo>
                    <a:pt x="714" y="605"/>
                  </a:lnTo>
                  <a:lnTo>
                    <a:pt x="697" y="621"/>
                  </a:lnTo>
                  <a:lnTo>
                    <a:pt x="696" y="622"/>
                  </a:lnTo>
                  <a:lnTo>
                    <a:pt x="691" y="629"/>
                  </a:lnTo>
                  <a:lnTo>
                    <a:pt x="685" y="639"/>
                  </a:lnTo>
                  <a:lnTo>
                    <a:pt x="679" y="646"/>
                  </a:lnTo>
                  <a:lnTo>
                    <a:pt x="675" y="653"/>
                  </a:lnTo>
                  <a:lnTo>
                    <a:pt x="672" y="662"/>
                  </a:lnTo>
                  <a:lnTo>
                    <a:pt x="670" y="670"/>
                  </a:lnTo>
                  <a:lnTo>
                    <a:pt x="668" y="677"/>
                  </a:lnTo>
                  <a:lnTo>
                    <a:pt x="667" y="689"/>
                  </a:lnTo>
                  <a:lnTo>
                    <a:pt x="667" y="697"/>
                  </a:lnTo>
                  <a:lnTo>
                    <a:pt x="667" y="709"/>
                  </a:lnTo>
                  <a:lnTo>
                    <a:pt x="665" y="709"/>
                  </a:lnTo>
                  <a:lnTo>
                    <a:pt x="665" y="711"/>
                  </a:lnTo>
                  <a:lnTo>
                    <a:pt x="665" y="719"/>
                  </a:lnTo>
                  <a:lnTo>
                    <a:pt x="665" y="725"/>
                  </a:lnTo>
                  <a:lnTo>
                    <a:pt x="665" y="726"/>
                  </a:lnTo>
                  <a:lnTo>
                    <a:pt x="665" y="736"/>
                  </a:lnTo>
                  <a:lnTo>
                    <a:pt x="667" y="747"/>
                  </a:lnTo>
                  <a:lnTo>
                    <a:pt x="667" y="748"/>
                  </a:lnTo>
                  <a:lnTo>
                    <a:pt x="667" y="753"/>
                  </a:lnTo>
                  <a:lnTo>
                    <a:pt x="667" y="755"/>
                  </a:lnTo>
                  <a:lnTo>
                    <a:pt x="670" y="760"/>
                  </a:lnTo>
                  <a:lnTo>
                    <a:pt x="679" y="755"/>
                  </a:lnTo>
                  <a:lnTo>
                    <a:pt x="689" y="750"/>
                  </a:lnTo>
                  <a:lnTo>
                    <a:pt x="691" y="745"/>
                  </a:lnTo>
                  <a:lnTo>
                    <a:pt x="691" y="752"/>
                  </a:lnTo>
                  <a:lnTo>
                    <a:pt x="692" y="757"/>
                  </a:lnTo>
                  <a:lnTo>
                    <a:pt x="692" y="764"/>
                  </a:lnTo>
                  <a:lnTo>
                    <a:pt x="694" y="765"/>
                  </a:lnTo>
                  <a:lnTo>
                    <a:pt x="702" y="772"/>
                  </a:lnTo>
                  <a:lnTo>
                    <a:pt x="711" y="779"/>
                  </a:lnTo>
                  <a:lnTo>
                    <a:pt x="711" y="782"/>
                  </a:lnTo>
                  <a:lnTo>
                    <a:pt x="711" y="791"/>
                  </a:lnTo>
                  <a:lnTo>
                    <a:pt x="706" y="801"/>
                  </a:lnTo>
                  <a:lnTo>
                    <a:pt x="709" y="806"/>
                  </a:lnTo>
                  <a:lnTo>
                    <a:pt x="713" y="813"/>
                  </a:lnTo>
                  <a:lnTo>
                    <a:pt x="721" y="822"/>
                  </a:lnTo>
                  <a:lnTo>
                    <a:pt x="726" y="823"/>
                  </a:lnTo>
                  <a:lnTo>
                    <a:pt x="731" y="828"/>
                  </a:lnTo>
                  <a:lnTo>
                    <a:pt x="735" y="833"/>
                  </a:lnTo>
                  <a:lnTo>
                    <a:pt x="750" y="852"/>
                  </a:lnTo>
                  <a:lnTo>
                    <a:pt x="753" y="857"/>
                  </a:lnTo>
                  <a:lnTo>
                    <a:pt x="769" y="862"/>
                  </a:lnTo>
                  <a:lnTo>
                    <a:pt x="774" y="864"/>
                  </a:lnTo>
                  <a:lnTo>
                    <a:pt x="786" y="867"/>
                  </a:lnTo>
                  <a:lnTo>
                    <a:pt x="777" y="874"/>
                  </a:lnTo>
                  <a:lnTo>
                    <a:pt x="776" y="878"/>
                  </a:lnTo>
                  <a:lnTo>
                    <a:pt x="774" y="879"/>
                  </a:lnTo>
                  <a:lnTo>
                    <a:pt x="765" y="888"/>
                  </a:lnTo>
                  <a:lnTo>
                    <a:pt x="764" y="891"/>
                  </a:lnTo>
                  <a:lnTo>
                    <a:pt x="762" y="891"/>
                  </a:lnTo>
                  <a:lnTo>
                    <a:pt x="755" y="901"/>
                  </a:lnTo>
                  <a:lnTo>
                    <a:pt x="748" y="900"/>
                  </a:lnTo>
                  <a:lnTo>
                    <a:pt x="738" y="893"/>
                  </a:lnTo>
                  <a:lnTo>
                    <a:pt x="738" y="891"/>
                  </a:lnTo>
                  <a:lnTo>
                    <a:pt x="726" y="895"/>
                  </a:lnTo>
                  <a:lnTo>
                    <a:pt x="725" y="896"/>
                  </a:lnTo>
                  <a:lnTo>
                    <a:pt x="721" y="895"/>
                  </a:lnTo>
                  <a:lnTo>
                    <a:pt x="718" y="898"/>
                  </a:lnTo>
                  <a:lnTo>
                    <a:pt x="714" y="896"/>
                  </a:lnTo>
                  <a:lnTo>
                    <a:pt x="713" y="898"/>
                  </a:lnTo>
                  <a:lnTo>
                    <a:pt x="701" y="898"/>
                  </a:lnTo>
                  <a:lnTo>
                    <a:pt x="697" y="901"/>
                  </a:lnTo>
                  <a:lnTo>
                    <a:pt x="692" y="891"/>
                  </a:lnTo>
                  <a:lnTo>
                    <a:pt x="692" y="884"/>
                  </a:lnTo>
                  <a:lnTo>
                    <a:pt x="680" y="886"/>
                  </a:lnTo>
                  <a:lnTo>
                    <a:pt x="679" y="886"/>
                  </a:lnTo>
                  <a:lnTo>
                    <a:pt x="675" y="895"/>
                  </a:lnTo>
                  <a:lnTo>
                    <a:pt x="667" y="896"/>
                  </a:lnTo>
                  <a:lnTo>
                    <a:pt x="668" y="895"/>
                  </a:lnTo>
                  <a:lnTo>
                    <a:pt x="663" y="893"/>
                  </a:lnTo>
                  <a:lnTo>
                    <a:pt x="658" y="886"/>
                  </a:lnTo>
                  <a:lnTo>
                    <a:pt x="653" y="890"/>
                  </a:lnTo>
                  <a:lnTo>
                    <a:pt x="651" y="884"/>
                  </a:lnTo>
                  <a:lnTo>
                    <a:pt x="643" y="883"/>
                  </a:lnTo>
                  <a:lnTo>
                    <a:pt x="640" y="878"/>
                  </a:lnTo>
                  <a:lnTo>
                    <a:pt x="640" y="879"/>
                  </a:lnTo>
                  <a:lnTo>
                    <a:pt x="638" y="878"/>
                  </a:lnTo>
                  <a:lnTo>
                    <a:pt x="624" y="879"/>
                  </a:lnTo>
                  <a:lnTo>
                    <a:pt x="607" y="888"/>
                  </a:lnTo>
                  <a:lnTo>
                    <a:pt x="606" y="890"/>
                  </a:lnTo>
                  <a:lnTo>
                    <a:pt x="599" y="890"/>
                  </a:lnTo>
                  <a:lnTo>
                    <a:pt x="590" y="886"/>
                  </a:lnTo>
                  <a:lnTo>
                    <a:pt x="582" y="886"/>
                  </a:lnTo>
                  <a:lnTo>
                    <a:pt x="573" y="890"/>
                  </a:lnTo>
                  <a:lnTo>
                    <a:pt x="570" y="890"/>
                  </a:lnTo>
                  <a:lnTo>
                    <a:pt x="563" y="886"/>
                  </a:lnTo>
                  <a:lnTo>
                    <a:pt x="565" y="881"/>
                  </a:lnTo>
                  <a:lnTo>
                    <a:pt x="565" y="874"/>
                  </a:lnTo>
                  <a:lnTo>
                    <a:pt x="556" y="876"/>
                  </a:lnTo>
                  <a:lnTo>
                    <a:pt x="549" y="874"/>
                  </a:lnTo>
                  <a:lnTo>
                    <a:pt x="548" y="886"/>
                  </a:lnTo>
                  <a:lnTo>
                    <a:pt x="539" y="883"/>
                  </a:lnTo>
                  <a:lnTo>
                    <a:pt x="527" y="886"/>
                  </a:lnTo>
                  <a:lnTo>
                    <a:pt x="526" y="891"/>
                  </a:lnTo>
                  <a:lnTo>
                    <a:pt x="526" y="901"/>
                  </a:lnTo>
                  <a:lnTo>
                    <a:pt x="514" y="905"/>
                  </a:lnTo>
                  <a:lnTo>
                    <a:pt x="504" y="898"/>
                  </a:lnTo>
                  <a:lnTo>
                    <a:pt x="498" y="903"/>
                  </a:lnTo>
                  <a:lnTo>
                    <a:pt x="492" y="907"/>
                  </a:lnTo>
                  <a:lnTo>
                    <a:pt x="490" y="913"/>
                  </a:lnTo>
                  <a:lnTo>
                    <a:pt x="481" y="905"/>
                  </a:lnTo>
                  <a:lnTo>
                    <a:pt x="475" y="901"/>
                  </a:lnTo>
                  <a:lnTo>
                    <a:pt x="470" y="900"/>
                  </a:lnTo>
                  <a:lnTo>
                    <a:pt x="464" y="907"/>
                  </a:lnTo>
                  <a:lnTo>
                    <a:pt x="456" y="908"/>
                  </a:lnTo>
                  <a:lnTo>
                    <a:pt x="447" y="901"/>
                  </a:lnTo>
                  <a:lnTo>
                    <a:pt x="441" y="900"/>
                  </a:lnTo>
                  <a:lnTo>
                    <a:pt x="430" y="896"/>
                  </a:lnTo>
                  <a:lnTo>
                    <a:pt x="425" y="905"/>
                  </a:lnTo>
                  <a:lnTo>
                    <a:pt x="422" y="903"/>
                  </a:lnTo>
                  <a:lnTo>
                    <a:pt x="412" y="903"/>
                  </a:lnTo>
                  <a:lnTo>
                    <a:pt x="407" y="912"/>
                  </a:lnTo>
                  <a:lnTo>
                    <a:pt x="407" y="917"/>
                  </a:lnTo>
                  <a:lnTo>
                    <a:pt x="398" y="925"/>
                  </a:lnTo>
                  <a:lnTo>
                    <a:pt x="390" y="920"/>
                  </a:lnTo>
                  <a:lnTo>
                    <a:pt x="379" y="918"/>
                  </a:lnTo>
                  <a:lnTo>
                    <a:pt x="374" y="924"/>
                  </a:lnTo>
                  <a:lnTo>
                    <a:pt x="374" y="934"/>
                  </a:lnTo>
                  <a:lnTo>
                    <a:pt x="362" y="935"/>
                  </a:lnTo>
                  <a:lnTo>
                    <a:pt x="352" y="937"/>
                  </a:lnTo>
                  <a:lnTo>
                    <a:pt x="347" y="929"/>
                  </a:lnTo>
                  <a:lnTo>
                    <a:pt x="342" y="925"/>
                  </a:lnTo>
                  <a:lnTo>
                    <a:pt x="337" y="918"/>
                  </a:lnTo>
                  <a:lnTo>
                    <a:pt x="334" y="917"/>
                  </a:lnTo>
                  <a:lnTo>
                    <a:pt x="335" y="908"/>
                  </a:lnTo>
                  <a:lnTo>
                    <a:pt x="330" y="908"/>
                  </a:lnTo>
                  <a:lnTo>
                    <a:pt x="323" y="898"/>
                  </a:lnTo>
                  <a:lnTo>
                    <a:pt x="318" y="898"/>
                  </a:lnTo>
                  <a:lnTo>
                    <a:pt x="320" y="890"/>
                  </a:lnTo>
                  <a:lnTo>
                    <a:pt x="315" y="890"/>
                  </a:lnTo>
                  <a:lnTo>
                    <a:pt x="315" y="879"/>
                  </a:lnTo>
                  <a:lnTo>
                    <a:pt x="306" y="873"/>
                  </a:lnTo>
                  <a:lnTo>
                    <a:pt x="305" y="871"/>
                  </a:lnTo>
                  <a:lnTo>
                    <a:pt x="296" y="867"/>
                  </a:lnTo>
                  <a:lnTo>
                    <a:pt x="283" y="869"/>
                  </a:lnTo>
                  <a:lnTo>
                    <a:pt x="279" y="873"/>
                  </a:lnTo>
                  <a:lnTo>
                    <a:pt x="279" y="869"/>
                  </a:lnTo>
                  <a:lnTo>
                    <a:pt x="283" y="866"/>
                  </a:lnTo>
                  <a:lnTo>
                    <a:pt x="281" y="857"/>
                  </a:lnTo>
                  <a:lnTo>
                    <a:pt x="274" y="861"/>
                  </a:lnTo>
                  <a:lnTo>
                    <a:pt x="269" y="854"/>
                  </a:lnTo>
                  <a:lnTo>
                    <a:pt x="264" y="856"/>
                  </a:lnTo>
                  <a:lnTo>
                    <a:pt x="262" y="850"/>
                  </a:lnTo>
                  <a:lnTo>
                    <a:pt x="259" y="854"/>
                  </a:lnTo>
                  <a:lnTo>
                    <a:pt x="255" y="852"/>
                  </a:lnTo>
                  <a:lnTo>
                    <a:pt x="254" y="842"/>
                  </a:lnTo>
                  <a:lnTo>
                    <a:pt x="245" y="839"/>
                  </a:lnTo>
                  <a:lnTo>
                    <a:pt x="237" y="840"/>
                  </a:lnTo>
                  <a:lnTo>
                    <a:pt x="232" y="844"/>
                  </a:lnTo>
                  <a:lnTo>
                    <a:pt x="225" y="849"/>
                  </a:lnTo>
                  <a:lnTo>
                    <a:pt x="223" y="837"/>
                  </a:lnTo>
                  <a:lnTo>
                    <a:pt x="218" y="833"/>
                  </a:lnTo>
                  <a:lnTo>
                    <a:pt x="215" y="825"/>
                  </a:lnTo>
                  <a:lnTo>
                    <a:pt x="209" y="825"/>
                  </a:lnTo>
                  <a:lnTo>
                    <a:pt x="215" y="820"/>
                  </a:lnTo>
                  <a:lnTo>
                    <a:pt x="209" y="811"/>
                  </a:lnTo>
                  <a:lnTo>
                    <a:pt x="209" y="804"/>
                  </a:lnTo>
                  <a:lnTo>
                    <a:pt x="204" y="811"/>
                  </a:lnTo>
                  <a:lnTo>
                    <a:pt x="203" y="808"/>
                  </a:lnTo>
                  <a:lnTo>
                    <a:pt x="199" y="804"/>
                  </a:lnTo>
                  <a:lnTo>
                    <a:pt x="189" y="801"/>
                  </a:lnTo>
                  <a:lnTo>
                    <a:pt x="184" y="806"/>
                  </a:lnTo>
                  <a:lnTo>
                    <a:pt x="172" y="808"/>
                  </a:lnTo>
                  <a:lnTo>
                    <a:pt x="169" y="806"/>
                  </a:lnTo>
                  <a:lnTo>
                    <a:pt x="167" y="810"/>
                  </a:lnTo>
                  <a:lnTo>
                    <a:pt x="170" y="816"/>
                  </a:lnTo>
                  <a:lnTo>
                    <a:pt x="167" y="818"/>
                  </a:lnTo>
                  <a:lnTo>
                    <a:pt x="160" y="810"/>
                  </a:lnTo>
                  <a:lnTo>
                    <a:pt x="148" y="815"/>
                  </a:lnTo>
                  <a:lnTo>
                    <a:pt x="147" y="806"/>
                  </a:lnTo>
                  <a:lnTo>
                    <a:pt x="143" y="811"/>
                  </a:lnTo>
                  <a:lnTo>
                    <a:pt x="136" y="803"/>
                  </a:lnTo>
                  <a:lnTo>
                    <a:pt x="128" y="803"/>
                  </a:lnTo>
                  <a:lnTo>
                    <a:pt x="121" y="794"/>
                  </a:lnTo>
                  <a:lnTo>
                    <a:pt x="114" y="796"/>
                  </a:lnTo>
                  <a:lnTo>
                    <a:pt x="106" y="791"/>
                  </a:lnTo>
                  <a:lnTo>
                    <a:pt x="99" y="794"/>
                  </a:lnTo>
                  <a:lnTo>
                    <a:pt x="94" y="801"/>
                  </a:lnTo>
                  <a:lnTo>
                    <a:pt x="106" y="801"/>
                  </a:lnTo>
                  <a:lnTo>
                    <a:pt x="104" y="808"/>
                  </a:lnTo>
                  <a:lnTo>
                    <a:pt x="96" y="804"/>
                  </a:lnTo>
                  <a:lnTo>
                    <a:pt x="96" y="808"/>
                  </a:lnTo>
                  <a:lnTo>
                    <a:pt x="89" y="813"/>
                  </a:lnTo>
                  <a:lnTo>
                    <a:pt x="82" y="813"/>
                  </a:lnTo>
                  <a:lnTo>
                    <a:pt x="80" y="820"/>
                  </a:lnTo>
                  <a:lnTo>
                    <a:pt x="75" y="820"/>
                  </a:lnTo>
                  <a:lnTo>
                    <a:pt x="79" y="813"/>
                  </a:lnTo>
                  <a:lnTo>
                    <a:pt x="73" y="808"/>
                  </a:lnTo>
                  <a:lnTo>
                    <a:pt x="67" y="804"/>
                  </a:lnTo>
                  <a:lnTo>
                    <a:pt x="70" y="799"/>
                  </a:lnTo>
                  <a:lnTo>
                    <a:pt x="63" y="794"/>
                  </a:lnTo>
                  <a:lnTo>
                    <a:pt x="62" y="789"/>
                  </a:lnTo>
                  <a:lnTo>
                    <a:pt x="58" y="798"/>
                  </a:lnTo>
                  <a:lnTo>
                    <a:pt x="50" y="794"/>
                  </a:lnTo>
                  <a:lnTo>
                    <a:pt x="55" y="798"/>
                  </a:lnTo>
                  <a:lnTo>
                    <a:pt x="46" y="806"/>
                  </a:lnTo>
                  <a:lnTo>
                    <a:pt x="48" y="799"/>
                  </a:lnTo>
                  <a:lnTo>
                    <a:pt x="45" y="796"/>
                  </a:lnTo>
                  <a:lnTo>
                    <a:pt x="41" y="789"/>
                  </a:lnTo>
                  <a:lnTo>
                    <a:pt x="41" y="786"/>
                  </a:lnTo>
                  <a:lnTo>
                    <a:pt x="29" y="784"/>
                  </a:lnTo>
                  <a:lnTo>
                    <a:pt x="21" y="789"/>
                  </a:lnTo>
                  <a:lnTo>
                    <a:pt x="22" y="782"/>
                  </a:lnTo>
                  <a:lnTo>
                    <a:pt x="16" y="787"/>
                  </a:lnTo>
                  <a:lnTo>
                    <a:pt x="11" y="777"/>
                  </a:lnTo>
                  <a:lnTo>
                    <a:pt x="5" y="781"/>
                  </a:lnTo>
                  <a:lnTo>
                    <a:pt x="2" y="772"/>
                  </a:lnTo>
                  <a:lnTo>
                    <a:pt x="0" y="769"/>
                  </a:lnTo>
                  <a:lnTo>
                    <a:pt x="12" y="767"/>
                  </a:lnTo>
                  <a:lnTo>
                    <a:pt x="12" y="770"/>
                  </a:lnTo>
                  <a:lnTo>
                    <a:pt x="19" y="770"/>
                  </a:lnTo>
                  <a:lnTo>
                    <a:pt x="22" y="760"/>
                  </a:lnTo>
                  <a:lnTo>
                    <a:pt x="21" y="753"/>
                  </a:lnTo>
                  <a:lnTo>
                    <a:pt x="22" y="748"/>
                  </a:lnTo>
                  <a:lnTo>
                    <a:pt x="29" y="742"/>
                  </a:lnTo>
                  <a:lnTo>
                    <a:pt x="45" y="740"/>
                  </a:lnTo>
                  <a:lnTo>
                    <a:pt x="41" y="728"/>
                  </a:lnTo>
                  <a:lnTo>
                    <a:pt x="39" y="728"/>
                  </a:lnTo>
                  <a:lnTo>
                    <a:pt x="43" y="718"/>
                  </a:lnTo>
                  <a:lnTo>
                    <a:pt x="45" y="711"/>
                  </a:lnTo>
                  <a:lnTo>
                    <a:pt x="55" y="711"/>
                  </a:lnTo>
                  <a:lnTo>
                    <a:pt x="55" y="708"/>
                  </a:lnTo>
                  <a:lnTo>
                    <a:pt x="68" y="706"/>
                  </a:lnTo>
                  <a:lnTo>
                    <a:pt x="67" y="699"/>
                  </a:lnTo>
                  <a:lnTo>
                    <a:pt x="72" y="697"/>
                  </a:lnTo>
                  <a:lnTo>
                    <a:pt x="72" y="694"/>
                  </a:lnTo>
                  <a:lnTo>
                    <a:pt x="79" y="694"/>
                  </a:lnTo>
                  <a:lnTo>
                    <a:pt x="79" y="691"/>
                  </a:lnTo>
                  <a:lnTo>
                    <a:pt x="77" y="687"/>
                  </a:lnTo>
                  <a:lnTo>
                    <a:pt x="77" y="677"/>
                  </a:lnTo>
                  <a:lnTo>
                    <a:pt x="79" y="670"/>
                  </a:lnTo>
                  <a:lnTo>
                    <a:pt x="90" y="674"/>
                  </a:lnTo>
                  <a:lnTo>
                    <a:pt x="89" y="677"/>
                  </a:lnTo>
                  <a:lnTo>
                    <a:pt x="94" y="675"/>
                  </a:lnTo>
                  <a:lnTo>
                    <a:pt x="94" y="680"/>
                  </a:lnTo>
                  <a:lnTo>
                    <a:pt x="107" y="682"/>
                  </a:lnTo>
                  <a:lnTo>
                    <a:pt x="107" y="672"/>
                  </a:lnTo>
                  <a:lnTo>
                    <a:pt x="114" y="672"/>
                  </a:lnTo>
                  <a:lnTo>
                    <a:pt x="121" y="674"/>
                  </a:lnTo>
                  <a:lnTo>
                    <a:pt x="140" y="675"/>
                  </a:lnTo>
                  <a:lnTo>
                    <a:pt x="141" y="662"/>
                  </a:lnTo>
                  <a:lnTo>
                    <a:pt x="147" y="657"/>
                  </a:lnTo>
                  <a:lnTo>
                    <a:pt x="148" y="650"/>
                  </a:lnTo>
                  <a:lnTo>
                    <a:pt x="158" y="645"/>
                  </a:lnTo>
                  <a:lnTo>
                    <a:pt x="167" y="643"/>
                  </a:lnTo>
                  <a:lnTo>
                    <a:pt x="164" y="634"/>
                  </a:lnTo>
                  <a:lnTo>
                    <a:pt x="162" y="628"/>
                  </a:lnTo>
                  <a:lnTo>
                    <a:pt x="155" y="629"/>
                  </a:lnTo>
                  <a:lnTo>
                    <a:pt x="153" y="617"/>
                  </a:lnTo>
                  <a:lnTo>
                    <a:pt x="147" y="621"/>
                  </a:lnTo>
                  <a:lnTo>
                    <a:pt x="135" y="622"/>
                  </a:lnTo>
                  <a:lnTo>
                    <a:pt x="128" y="628"/>
                  </a:lnTo>
                  <a:lnTo>
                    <a:pt x="118" y="619"/>
                  </a:lnTo>
                  <a:lnTo>
                    <a:pt x="109" y="616"/>
                  </a:lnTo>
                  <a:lnTo>
                    <a:pt x="106" y="614"/>
                  </a:lnTo>
                  <a:lnTo>
                    <a:pt x="106" y="602"/>
                  </a:lnTo>
                  <a:lnTo>
                    <a:pt x="96" y="600"/>
                  </a:lnTo>
                  <a:lnTo>
                    <a:pt x="82" y="597"/>
                  </a:lnTo>
                  <a:lnTo>
                    <a:pt x="84" y="587"/>
                  </a:lnTo>
                  <a:lnTo>
                    <a:pt x="84" y="582"/>
                  </a:lnTo>
                  <a:lnTo>
                    <a:pt x="80" y="575"/>
                  </a:lnTo>
                  <a:lnTo>
                    <a:pt x="72" y="570"/>
                  </a:lnTo>
                  <a:lnTo>
                    <a:pt x="75" y="561"/>
                  </a:lnTo>
                  <a:lnTo>
                    <a:pt x="80" y="558"/>
                  </a:lnTo>
                  <a:lnTo>
                    <a:pt x="77" y="553"/>
                  </a:lnTo>
                  <a:lnTo>
                    <a:pt x="84" y="553"/>
                  </a:lnTo>
                  <a:lnTo>
                    <a:pt x="85" y="549"/>
                  </a:lnTo>
                  <a:lnTo>
                    <a:pt x="96" y="553"/>
                  </a:lnTo>
                  <a:lnTo>
                    <a:pt x="99" y="541"/>
                  </a:lnTo>
                  <a:lnTo>
                    <a:pt x="101" y="537"/>
                  </a:lnTo>
                  <a:lnTo>
                    <a:pt x="111" y="529"/>
                  </a:lnTo>
                  <a:lnTo>
                    <a:pt x="116" y="529"/>
                  </a:lnTo>
                  <a:lnTo>
                    <a:pt x="126" y="532"/>
                  </a:lnTo>
                  <a:lnTo>
                    <a:pt x="131" y="534"/>
                  </a:lnTo>
                  <a:lnTo>
                    <a:pt x="143" y="534"/>
                  </a:lnTo>
                  <a:lnTo>
                    <a:pt x="145" y="532"/>
                  </a:lnTo>
                  <a:lnTo>
                    <a:pt x="147" y="541"/>
                  </a:lnTo>
                  <a:lnTo>
                    <a:pt x="153" y="537"/>
                  </a:lnTo>
                  <a:lnTo>
                    <a:pt x="164" y="537"/>
                  </a:lnTo>
                  <a:lnTo>
                    <a:pt x="170" y="537"/>
                  </a:lnTo>
                  <a:lnTo>
                    <a:pt x="172" y="539"/>
                  </a:lnTo>
                  <a:lnTo>
                    <a:pt x="177" y="529"/>
                  </a:lnTo>
                  <a:lnTo>
                    <a:pt x="175" y="529"/>
                  </a:lnTo>
                  <a:lnTo>
                    <a:pt x="175" y="517"/>
                  </a:lnTo>
                  <a:lnTo>
                    <a:pt x="179" y="507"/>
                  </a:lnTo>
                  <a:lnTo>
                    <a:pt x="179" y="505"/>
                  </a:lnTo>
                  <a:lnTo>
                    <a:pt x="179" y="502"/>
                  </a:lnTo>
                  <a:lnTo>
                    <a:pt x="186" y="505"/>
                  </a:lnTo>
                  <a:lnTo>
                    <a:pt x="191" y="507"/>
                  </a:lnTo>
                  <a:lnTo>
                    <a:pt x="192" y="503"/>
                  </a:lnTo>
                  <a:lnTo>
                    <a:pt x="196" y="493"/>
                  </a:lnTo>
                  <a:lnTo>
                    <a:pt x="192" y="490"/>
                  </a:lnTo>
                  <a:lnTo>
                    <a:pt x="192" y="488"/>
                  </a:lnTo>
                  <a:lnTo>
                    <a:pt x="198" y="476"/>
                  </a:lnTo>
                  <a:lnTo>
                    <a:pt x="204" y="468"/>
                  </a:lnTo>
                  <a:lnTo>
                    <a:pt x="196" y="464"/>
                  </a:lnTo>
                  <a:lnTo>
                    <a:pt x="198" y="461"/>
                  </a:lnTo>
                  <a:lnTo>
                    <a:pt x="201" y="449"/>
                  </a:lnTo>
                  <a:lnTo>
                    <a:pt x="211" y="446"/>
                  </a:lnTo>
                  <a:lnTo>
                    <a:pt x="226" y="442"/>
                  </a:lnTo>
                  <a:lnTo>
                    <a:pt x="226" y="435"/>
                  </a:lnTo>
                  <a:lnTo>
                    <a:pt x="220" y="435"/>
                  </a:lnTo>
                  <a:lnTo>
                    <a:pt x="223" y="425"/>
                  </a:lnTo>
                  <a:lnTo>
                    <a:pt x="220" y="420"/>
                  </a:lnTo>
                  <a:lnTo>
                    <a:pt x="228" y="417"/>
                  </a:lnTo>
                  <a:lnTo>
                    <a:pt x="233" y="417"/>
                  </a:lnTo>
                  <a:lnTo>
                    <a:pt x="237" y="413"/>
                  </a:lnTo>
                  <a:lnTo>
                    <a:pt x="235" y="412"/>
                  </a:lnTo>
                  <a:lnTo>
                    <a:pt x="232" y="401"/>
                  </a:lnTo>
                  <a:lnTo>
                    <a:pt x="226" y="412"/>
                  </a:lnTo>
                  <a:lnTo>
                    <a:pt x="215" y="406"/>
                  </a:lnTo>
                  <a:lnTo>
                    <a:pt x="216" y="412"/>
                  </a:lnTo>
                  <a:lnTo>
                    <a:pt x="208" y="415"/>
                  </a:lnTo>
                  <a:lnTo>
                    <a:pt x="213" y="423"/>
                  </a:lnTo>
                  <a:lnTo>
                    <a:pt x="209" y="423"/>
                  </a:lnTo>
                  <a:lnTo>
                    <a:pt x="196" y="430"/>
                  </a:lnTo>
                  <a:lnTo>
                    <a:pt x="194" y="427"/>
                  </a:lnTo>
                  <a:lnTo>
                    <a:pt x="189" y="418"/>
                  </a:lnTo>
                  <a:lnTo>
                    <a:pt x="187" y="410"/>
                  </a:lnTo>
                  <a:lnTo>
                    <a:pt x="174" y="422"/>
                  </a:lnTo>
                  <a:lnTo>
                    <a:pt x="179" y="410"/>
                  </a:lnTo>
                  <a:lnTo>
                    <a:pt x="172" y="405"/>
                  </a:lnTo>
                  <a:lnTo>
                    <a:pt x="165" y="410"/>
                  </a:lnTo>
                  <a:lnTo>
                    <a:pt x="158" y="415"/>
                  </a:lnTo>
                  <a:lnTo>
                    <a:pt x="160" y="423"/>
                  </a:lnTo>
                  <a:lnTo>
                    <a:pt x="170" y="422"/>
                  </a:lnTo>
                  <a:lnTo>
                    <a:pt x="170" y="429"/>
                  </a:lnTo>
                  <a:lnTo>
                    <a:pt x="172" y="434"/>
                  </a:lnTo>
                  <a:lnTo>
                    <a:pt x="172" y="439"/>
                  </a:lnTo>
                  <a:lnTo>
                    <a:pt x="174" y="439"/>
                  </a:lnTo>
                  <a:lnTo>
                    <a:pt x="177" y="440"/>
                  </a:lnTo>
                  <a:lnTo>
                    <a:pt x="175" y="446"/>
                  </a:lnTo>
                  <a:lnTo>
                    <a:pt x="169" y="444"/>
                  </a:lnTo>
                  <a:lnTo>
                    <a:pt x="167" y="440"/>
                  </a:lnTo>
                  <a:lnTo>
                    <a:pt x="160" y="442"/>
                  </a:lnTo>
                  <a:lnTo>
                    <a:pt x="160" y="446"/>
                  </a:lnTo>
                  <a:lnTo>
                    <a:pt x="170" y="452"/>
                  </a:lnTo>
                  <a:lnTo>
                    <a:pt x="160" y="454"/>
                  </a:lnTo>
                  <a:lnTo>
                    <a:pt x="155" y="457"/>
                  </a:lnTo>
                  <a:lnTo>
                    <a:pt x="147" y="457"/>
                  </a:lnTo>
                  <a:lnTo>
                    <a:pt x="145" y="456"/>
                  </a:lnTo>
                  <a:lnTo>
                    <a:pt x="147" y="451"/>
                  </a:lnTo>
                  <a:lnTo>
                    <a:pt x="148" y="442"/>
                  </a:lnTo>
                  <a:lnTo>
                    <a:pt x="138" y="439"/>
                  </a:lnTo>
                  <a:lnTo>
                    <a:pt x="138" y="442"/>
                  </a:lnTo>
                  <a:lnTo>
                    <a:pt x="133" y="452"/>
                  </a:lnTo>
                  <a:lnTo>
                    <a:pt x="128" y="451"/>
                  </a:lnTo>
                  <a:lnTo>
                    <a:pt x="124" y="447"/>
                  </a:lnTo>
                  <a:lnTo>
                    <a:pt x="124" y="446"/>
                  </a:lnTo>
                  <a:lnTo>
                    <a:pt x="121" y="439"/>
                  </a:lnTo>
                  <a:lnTo>
                    <a:pt x="118" y="427"/>
                  </a:lnTo>
                  <a:lnTo>
                    <a:pt x="116" y="420"/>
                  </a:lnTo>
                  <a:lnTo>
                    <a:pt x="114" y="412"/>
                  </a:lnTo>
                  <a:lnTo>
                    <a:pt x="116" y="408"/>
                  </a:lnTo>
                  <a:lnTo>
                    <a:pt x="116" y="400"/>
                  </a:lnTo>
                  <a:lnTo>
                    <a:pt x="111" y="395"/>
                  </a:lnTo>
                  <a:lnTo>
                    <a:pt x="114" y="393"/>
                  </a:lnTo>
                  <a:lnTo>
                    <a:pt x="114" y="389"/>
                  </a:lnTo>
                  <a:lnTo>
                    <a:pt x="113" y="379"/>
                  </a:lnTo>
                  <a:lnTo>
                    <a:pt x="118" y="376"/>
                  </a:lnTo>
                  <a:lnTo>
                    <a:pt x="114" y="359"/>
                  </a:lnTo>
                  <a:lnTo>
                    <a:pt x="119" y="357"/>
                  </a:lnTo>
                  <a:lnTo>
                    <a:pt x="130" y="350"/>
                  </a:lnTo>
                  <a:lnTo>
                    <a:pt x="133" y="349"/>
                  </a:lnTo>
                  <a:lnTo>
                    <a:pt x="145" y="347"/>
                  </a:lnTo>
                  <a:lnTo>
                    <a:pt x="143" y="342"/>
                  </a:lnTo>
                  <a:lnTo>
                    <a:pt x="147" y="337"/>
                  </a:lnTo>
                  <a:lnTo>
                    <a:pt x="152" y="330"/>
                  </a:lnTo>
                  <a:lnTo>
                    <a:pt x="157" y="332"/>
                  </a:lnTo>
                  <a:lnTo>
                    <a:pt x="155" y="320"/>
                  </a:lnTo>
                  <a:lnTo>
                    <a:pt x="152" y="309"/>
                  </a:lnTo>
                  <a:lnTo>
                    <a:pt x="148" y="299"/>
                  </a:lnTo>
                  <a:lnTo>
                    <a:pt x="140" y="301"/>
                  </a:lnTo>
                  <a:lnTo>
                    <a:pt x="128" y="308"/>
                  </a:lnTo>
                  <a:lnTo>
                    <a:pt x="124" y="308"/>
                  </a:lnTo>
                  <a:lnTo>
                    <a:pt x="123" y="301"/>
                  </a:lnTo>
                  <a:lnTo>
                    <a:pt x="119" y="304"/>
                  </a:lnTo>
                  <a:lnTo>
                    <a:pt x="109" y="308"/>
                  </a:lnTo>
                  <a:lnTo>
                    <a:pt x="102" y="309"/>
                  </a:lnTo>
                  <a:lnTo>
                    <a:pt x="94" y="311"/>
                  </a:lnTo>
                  <a:lnTo>
                    <a:pt x="92" y="316"/>
                  </a:lnTo>
                  <a:lnTo>
                    <a:pt x="84" y="318"/>
                  </a:lnTo>
                  <a:lnTo>
                    <a:pt x="73" y="325"/>
                  </a:lnTo>
                  <a:lnTo>
                    <a:pt x="70" y="325"/>
                  </a:lnTo>
                  <a:lnTo>
                    <a:pt x="60" y="326"/>
                  </a:lnTo>
                  <a:lnTo>
                    <a:pt x="55" y="326"/>
                  </a:lnTo>
                  <a:lnTo>
                    <a:pt x="56" y="325"/>
                  </a:lnTo>
                  <a:lnTo>
                    <a:pt x="56" y="315"/>
                  </a:lnTo>
                  <a:lnTo>
                    <a:pt x="53" y="311"/>
                  </a:lnTo>
                  <a:lnTo>
                    <a:pt x="58" y="309"/>
                  </a:lnTo>
                  <a:lnTo>
                    <a:pt x="70" y="304"/>
                  </a:lnTo>
                  <a:lnTo>
                    <a:pt x="70" y="306"/>
                  </a:lnTo>
                  <a:lnTo>
                    <a:pt x="84" y="306"/>
                  </a:lnTo>
                  <a:lnTo>
                    <a:pt x="79" y="294"/>
                  </a:lnTo>
                  <a:lnTo>
                    <a:pt x="89" y="292"/>
                  </a:lnTo>
                  <a:lnTo>
                    <a:pt x="102" y="291"/>
                  </a:lnTo>
                  <a:lnTo>
                    <a:pt x="113" y="289"/>
                  </a:lnTo>
                  <a:lnTo>
                    <a:pt x="119" y="286"/>
                  </a:lnTo>
                  <a:lnTo>
                    <a:pt x="116" y="279"/>
                  </a:lnTo>
                  <a:lnTo>
                    <a:pt x="113" y="272"/>
                  </a:lnTo>
                  <a:lnTo>
                    <a:pt x="121" y="267"/>
                  </a:lnTo>
                  <a:lnTo>
                    <a:pt x="128" y="264"/>
                  </a:lnTo>
                  <a:lnTo>
                    <a:pt x="135" y="260"/>
                  </a:lnTo>
                  <a:lnTo>
                    <a:pt x="141" y="258"/>
                  </a:lnTo>
                  <a:lnTo>
                    <a:pt x="153" y="247"/>
                  </a:lnTo>
                  <a:lnTo>
                    <a:pt x="167" y="248"/>
                  </a:lnTo>
                  <a:lnTo>
                    <a:pt x="174" y="248"/>
                  </a:lnTo>
                  <a:lnTo>
                    <a:pt x="177" y="253"/>
                  </a:lnTo>
                  <a:lnTo>
                    <a:pt x="186" y="248"/>
                  </a:lnTo>
                  <a:lnTo>
                    <a:pt x="198" y="245"/>
                  </a:lnTo>
                  <a:lnTo>
                    <a:pt x="201" y="253"/>
                  </a:lnTo>
                  <a:lnTo>
                    <a:pt x="187" y="258"/>
                  </a:lnTo>
                  <a:lnTo>
                    <a:pt x="192" y="269"/>
                  </a:lnTo>
                  <a:lnTo>
                    <a:pt x="192" y="272"/>
                  </a:lnTo>
                  <a:lnTo>
                    <a:pt x="199" y="270"/>
                  </a:lnTo>
                  <a:lnTo>
                    <a:pt x="201" y="275"/>
                  </a:lnTo>
                  <a:lnTo>
                    <a:pt x="204" y="281"/>
                  </a:lnTo>
                  <a:lnTo>
                    <a:pt x="208" y="289"/>
                  </a:lnTo>
                  <a:lnTo>
                    <a:pt x="209" y="289"/>
                  </a:lnTo>
                  <a:lnTo>
                    <a:pt x="220" y="286"/>
                  </a:lnTo>
                  <a:lnTo>
                    <a:pt x="228" y="287"/>
                  </a:lnTo>
                  <a:lnTo>
                    <a:pt x="233" y="287"/>
                  </a:lnTo>
                  <a:lnTo>
                    <a:pt x="238" y="298"/>
                  </a:lnTo>
                  <a:lnTo>
                    <a:pt x="249" y="301"/>
                  </a:lnTo>
                  <a:lnTo>
                    <a:pt x="237" y="306"/>
                  </a:lnTo>
                  <a:lnTo>
                    <a:pt x="238" y="309"/>
                  </a:lnTo>
                  <a:lnTo>
                    <a:pt x="225" y="308"/>
                  </a:lnTo>
                  <a:lnTo>
                    <a:pt x="225" y="316"/>
                  </a:lnTo>
                  <a:lnTo>
                    <a:pt x="226" y="325"/>
                  </a:lnTo>
                  <a:lnTo>
                    <a:pt x="221" y="337"/>
                  </a:lnTo>
                  <a:lnTo>
                    <a:pt x="223" y="344"/>
                  </a:lnTo>
                  <a:lnTo>
                    <a:pt x="235" y="349"/>
                  </a:lnTo>
                  <a:lnTo>
                    <a:pt x="237" y="347"/>
                  </a:lnTo>
                  <a:lnTo>
                    <a:pt x="238" y="355"/>
                  </a:lnTo>
                  <a:lnTo>
                    <a:pt x="243" y="354"/>
                  </a:lnTo>
                  <a:lnTo>
                    <a:pt x="254" y="352"/>
                  </a:lnTo>
                  <a:lnTo>
                    <a:pt x="257" y="350"/>
                  </a:lnTo>
                  <a:lnTo>
                    <a:pt x="259" y="355"/>
                  </a:lnTo>
                  <a:lnTo>
                    <a:pt x="255" y="364"/>
                  </a:lnTo>
                  <a:lnTo>
                    <a:pt x="247" y="374"/>
                  </a:lnTo>
                  <a:lnTo>
                    <a:pt x="264" y="369"/>
                  </a:lnTo>
                  <a:lnTo>
                    <a:pt x="266" y="381"/>
                  </a:lnTo>
                  <a:lnTo>
                    <a:pt x="276" y="378"/>
                  </a:lnTo>
                  <a:lnTo>
                    <a:pt x="281" y="371"/>
                  </a:lnTo>
                  <a:lnTo>
                    <a:pt x="296" y="371"/>
                  </a:lnTo>
                  <a:lnTo>
                    <a:pt x="301" y="369"/>
                  </a:lnTo>
                  <a:lnTo>
                    <a:pt x="303" y="378"/>
                  </a:lnTo>
                  <a:lnTo>
                    <a:pt x="306" y="379"/>
                  </a:lnTo>
                  <a:lnTo>
                    <a:pt x="317" y="381"/>
                  </a:lnTo>
                  <a:lnTo>
                    <a:pt x="330" y="379"/>
                  </a:lnTo>
                  <a:lnTo>
                    <a:pt x="337" y="381"/>
                  </a:lnTo>
                  <a:lnTo>
                    <a:pt x="347" y="383"/>
                  </a:lnTo>
                  <a:lnTo>
                    <a:pt x="349" y="378"/>
                  </a:lnTo>
                  <a:lnTo>
                    <a:pt x="366" y="376"/>
                  </a:lnTo>
                  <a:lnTo>
                    <a:pt x="371" y="378"/>
                  </a:lnTo>
                  <a:lnTo>
                    <a:pt x="388" y="369"/>
                  </a:lnTo>
                  <a:lnTo>
                    <a:pt x="402" y="372"/>
                  </a:lnTo>
                  <a:lnTo>
                    <a:pt x="413" y="378"/>
                  </a:lnTo>
                  <a:lnTo>
                    <a:pt x="419" y="367"/>
                  </a:lnTo>
                  <a:lnTo>
                    <a:pt x="427" y="366"/>
                  </a:lnTo>
                  <a:lnTo>
                    <a:pt x="430" y="372"/>
                  </a:lnTo>
                  <a:lnTo>
                    <a:pt x="444" y="367"/>
                  </a:lnTo>
                  <a:lnTo>
                    <a:pt x="444" y="361"/>
                  </a:lnTo>
                  <a:lnTo>
                    <a:pt x="458" y="359"/>
                  </a:lnTo>
                  <a:lnTo>
                    <a:pt x="471" y="361"/>
                  </a:lnTo>
                  <a:lnTo>
                    <a:pt x="475" y="361"/>
                  </a:lnTo>
                  <a:lnTo>
                    <a:pt x="475" y="345"/>
                  </a:lnTo>
                  <a:lnTo>
                    <a:pt x="476" y="337"/>
                  </a:lnTo>
                  <a:lnTo>
                    <a:pt x="478" y="332"/>
                  </a:lnTo>
                  <a:lnTo>
                    <a:pt x="476" y="332"/>
                  </a:lnTo>
                  <a:lnTo>
                    <a:pt x="476" y="325"/>
                  </a:lnTo>
                  <a:lnTo>
                    <a:pt x="476" y="309"/>
                  </a:lnTo>
                  <a:lnTo>
                    <a:pt x="475" y="303"/>
                  </a:lnTo>
                  <a:lnTo>
                    <a:pt x="470" y="294"/>
                  </a:lnTo>
                  <a:lnTo>
                    <a:pt x="483" y="292"/>
                  </a:lnTo>
                  <a:lnTo>
                    <a:pt x="483" y="287"/>
                  </a:lnTo>
                  <a:lnTo>
                    <a:pt x="490" y="292"/>
                  </a:lnTo>
                  <a:lnTo>
                    <a:pt x="498" y="299"/>
                  </a:lnTo>
                  <a:lnTo>
                    <a:pt x="498" y="304"/>
                  </a:lnTo>
                  <a:lnTo>
                    <a:pt x="507" y="303"/>
                  </a:lnTo>
                  <a:lnTo>
                    <a:pt x="514" y="303"/>
                  </a:lnTo>
                  <a:lnTo>
                    <a:pt x="514" y="294"/>
                  </a:lnTo>
                  <a:lnTo>
                    <a:pt x="515" y="284"/>
                  </a:lnTo>
                  <a:lnTo>
                    <a:pt x="515" y="279"/>
                  </a:lnTo>
                  <a:lnTo>
                    <a:pt x="517" y="277"/>
                  </a:lnTo>
                  <a:lnTo>
                    <a:pt x="527" y="281"/>
                  </a:lnTo>
                  <a:lnTo>
                    <a:pt x="524" y="270"/>
                  </a:lnTo>
                  <a:lnTo>
                    <a:pt x="524" y="267"/>
                  </a:lnTo>
                  <a:lnTo>
                    <a:pt x="522" y="267"/>
                  </a:lnTo>
                  <a:lnTo>
                    <a:pt x="522" y="262"/>
                  </a:lnTo>
                  <a:lnTo>
                    <a:pt x="522" y="257"/>
                  </a:lnTo>
                  <a:lnTo>
                    <a:pt x="524" y="250"/>
                  </a:lnTo>
                  <a:lnTo>
                    <a:pt x="527" y="238"/>
                  </a:lnTo>
                  <a:lnTo>
                    <a:pt x="527" y="236"/>
                  </a:lnTo>
                  <a:lnTo>
                    <a:pt x="527" y="231"/>
                  </a:lnTo>
                  <a:lnTo>
                    <a:pt x="529" y="233"/>
                  </a:lnTo>
                  <a:lnTo>
                    <a:pt x="543" y="233"/>
                  </a:lnTo>
                  <a:lnTo>
                    <a:pt x="551" y="235"/>
                  </a:lnTo>
                  <a:lnTo>
                    <a:pt x="555" y="235"/>
                  </a:lnTo>
                  <a:lnTo>
                    <a:pt x="558" y="240"/>
                  </a:lnTo>
                  <a:lnTo>
                    <a:pt x="560" y="236"/>
                  </a:lnTo>
                  <a:lnTo>
                    <a:pt x="570" y="240"/>
                  </a:lnTo>
                  <a:lnTo>
                    <a:pt x="570" y="230"/>
                  </a:lnTo>
                  <a:lnTo>
                    <a:pt x="582" y="236"/>
                  </a:lnTo>
                  <a:lnTo>
                    <a:pt x="580" y="230"/>
                  </a:lnTo>
                  <a:lnTo>
                    <a:pt x="589" y="231"/>
                  </a:lnTo>
                  <a:lnTo>
                    <a:pt x="592" y="235"/>
                  </a:lnTo>
                  <a:lnTo>
                    <a:pt x="594" y="240"/>
                  </a:lnTo>
                  <a:lnTo>
                    <a:pt x="595" y="247"/>
                  </a:lnTo>
                  <a:lnTo>
                    <a:pt x="604" y="255"/>
                  </a:lnTo>
                  <a:lnTo>
                    <a:pt x="604" y="257"/>
                  </a:lnTo>
                  <a:lnTo>
                    <a:pt x="606" y="258"/>
                  </a:lnTo>
                  <a:lnTo>
                    <a:pt x="607" y="248"/>
                  </a:lnTo>
                  <a:lnTo>
                    <a:pt x="619" y="245"/>
                  </a:lnTo>
                  <a:lnTo>
                    <a:pt x="624" y="243"/>
                  </a:lnTo>
                  <a:lnTo>
                    <a:pt x="629" y="248"/>
                  </a:lnTo>
                  <a:lnTo>
                    <a:pt x="629" y="240"/>
                  </a:lnTo>
                  <a:lnTo>
                    <a:pt x="636" y="236"/>
                  </a:lnTo>
                  <a:lnTo>
                    <a:pt x="640" y="230"/>
                  </a:lnTo>
                  <a:lnTo>
                    <a:pt x="643" y="231"/>
                  </a:lnTo>
                  <a:lnTo>
                    <a:pt x="650" y="221"/>
                  </a:lnTo>
                  <a:lnTo>
                    <a:pt x="651" y="211"/>
                  </a:lnTo>
                  <a:lnTo>
                    <a:pt x="645" y="206"/>
                  </a:lnTo>
                  <a:lnTo>
                    <a:pt x="645" y="199"/>
                  </a:lnTo>
                  <a:lnTo>
                    <a:pt x="657" y="201"/>
                  </a:lnTo>
                  <a:lnTo>
                    <a:pt x="658" y="199"/>
                  </a:lnTo>
                  <a:lnTo>
                    <a:pt x="667" y="192"/>
                  </a:lnTo>
                  <a:lnTo>
                    <a:pt x="665" y="182"/>
                  </a:lnTo>
                  <a:lnTo>
                    <a:pt x="658" y="172"/>
                  </a:lnTo>
                  <a:lnTo>
                    <a:pt x="657" y="170"/>
                  </a:lnTo>
                  <a:lnTo>
                    <a:pt x="663" y="160"/>
                  </a:lnTo>
                  <a:lnTo>
                    <a:pt x="670" y="167"/>
                  </a:lnTo>
                  <a:lnTo>
                    <a:pt x="672" y="156"/>
                  </a:lnTo>
                  <a:lnTo>
                    <a:pt x="672" y="150"/>
                  </a:lnTo>
                  <a:lnTo>
                    <a:pt x="672" y="138"/>
                  </a:lnTo>
                  <a:lnTo>
                    <a:pt x="680" y="127"/>
                  </a:lnTo>
                  <a:lnTo>
                    <a:pt x="687" y="134"/>
                  </a:lnTo>
                  <a:lnTo>
                    <a:pt x="691" y="138"/>
                  </a:lnTo>
                  <a:lnTo>
                    <a:pt x="697" y="141"/>
                  </a:lnTo>
                  <a:lnTo>
                    <a:pt x="709" y="148"/>
                  </a:lnTo>
                  <a:lnTo>
                    <a:pt x="718" y="144"/>
                  </a:lnTo>
                  <a:lnTo>
                    <a:pt x="730" y="143"/>
                  </a:lnTo>
                  <a:lnTo>
                    <a:pt x="731" y="160"/>
                  </a:lnTo>
                  <a:lnTo>
                    <a:pt x="743" y="158"/>
                  </a:lnTo>
                  <a:lnTo>
                    <a:pt x="748" y="156"/>
                  </a:lnTo>
                  <a:lnTo>
                    <a:pt x="755" y="156"/>
                  </a:lnTo>
                  <a:lnTo>
                    <a:pt x="764" y="155"/>
                  </a:lnTo>
                  <a:lnTo>
                    <a:pt x="770" y="155"/>
                  </a:lnTo>
                  <a:lnTo>
                    <a:pt x="781" y="155"/>
                  </a:lnTo>
                  <a:lnTo>
                    <a:pt x="789" y="153"/>
                  </a:lnTo>
                  <a:lnTo>
                    <a:pt x="801" y="153"/>
                  </a:lnTo>
                  <a:lnTo>
                    <a:pt x="808" y="138"/>
                  </a:lnTo>
                  <a:lnTo>
                    <a:pt x="799" y="124"/>
                  </a:lnTo>
                  <a:lnTo>
                    <a:pt x="796" y="117"/>
                  </a:lnTo>
                  <a:lnTo>
                    <a:pt x="784" y="121"/>
                  </a:lnTo>
                  <a:lnTo>
                    <a:pt x="786" y="110"/>
                  </a:lnTo>
                  <a:lnTo>
                    <a:pt x="786" y="107"/>
                  </a:lnTo>
                  <a:lnTo>
                    <a:pt x="786" y="104"/>
                  </a:lnTo>
                  <a:lnTo>
                    <a:pt x="806" y="102"/>
                  </a:lnTo>
                  <a:lnTo>
                    <a:pt x="803" y="97"/>
                  </a:lnTo>
                  <a:lnTo>
                    <a:pt x="798" y="88"/>
                  </a:lnTo>
                  <a:lnTo>
                    <a:pt x="796" y="85"/>
                  </a:lnTo>
                  <a:lnTo>
                    <a:pt x="787" y="88"/>
                  </a:lnTo>
                  <a:lnTo>
                    <a:pt x="784" y="88"/>
                  </a:lnTo>
                  <a:lnTo>
                    <a:pt x="781" y="90"/>
                  </a:lnTo>
                  <a:lnTo>
                    <a:pt x="770" y="90"/>
                  </a:lnTo>
                  <a:lnTo>
                    <a:pt x="759" y="90"/>
                  </a:lnTo>
                  <a:lnTo>
                    <a:pt x="759" y="87"/>
                  </a:lnTo>
                  <a:lnTo>
                    <a:pt x="760" y="76"/>
                  </a:lnTo>
                  <a:lnTo>
                    <a:pt x="759" y="66"/>
                  </a:lnTo>
                  <a:lnTo>
                    <a:pt x="759" y="54"/>
                  </a:lnTo>
                  <a:lnTo>
                    <a:pt x="767" y="49"/>
                  </a:lnTo>
                  <a:lnTo>
                    <a:pt x="774" y="42"/>
                  </a:lnTo>
                  <a:lnTo>
                    <a:pt x="770" y="36"/>
                  </a:lnTo>
                  <a:lnTo>
                    <a:pt x="776" y="36"/>
                  </a:lnTo>
                  <a:lnTo>
                    <a:pt x="777" y="29"/>
                  </a:lnTo>
                  <a:lnTo>
                    <a:pt x="769" y="29"/>
                  </a:lnTo>
                  <a:lnTo>
                    <a:pt x="764" y="29"/>
                  </a:lnTo>
                  <a:lnTo>
                    <a:pt x="765" y="25"/>
                  </a:lnTo>
                  <a:lnTo>
                    <a:pt x="772" y="24"/>
                  </a:lnTo>
                  <a:lnTo>
                    <a:pt x="786" y="22"/>
                  </a:lnTo>
                  <a:lnTo>
                    <a:pt x="791" y="20"/>
                  </a:lnTo>
                  <a:lnTo>
                    <a:pt x="793" y="13"/>
                  </a:lnTo>
                  <a:lnTo>
                    <a:pt x="798" y="12"/>
                  </a:lnTo>
                  <a:lnTo>
                    <a:pt x="804" y="17"/>
                  </a:lnTo>
                  <a:lnTo>
                    <a:pt x="808" y="20"/>
                  </a:lnTo>
                  <a:lnTo>
                    <a:pt x="811" y="24"/>
                  </a:lnTo>
                  <a:lnTo>
                    <a:pt x="813" y="31"/>
                  </a:lnTo>
                  <a:lnTo>
                    <a:pt x="823" y="24"/>
                  </a:lnTo>
                  <a:lnTo>
                    <a:pt x="830" y="25"/>
                  </a:lnTo>
                  <a:lnTo>
                    <a:pt x="840" y="24"/>
                  </a:lnTo>
                  <a:lnTo>
                    <a:pt x="845" y="19"/>
                  </a:lnTo>
                  <a:lnTo>
                    <a:pt x="850" y="22"/>
                  </a:lnTo>
                  <a:lnTo>
                    <a:pt x="859" y="19"/>
                  </a:lnTo>
                  <a:lnTo>
                    <a:pt x="864" y="10"/>
                  </a:lnTo>
                  <a:lnTo>
                    <a:pt x="867" y="12"/>
                  </a:lnTo>
                  <a:lnTo>
                    <a:pt x="879" y="15"/>
                  </a:lnTo>
                  <a:lnTo>
                    <a:pt x="884" y="19"/>
                  </a:lnTo>
                  <a:lnTo>
                    <a:pt x="894" y="13"/>
                  </a:lnTo>
                  <a:lnTo>
                    <a:pt x="903" y="19"/>
                  </a:lnTo>
                  <a:lnTo>
                    <a:pt x="910" y="10"/>
                  </a:lnTo>
                  <a:lnTo>
                    <a:pt x="920" y="8"/>
                  </a:lnTo>
                  <a:lnTo>
                    <a:pt x="922" y="10"/>
                  </a:lnTo>
                  <a:lnTo>
                    <a:pt x="923" y="19"/>
                  </a:lnTo>
                  <a:lnTo>
                    <a:pt x="930" y="20"/>
                  </a:lnTo>
                  <a:lnTo>
                    <a:pt x="939" y="17"/>
                  </a:lnTo>
                  <a:lnTo>
                    <a:pt x="939" y="7"/>
                  </a:lnTo>
                  <a:lnTo>
                    <a:pt x="949" y="0"/>
                  </a:lnTo>
                  <a:lnTo>
                    <a:pt x="959" y="3"/>
                  </a:lnTo>
                  <a:lnTo>
                    <a:pt x="962" y="0"/>
                  </a:lnTo>
                  <a:lnTo>
                    <a:pt x="969" y="0"/>
                  </a:lnTo>
                  <a:lnTo>
                    <a:pt x="97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4" name="Freeform 13">
              <a:extLst>
                <a:ext uri="{FF2B5EF4-FFF2-40B4-BE49-F238E27FC236}">
                  <a16:creationId xmlns:a16="http://schemas.microsoft.com/office/drawing/2014/main" id="{176214BB-E64D-48BD-9190-68A9219491CA}"/>
                </a:ext>
              </a:extLst>
            </p:cNvPr>
            <p:cNvSpPr>
              <a:spLocks/>
            </p:cNvSpPr>
            <p:nvPr/>
          </p:nvSpPr>
          <p:spPr bwMode="gray">
            <a:xfrm>
              <a:off x="6802438" y="1876425"/>
              <a:ext cx="817562" cy="766763"/>
            </a:xfrm>
            <a:custGeom>
              <a:avLst/>
              <a:gdLst>
                <a:gd name="T0" fmla="*/ 265 w 515"/>
                <a:gd name="T1" fmla="*/ 475 h 483"/>
                <a:gd name="T2" fmla="*/ 248 w 515"/>
                <a:gd name="T3" fmla="*/ 466 h 483"/>
                <a:gd name="T4" fmla="*/ 219 w 515"/>
                <a:gd name="T5" fmla="*/ 443 h 483"/>
                <a:gd name="T6" fmla="*/ 190 w 515"/>
                <a:gd name="T7" fmla="*/ 427 h 483"/>
                <a:gd name="T8" fmla="*/ 151 w 515"/>
                <a:gd name="T9" fmla="*/ 448 h 483"/>
                <a:gd name="T10" fmla="*/ 110 w 515"/>
                <a:gd name="T11" fmla="*/ 434 h 483"/>
                <a:gd name="T12" fmla="*/ 107 w 515"/>
                <a:gd name="T13" fmla="*/ 410 h 483"/>
                <a:gd name="T14" fmla="*/ 68 w 515"/>
                <a:gd name="T15" fmla="*/ 410 h 483"/>
                <a:gd name="T16" fmla="*/ 35 w 515"/>
                <a:gd name="T17" fmla="*/ 403 h 483"/>
                <a:gd name="T18" fmla="*/ 6 w 515"/>
                <a:gd name="T19" fmla="*/ 390 h 483"/>
                <a:gd name="T20" fmla="*/ 18 w 515"/>
                <a:gd name="T21" fmla="*/ 359 h 483"/>
                <a:gd name="T22" fmla="*/ 20 w 515"/>
                <a:gd name="T23" fmla="*/ 329 h 483"/>
                <a:gd name="T24" fmla="*/ 45 w 515"/>
                <a:gd name="T25" fmla="*/ 305 h 483"/>
                <a:gd name="T26" fmla="*/ 57 w 515"/>
                <a:gd name="T27" fmla="*/ 269 h 483"/>
                <a:gd name="T28" fmla="*/ 83 w 515"/>
                <a:gd name="T29" fmla="*/ 233 h 483"/>
                <a:gd name="T30" fmla="*/ 85 w 515"/>
                <a:gd name="T31" fmla="*/ 203 h 483"/>
                <a:gd name="T32" fmla="*/ 115 w 515"/>
                <a:gd name="T33" fmla="*/ 194 h 483"/>
                <a:gd name="T34" fmla="*/ 147 w 515"/>
                <a:gd name="T35" fmla="*/ 203 h 483"/>
                <a:gd name="T36" fmla="*/ 187 w 515"/>
                <a:gd name="T37" fmla="*/ 196 h 483"/>
                <a:gd name="T38" fmla="*/ 210 w 515"/>
                <a:gd name="T39" fmla="*/ 194 h 483"/>
                <a:gd name="T40" fmla="*/ 217 w 515"/>
                <a:gd name="T41" fmla="*/ 164 h 483"/>
                <a:gd name="T42" fmla="*/ 221 w 515"/>
                <a:gd name="T43" fmla="*/ 131 h 483"/>
                <a:gd name="T44" fmla="*/ 241 w 515"/>
                <a:gd name="T45" fmla="*/ 121 h 483"/>
                <a:gd name="T46" fmla="*/ 231 w 515"/>
                <a:gd name="T47" fmla="*/ 89 h 483"/>
                <a:gd name="T48" fmla="*/ 232 w 515"/>
                <a:gd name="T49" fmla="*/ 70 h 483"/>
                <a:gd name="T50" fmla="*/ 263 w 515"/>
                <a:gd name="T51" fmla="*/ 72 h 483"/>
                <a:gd name="T52" fmla="*/ 304 w 515"/>
                <a:gd name="T53" fmla="*/ 63 h 483"/>
                <a:gd name="T54" fmla="*/ 329 w 515"/>
                <a:gd name="T55" fmla="*/ 56 h 483"/>
                <a:gd name="T56" fmla="*/ 379 w 515"/>
                <a:gd name="T57" fmla="*/ 38 h 483"/>
                <a:gd name="T58" fmla="*/ 408 w 515"/>
                <a:gd name="T59" fmla="*/ 29 h 483"/>
                <a:gd name="T60" fmla="*/ 418 w 515"/>
                <a:gd name="T61" fmla="*/ 2 h 483"/>
                <a:gd name="T62" fmla="*/ 425 w 515"/>
                <a:gd name="T63" fmla="*/ 38 h 483"/>
                <a:gd name="T64" fmla="*/ 392 w 515"/>
                <a:gd name="T65" fmla="*/ 60 h 483"/>
                <a:gd name="T66" fmla="*/ 394 w 515"/>
                <a:gd name="T67" fmla="*/ 101 h 483"/>
                <a:gd name="T68" fmla="*/ 402 w 515"/>
                <a:gd name="T69" fmla="*/ 147 h 483"/>
                <a:gd name="T70" fmla="*/ 426 w 515"/>
                <a:gd name="T71" fmla="*/ 143 h 483"/>
                <a:gd name="T72" fmla="*/ 448 w 515"/>
                <a:gd name="T73" fmla="*/ 153 h 483"/>
                <a:gd name="T74" fmla="*/ 455 w 515"/>
                <a:gd name="T75" fmla="*/ 141 h 483"/>
                <a:gd name="T76" fmla="*/ 438 w 515"/>
                <a:gd name="T77" fmla="*/ 124 h 483"/>
                <a:gd name="T78" fmla="*/ 465 w 515"/>
                <a:gd name="T79" fmla="*/ 111 h 483"/>
                <a:gd name="T80" fmla="*/ 486 w 515"/>
                <a:gd name="T81" fmla="*/ 116 h 483"/>
                <a:gd name="T82" fmla="*/ 515 w 515"/>
                <a:gd name="T83" fmla="*/ 114 h 483"/>
                <a:gd name="T84" fmla="*/ 504 w 515"/>
                <a:gd name="T85" fmla="*/ 136 h 483"/>
                <a:gd name="T86" fmla="*/ 482 w 515"/>
                <a:gd name="T87" fmla="*/ 169 h 483"/>
                <a:gd name="T88" fmla="*/ 469 w 515"/>
                <a:gd name="T89" fmla="*/ 208 h 483"/>
                <a:gd name="T90" fmla="*/ 453 w 515"/>
                <a:gd name="T91" fmla="*/ 230 h 483"/>
                <a:gd name="T92" fmla="*/ 425 w 515"/>
                <a:gd name="T93" fmla="*/ 242 h 483"/>
                <a:gd name="T94" fmla="*/ 389 w 515"/>
                <a:gd name="T95" fmla="*/ 230 h 483"/>
                <a:gd name="T96" fmla="*/ 355 w 515"/>
                <a:gd name="T97" fmla="*/ 254 h 483"/>
                <a:gd name="T98" fmla="*/ 362 w 515"/>
                <a:gd name="T99" fmla="*/ 288 h 483"/>
                <a:gd name="T100" fmla="*/ 396 w 515"/>
                <a:gd name="T101" fmla="*/ 320 h 483"/>
                <a:gd name="T102" fmla="*/ 440 w 515"/>
                <a:gd name="T103" fmla="*/ 329 h 483"/>
                <a:gd name="T104" fmla="*/ 419 w 515"/>
                <a:gd name="T105" fmla="*/ 363 h 483"/>
                <a:gd name="T106" fmla="*/ 372 w 515"/>
                <a:gd name="T107" fmla="*/ 381 h 483"/>
                <a:gd name="T108" fmla="*/ 355 w 515"/>
                <a:gd name="T109" fmla="*/ 388 h 483"/>
                <a:gd name="T110" fmla="*/ 346 w 515"/>
                <a:gd name="T111" fmla="*/ 407 h 483"/>
                <a:gd name="T112" fmla="*/ 319 w 515"/>
                <a:gd name="T113" fmla="*/ 429 h 483"/>
                <a:gd name="T114" fmla="*/ 297 w 515"/>
                <a:gd name="T11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483">
                  <a:moveTo>
                    <a:pt x="280" y="473"/>
                  </a:moveTo>
                  <a:lnTo>
                    <a:pt x="275" y="475"/>
                  </a:lnTo>
                  <a:lnTo>
                    <a:pt x="278" y="482"/>
                  </a:lnTo>
                  <a:lnTo>
                    <a:pt x="275" y="483"/>
                  </a:lnTo>
                  <a:lnTo>
                    <a:pt x="268" y="480"/>
                  </a:lnTo>
                  <a:lnTo>
                    <a:pt x="265" y="475"/>
                  </a:lnTo>
                  <a:lnTo>
                    <a:pt x="263" y="465"/>
                  </a:lnTo>
                  <a:lnTo>
                    <a:pt x="258" y="463"/>
                  </a:lnTo>
                  <a:lnTo>
                    <a:pt x="260" y="475"/>
                  </a:lnTo>
                  <a:lnTo>
                    <a:pt x="256" y="473"/>
                  </a:lnTo>
                  <a:lnTo>
                    <a:pt x="246" y="475"/>
                  </a:lnTo>
                  <a:lnTo>
                    <a:pt x="248" y="466"/>
                  </a:lnTo>
                  <a:lnTo>
                    <a:pt x="246" y="463"/>
                  </a:lnTo>
                  <a:lnTo>
                    <a:pt x="236" y="460"/>
                  </a:lnTo>
                  <a:lnTo>
                    <a:pt x="229" y="451"/>
                  </a:lnTo>
                  <a:lnTo>
                    <a:pt x="221" y="449"/>
                  </a:lnTo>
                  <a:lnTo>
                    <a:pt x="224" y="446"/>
                  </a:lnTo>
                  <a:lnTo>
                    <a:pt x="219" y="443"/>
                  </a:lnTo>
                  <a:lnTo>
                    <a:pt x="215" y="431"/>
                  </a:lnTo>
                  <a:lnTo>
                    <a:pt x="217" y="422"/>
                  </a:lnTo>
                  <a:lnTo>
                    <a:pt x="210" y="415"/>
                  </a:lnTo>
                  <a:lnTo>
                    <a:pt x="204" y="417"/>
                  </a:lnTo>
                  <a:lnTo>
                    <a:pt x="198" y="426"/>
                  </a:lnTo>
                  <a:lnTo>
                    <a:pt x="190" y="427"/>
                  </a:lnTo>
                  <a:lnTo>
                    <a:pt x="187" y="436"/>
                  </a:lnTo>
                  <a:lnTo>
                    <a:pt x="173" y="437"/>
                  </a:lnTo>
                  <a:lnTo>
                    <a:pt x="161" y="437"/>
                  </a:lnTo>
                  <a:lnTo>
                    <a:pt x="156" y="441"/>
                  </a:lnTo>
                  <a:lnTo>
                    <a:pt x="156" y="451"/>
                  </a:lnTo>
                  <a:lnTo>
                    <a:pt x="151" y="448"/>
                  </a:lnTo>
                  <a:lnTo>
                    <a:pt x="146" y="441"/>
                  </a:lnTo>
                  <a:lnTo>
                    <a:pt x="136" y="441"/>
                  </a:lnTo>
                  <a:lnTo>
                    <a:pt x="130" y="444"/>
                  </a:lnTo>
                  <a:lnTo>
                    <a:pt x="122" y="443"/>
                  </a:lnTo>
                  <a:lnTo>
                    <a:pt x="122" y="432"/>
                  </a:lnTo>
                  <a:lnTo>
                    <a:pt x="110" y="434"/>
                  </a:lnTo>
                  <a:lnTo>
                    <a:pt x="108" y="432"/>
                  </a:lnTo>
                  <a:lnTo>
                    <a:pt x="113" y="431"/>
                  </a:lnTo>
                  <a:lnTo>
                    <a:pt x="115" y="422"/>
                  </a:lnTo>
                  <a:lnTo>
                    <a:pt x="107" y="429"/>
                  </a:lnTo>
                  <a:lnTo>
                    <a:pt x="107" y="420"/>
                  </a:lnTo>
                  <a:lnTo>
                    <a:pt x="107" y="410"/>
                  </a:lnTo>
                  <a:lnTo>
                    <a:pt x="90" y="410"/>
                  </a:lnTo>
                  <a:lnTo>
                    <a:pt x="78" y="405"/>
                  </a:lnTo>
                  <a:lnTo>
                    <a:pt x="76" y="405"/>
                  </a:lnTo>
                  <a:lnTo>
                    <a:pt x="71" y="405"/>
                  </a:lnTo>
                  <a:lnTo>
                    <a:pt x="69" y="410"/>
                  </a:lnTo>
                  <a:lnTo>
                    <a:pt x="68" y="410"/>
                  </a:lnTo>
                  <a:lnTo>
                    <a:pt x="61" y="403"/>
                  </a:lnTo>
                  <a:lnTo>
                    <a:pt x="57" y="400"/>
                  </a:lnTo>
                  <a:lnTo>
                    <a:pt x="54" y="390"/>
                  </a:lnTo>
                  <a:lnTo>
                    <a:pt x="47" y="390"/>
                  </a:lnTo>
                  <a:lnTo>
                    <a:pt x="47" y="400"/>
                  </a:lnTo>
                  <a:lnTo>
                    <a:pt x="35" y="403"/>
                  </a:lnTo>
                  <a:lnTo>
                    <a:pt x="32" y="403"/>
                  </a:lnTo>
                  <a:lnTo>
                    <a:pt x="22" y="407"/>
                  </a:lnTo>
                  <a:lnTo>
                    <a:pt x="20" y="402"/>
                  </a:lnTo>
                  <a:lnTo>
                    <a:pt x="20" y="397"/>
                  </a:lnTo>
                  <a:lnTo>
                    <a:pt x="18" y="390"/>
                  </a:lnTo>
                  <a:lnTo>
                    <a:pt x="6" y="390"/>
                  </a:lnTo>
                  <a:lnTo>
                    <a:pt x="3" y="385"/>
                  </a:lnTo>
                  <a:lnTo>
                    <a:pt x="0" y="378"/>
                  </a:lnTo>
                  <a:lnTo>
                    <a:pt x="8" y="378"/>
                  </a:lnTo>
                  <a:lnTo>
                    <a:pt x="20" y="373"/>
                  </a:lnTo>
                  <a:lnTo>
                    <a:pt x="18" y="368"/>
                  </a:lnTo>
                  <a:lnTo>
                    <a:pt x="18" y="359"/>
                  </a:lnTo>
                  <a:lnTo>
                    <a:pt x="18" y="358"/>
                  </a:lnTo>
                  <a:lnTo>
                    <a:pt x="18" y="356"/>
                  </a:lnTo>
                  <a:lnTo>
                    <a:pt x="17" y="351"/>
                  </a:lnTo>
                  <a:lnTo>
                    <a:pt x="10" y="339"/>
                  </a:lnTo>
                  <a:lnTo>
                    <a:pt x="13" y="334"/>
                  </a:lnTo>
                  <a:lnTo>
                    <a:pt x="20" y="329"/>
                  </a:lnTo>
                  <a:lnTo>
                    <a:pt x="22" y="327"/>
                  </a:lnTo>
                  <a:lnTo>
                    <a:pt x="32" y="322"/>
                  </a:lnTo>
                  <a:lnTo>
                    <a:pt x="39" y="318"/>
                  </a:lnTo>
                  <a:lnTo>
                    <a:pt x="47" y="313"/>
                  </a:lnTo>
                  <a:lnTo>
                    <a:pt x="47" y="312"/>
                  </a:lnTo>
                  <a:lnTo>
                    <a:pt x="45" y="305"/>
                  </a:lnTo>
                  <a:lnTo>
                    <a:pt x="42" y="298"/>
                  </a:lnTo>
                  <a:lnTo>
                    <a:pt x="40" y="291"/>
                  </a:lnTo>
                  <a:lnTo>
                    <a:pt x="39" y="276"/>
                  </a:lnTo>
                  <a:lnTo>
                    <a:pt x="44" y="278"/>
                  </a:lnTo>
                  <a:lnTo>
                    <a:pt x="56" y="279"/>
                  </a:lnTo>
                  <a:lnTo>
                    <a:pt x="57" y="269"/>
                  </a:lnTo>
                  <a:lnTo>
                    <a:pt x="73" y="269"/>
                  </a:lnTo>
                  <a:lnTo>
                    <a:pt x="73" y="261"/>
                  </a:lnTo>
                  <a:lnTo>
                    <a:pt x="76" y="252"/>
                  </a:lnTo>
                  <a:lnTo>
                    <a:pt x="76" y="244"/>
                  </a:lnTo>
                  <a:lnTo>
                    <a:pt x="81" y="242"/>
                  </a:lnTo>
                  <a:lnTo>
                    <a:pt x="83" y="233"/>
                  </a:lnTo>
                  <a:lnTo>
                    <a:pt x="83" y="230"/>
                  </a:lnTo>
                  <a:lnTo>
                    <a:pt x="83" y="216"/>
                  </a:lnTo>
                  <a:lnTo>
                    <a:pt x="85" y="216"/>
                  </a:lnTo>
                  <a:lnTo>
                    <a:pt x="83" y="208"/>
                  </a:lnTo>
                  <a:lnTo>
                    <a:pt x="86" y="208"/>
                  </a:lnTo>
                  <a:lnTo>
                    <a:pt x="85" y="203"/>
                  </a:lnTo>
                  <a:lnTo>
                    <a:pt x="95" y="201"/>
                  </a:lnTo>
                  <a:lnTo>
                    <a:pt x="98" y="201"/>
                  </a:lnTo>
                  <a:lnTo>
                    <a:pt x="103" y="198"/>
                  </a:lnTo>
                  <a:lnTo>
                    <a:pt x="108" y="198"/>
                  </a:lnTo>
                  <a:lnTo>
                    <a:pt x="107" y="196"/>
                  </a:lnTo>
                  <a:lnTo>
                    <a:pt x="115" y="194"/>
                  </a:lnTo>
                  <a:lnTo>
                    <a:pt x="124" y="186"/>
                  </a:lnTo>
                  <a:lnTo>
                    <a:pt x="134" y="184"/>
                  </a:lnTo>
                  <a:lnTo>
                    <a:pt x="134" y="196"/>
                  </a:lnTo>
                  <a:lnTo>
                    <a:pt x="137" y="194"/>
                  </a:lnTo>
                  <a:lnTo>
                    <a:pt x="142" y="204"/>
                  </a:lnTo>
                  <a:lnTo>
                    <a:pt x="147" y="203"/>
                  </a:lnTo>
                  <a:lnTo>
                    <a:pt x="156" y="199"/>
                  </a:lnTo>
                  <a:lnTo>
                    <a:pt x="158" y="198"/>
                  </a:lnTo>
                  <a:lnTo>
                    <a:pt x="158" y="210"/>
                  </a:lnTo>
                  <a:lnTo>
                    <a:pt x="171" y="204"/>
                  </a:lnTo>
                  <a:lnTo>
                    <a:pt x="181" y="201"/>
                  </a:lnTo>
                  <a:lnTo>
                    <a:pt x="187" y="196"/>
                  </a:lnTo>
                  <a:lnTo>
                    <a:pt x="188" y="189"/>
                  </a:lnTo>
                  <a:lnTo>
                    <a:pt x="197" y="191"/>
                  </a:lnTo>
                  <a:lnTo>
                    <a:pt x="195" y="201"/>
                  </a:lnTo>
                  <a:lnTo>
                    <a:pt x="198" y="201"/>
                  </a:lnTo>
                  <a:lnTo>
                    <a:pt x="200" y="196"/>
                  </a:lnTo>
                  <a:lnTo>
                    <a:pt x="210" y="194"/>
                  </a:lnTo>
                  <a:lnTo>
                    <a:pt x="207" y="191"/>
                  </a:lnTo>
                  <a:lnTo>
                    <a:pt x="215" y="189"/>
                  </a:lnTo>
                  <a:lnTo>
                    <a:pt x="217" y="184"/>
                  </a:lnTo>
                  <a:lnTo>
                    <a:pt x="214" y="174"/>
                  </a:lnTo>
                  <a:lnTo>
                    <a:pt x="221" y="172"/>
                  </a:lnTo>
                  <a:lnTo>
                    <a:pt x="217" y="164"/>
                  </a:lnTo>
                  <a:lnTo>
                    <a:pt x="214" y="157"/>
                  </a:lnTo>
                  <a:lnTo>
                    <a:pt x="215" y="157"/>
                  </a:lnTo>
                  <a:lnTo>
                    <a:pt x="214" y="150"/>
                  </a:lnTo>
                  <a:lnTo>
                    <a:pt x="215" y="143"/>
                  </a:lnTo>
                  <a:lnTo>
                    <a:pt x="222" y="140"/>
                  </a:lnTo>
                  <a:lnTo>
                    <a:pt x="221" y="131"/>
                  </a:lnTo>
                  <a:lnTo>
                    <a:pt x="217" y="130"/>
                  </a:lnTo>
                  <a:lnTo>
                    <a:pt x="219" y="126"/>
                  </a:lnTo>
                  <a:lnTo>
                    <a:pt x="224" y="116"/>
                  </a:lnTo>
                  <a:lnTo>
                    <a:pt x="231" y="118"/>
                  </a:lnTo>
                  <a:lnTo>
                    <a:pt x="236" y="119"/>
                  </a:lnTo>
                  <a:lnTo>
                    <a:pt x="241" y="121"/>
                  </a:lnTo>
                  <a:lnTo>
                    <a:pt x="243" y="114"/>
                  </a:lnTo>
                  <a:lnTo>
                    <a:pt x="234" y="113"/>
                  </a:lnTo>
                  <a:lnTo>
                    <a:pt x="226" y="109"/>
                  </a:lnTo>
                  <a:lnTo>
                    <a:pt x="231" y="101"/>
                  </a:lnTo>
                  <a:lnTo>
                    <a:pt x="238" y="97"/>
                  </a:lnTo>
                  <a:lnTo>
                    <a:pt x="231" y="89"/>
                  </a:lnTo>
                  <a:lnTo>
                    <a:pt x="227" y="84"/>
                  </a:lnTo>
                  <a:lnTo>
                    <a:pt x="221" y="89"/>
                  </a:lnTo>
                  <a:lnTo>
                    <a:pt x="215" y="80"/>
                  </a:lnTo>
                  <a:lnTo>
                    <a:pt x="222" y="68"/>
                  </a:lnTo>
                  <a:lnTo>
                    <a:pt x="231" y="67"/>
                  </a:lnTo>
                  <a:lnTo>
                    <a:pt x="232" y="70"/>
                  </a:lnTo>
                  <a:lnTo>
                    <a:pt x="241" y="79"/>
                  </a:lnTo>
                  <a:lnTo>
                    <a:pt x="244" y="79"/>
                  </a:lnTo>
                  <a:lnTo>
                    <a:pt x="251" y="73"/>
                  </a:lnTo>
                  <a:lnTo>
                    <a:pt x="258" y="68"/>
                  </a:lnTo>
                  <a:lnTo>
                    <a:pt x="258" y="72"/>
                  </a:lnTo>
                  <a:lnTo>
                    <a:pt x="263" y="72"/>
                  </a:lnTo>
                  <a:lnTo>
                    <a:pt x="275" y="68"/>
                  </a:lnTo>
                  <a:lnTo>
                    <a:pt x="277" y="58"/>
                  </a:lnTo>
                  <a:lnTo>
                    <a:pt x="283" y="58"/>
                  </a:lnTo>
                  <a:lnTo>
                    <a:pt x="289" y="65"/>
                  </a:lnTo>
                  <a:lnTo>
                    <a:pt x="300" y="63"/>
                  </a:lnTo>
                  <a:lnTo>
                    <a:pt x="304" y="63"/>
                  </a:lnTo>
                  <a:lnTo>
                    <a:pt x="304" y="62"/>
                  </a:lnTo>
                  <a:lnTo>
                    <a:pt x="307" y="62"/>
                  </a:lnTo>
                  <a:lnTo>
                    <a:pt x="307" y="55"/>
                  </a:lnTo>
                  <a:lnTo>
                    <a:pt x="317" y="51"/>
                  </a:lnTo>
                  <a:lnTo>
                    <a:pt x="329" y="50"/>
                  </a:lnTo>
                  <a:lnTo>
                    <a:pt x="329" y="56"/>
                  </a:lnTo>
                  <a:lnTo>
                    <a:pt x="343" y="56"/>
                  </a:lnTo>
                  <a:lnTo>
                    <a:pt x="345" y="55"/>
                  </a:lnTo>
                  <a:lnTo>
                    <a:pt x="362" y="53"/>
                  </a:lnTo>
                  <a:lnTo>
                    <a:pt x="362" y="43"/>
                  </a:lnTo>
                  <a:lnTo>
                    <a:pt x="365" y="39"/>
                  </a:lnTo>
                  <a:lnTo>
                    <a:pt x="379" y="38"/>
                  </a:lnTo>
                  <a:lnTo>
                    <a:pt x="377" y="38"/>
                  </a:lnTo>
                  <a:lnTo>
                    <a:pt x="389" y="38"/>
                  </a:lnTo>
                  <a:lnTo>
                    <a:pt x="396" y="46"/>
                  </a:lnTo>
                  <a:lnTo>
                    <a:pt x="402" y="34"/>
                  </a:lnTo>
                  <a:lnTo>
                    <a:pt x="406" y="38"/>
                  </a:lnTo>
                  <a:lnTo>
                    <a:pt x="408" y="29"/>
                  </a:lnTo>
                  <a:lnTo>
                    <a:pt x="402" y="27"/>
                  </a:lnTo>
                  <a:lnTo>
                    <a:pt x="397" y="21"/>
                  </a:lnTo>
                  <a:lnTo>
                    <a:pt x="392" y="12"/>
                  </a:lnTo>
                  <a:lnTo>
                    <a:pt x="402" y="9"/>
                  </a:lnTo>
                  <a:lnTo>
                    <a:pt x="406" y="9"/>
                  </a:lnTo>
                  <a:lnTo>
                    <a:pt x="418" y="2"/>
                  </a:lnTo>
                  <a:lnTo>
                    <a:pt x="426" y="0"/>
                  </a:lnTo>
                  <a:lnTo>
                    <a:pt x="430" y="10"/>
                  </a:lnTo>
                  <a:lnTo>
                    <a:pt x="433" y="21"/>
                  </a:lnTo>
                  <a:lnTo>
                    <a:pt x="435" y="33"/>
                  </a:lnTo>
                  <a:lnTo>
                    <a:pt x="430" y="31"/>
                  </a:lnTo>
                  <a:lnTo>
                    <a:pt x="425" y="38"/>
                  </a:lnTo>
                  <a:lnTo>
                    <a:pt x="421" y="43"/>
                  </a:lnTo>
                  <a:lnTo>
                    <a:pt x="423" y="48"/>
                  </a:lnTo>
                  <a:lnTo>
                    <a:pt x="411" y="50"/>
                  </a:lnTo>
                  <a:lnTo>
                    <a:pt x="408" y="51"/>
                  </a:lnTo>
                  <a:lnTo>
                    <a:pt x="397" y="58"/>
                  </a:lnTo>
                  <a:lnTo>
                    <a:pt x="392" y="60"/>
                  </a:lnTo>
                  <a:lnTo>
                    <a:pt x="396" y="77"/>
                  </a:lnTo>
                  <a:lnTo>
                    <a:pt x="391" y="80"/>
                  </a:lnTo>
                  <a:lnTo>
                    <a:pt x="392" y="90"/>
                  </a:lnTo>
                  <a:lnTo>
                    <a:pt x="392" y="94"/>
                  </a:lnTo>
                  <a:lnTo>
                    <a:pt x="389" y="96"/>
                  </a:lnTo>
                  <a:lnTo>
                    <a:pt x="394" y="101"/>
                  </a:lnTo>
                  <a:lnTo>
                    <a:pt x="394" y="109"/>
                  </a:lnTo>
                  <a:lnTo>
                    <a:pt x="392" y="113"/>
                  </a:lnTo>
                  <a:lnTo>
                    <a:pt x="394" y="121"/>
                  </a:lnTo>
                  <a:lnTo>
                    <a:pt x="396" y="128"/>
                  </a:lnTo>
                  <a:lnTo>
                    <a:pt x="399" y="140"/>
                  </a:lnTo>
                  <a:lnTo>
                    <a:pt x="402" y="147"/>
                  </a:lnTo>
                  <a:lnTo>
                    <a:pt x="402" y="148"/>
                  </a:lnTo>
                  <a:lnTo>
                    <a:pt x="406" y="152"/>
                  </a:lnTo>
                  <a:lnTo>
                    <a:pt x="411" y="153"/>
                  </a:lnTo>
                  <a:lnTo>
                    <a:pt x="416" y="143"/>
                  </a:lnTo>
                  <a:lnTo>
                    <a:pt x="416" y="140"/>
                  </a:lnTo>
                  <a:lnTo>
                    <a:pt x="426" y="143"/>
                  </a:lnTo>
                  <a:lnTo>
                    <a:pt x="425" y="152"/>
                  </a:lnTo>
                  <a:lnTo>
                    <a:pt x="423" y="157"/>
                  </a:lnTo>
                  <a:lnTo>
                    <a:pt x="425" y="158"/>
                  </a:lnTo>
                  <a:lnTo>
                    <a:pt x="433" y="158"/>
                  </a:lnTo>
                  <a:lnTo>
                    <a:pt x="438" y="155"/>
                  </a:lnTo>
                  <a:lnTo>
                    <a:pt x="448" y="153"/>
                  </a:lnTo>
                  <a:lnTo>
                    <a:pt x="438" y="147"/>
                  </a:lnTo>
                  <a:lnTo>
                    <a:pt x="438" y="143"/>
                  </a:lnTo>
                  <a:lnTo>
                    <a:pt x="445" y="141"/>
                  </a:lnTo>
                  <a:lnTo>
                    <a:pt x="447" y="145"/>
                  </a:lnTo>
                  <a:lnTo>
                    <a:pt x="453" y="147"/>
                  </a:lnTo>
                  <a:lnTo>
                    <a:pt x="455" y="141"/>
                  </a:lnTo>
                  <a:lnTo>
                    <a:pt x="452" y="140"/>
                  </a:lnTo>
                  <a:lnTo>
                    <a:pt x="450" y="140"/>
                  </a:lnTo>
                  <a:lnTo>
                    <a:pt x="450" y="135"/>
                  </a:lnTo>
                  <a:lnTo>
                    <a:pt x="448" y="130"/>
                  </a:lnTo>
                  <a:lnTo>
                    <a:pt x="448" y="123"/>
                  </a:lnTo>
                  <a:lnTo>
                    <a:pt x="438" y="124"/>
                  </a:lnTo>
                  <a:lnTo>
                    <a:pt x="436" y="116"/>
                  </a:lnTo>
                  <a:lnTo>
                    <a:pt x="443" y="111"/>
                  </a:lnTo>
                  <a:lnTo>
                    <a:pt x="450" y="106"/>
                  </a:lnTo>
                  <a:lnTo>
                    <a:pt x="457" y="111"/>
                  </a:lnTo>
                  <a:lnTo>
                    <a:pt x="452" y="123"/>
                  </a:lnTo>
                  <a:lnTo>
                    <a:pt x="465" y="111"/>
                  </a:lnTo>
                  <a:lnTo>
                    <a:pt x="467" y="119"/>
                  </a:lnTo>
                  <a:lnTo>
                    <a:pt x="472" y="128"/>
                  </a:lnTo>
                  <a:lnTo>
                    <a:pt x="474" y="131"/>
                  </a:lnTo>
                  <a:lnTo>
                    <a:pt x="487" y="124"/>
                  </a:lnTo>
                  <a:lnTo>
                    <a:pt x="491" y="124"/>
                  </a:lnTo>
                  <a:lnTo>
                    <a:pt x="486" y="116"/>
                  </a:lnTo>
                  <a:lnTo>
                    <a:pt x="494" y="113"/>
                  </a:lnTo>
                  <a:lnTo>
                    <a:pt x="493" y="107"/>
                  </a:lnTo>
                  <a:lnTo>
                    <a:pt x="504" y="113"/>
                  </a:lnTo>
                  <a:lnTo>
                    <a:pt x="510" y="102"/>
                  </a:lnTo>
                  <a:lnTo>
                    <a:pt x="513" y="113"/>
                  </a:lnTo>
                  <a:lnTo>
                    <a:pt x="515" y="114"/>
                  </a:lnTo>
                  <a:lnTo>
                    <a:pt x="511" y="118"/>
                  </a:lnTo>
                  <a:lnTo>
                    <a:pt x="506" y="118"/>
                  </a:lnTo>
                  <a:lnTo>
                    <a:pt x="498" y="121"/>
                  </a:lnTo>
                  <a:lnTo>
                    <a:pt x="501" y="126"/>
                  </a:lnTo>
                  <a:lnTo>
                    <a:pt x="498" y="136"/>
                  </a:lnTo>
                  <a:lnTo>
                    <a:pt x="504" y="136"/>
                  </a:lnTo>
                  <a:lnTo>
                    <a:pt x="504" y="143"/>
                  </a:lnTo>
                  <a:lnTo>
                    <a:pt x="489" y="147"/>
                  </a:lnTo>
                  <a:lnTo>
                    <a:pt x="479" y="150"/>
                  </a:lnTo>
                  <a:lnTo>
                    <a:pt x="476" y="162"/>
                  </a:lnTo>
                  <a:lnTo>
                    <a:pt x="474" y="165"/>
                  </a:lnTo>
                  <a:lnTo>
                    <a:pt x="482" y="169"/>
                  </a:lnTo>
                  <a:lnTo>
                    <a:pt x="476" y="177"/>
                  </a:lnTo>
                  <a:lnTo>
                    <a:pt x="470" y="189"/>
                  </a:lnTo>
                  <a:lnTo>
                    <a:pt x="470" y="191"/>
                  </a:lnTo>
                  <a:lnTo>
                    <a:pt x="474" y="194"/>
                  </a:lnTo>
                  <a:lnTo>
                    <a:pt x="470" y="204"/>
                  </a:lnTo>
                  <a:lnTo>
                    <a:pt x="469" y="208"/>
                  </a:lnTo>
                  <a:lnTo>
                    <a:pt x="464" y="206"/>
                  </a:lnTo>
                  <a:lnTo>
                    <a:pt x="457" y="203"/>
                  </a:lnTo>
                  <a:lnTo>
                    <a:pt x="457" y="206"/>
                  </a:lnTo>
                  <a:lnTo>
                    <a:pt x="457" y="208"/>
                  </a:lnTo>
                  <a:lnTo>
                    <a:pt x="453" y="218"/>
                  </a:lnTo>
                  <a:lnTo>
                    <a:pt x="453" y="230"/>
                  </a:lnTo>
                  <a:lnTo>
                    <a:pt x="455" y="230"/>
                  </a:lnTo>
                  <a:lnTo>
                    <a:pt x="450" y="240"/>
                  </a:lnTo>
                  <a:lnTo>
                    <a:pt x="448" y="238"/>
                  </a:lnTo>
                  <a:lnTo>
                    <a:pt x="442" y="238"/>
                  </a:lnTo>
                  <a:lnTo>
                    <a:pt x="431" y="238"/>
                  </a:lnTo>
                  <a:lnTo>
                    <a:pt x="425" y="242"/>
                  </a:lnTo>
                  <a:lnTo>
                    <a:pt x="423" y="233"/>
                  </a:lnTo>
                  <a:lnTo>
                    <a:pt x="421" y="235"/>
                  </a:lnTo>
                  <a:lnTo>
                    <a:pt x="409" y="235"/>
                  </a:lnTo>
                  <a:lnTo>
                    <a:pt x="404" y="233"/>
                  </a:lnTo>
                  <a:lnTo>
                    <a:pt x="394" y="230"/>
                  </a:lnTo>
                  <a:lnTo>
                    <a:pt x="389" y="230"/>
                  </a:lnTo>
                  <a:lnTo>
                    <a:pt x="379" y="238"/>
                  </a:lnTo>
                  <a:lnTo>
                    <a:pt x="377" y="242"/>
                  </a:lnTo>
                  <a:lnTo>
                    <a:pt x="374" y="254"/>
                  </a:lnTo>
                  <a:lnTo>
                    <a:pt x="363" y="250"/>
                  </a:lnTo>
                  <a:lnTo>
                    <a:pt x="362" y="254"/>
                  </a:lnTo>
                  <a:lnTo>
                    <a:pt x="355" y="254"/>
                  </a:lnTo>
                  <a:lnTo>
                    <a:pt x="358" y="259"/>
                  </a:lnTo>
                  <a:lnTo>
                    <a:pt x="353" y="262"/>
                  </a:lnTo>
                  <a:lnTo>
                    <a:pt x="350" y="271"/>
                  </a:lnTo>
                  <a:lnTo>
                    <a:pt x="358" y="276"/>
                  </a:lnTo>
                  <a:lnTo>
                    <a:pt x="362" y="283"/>
                  </a:lnTo>
                  <a:lnTo>
                    <a:pt x="362" y="288"/>
                  </a:lnTo>
                  <a:lnTo>
                    <a:pt x="360" y="298"/>
                  </a:lnTo>
                  <a:lnTo>
                    <a:pt x="374" y="301"/>
                  </a:lnTo>
                  <a:lnTo>
                    <a:pt x="384" y="303"/>
                  </a:lnTo>
                  <a:lnTo>
                    <a:pt x="384" y="315"/>
                  </a:lnTo>
                  <a:lnTo>
                    <a:pt x="387" y="317"/>
                  </a:lnTo>
                  <a:lnTo>
                    <a:pt x="396" y="320"/>
                  </a:lnTo>
                  <a:lnTo>
                    <a:pt x="406" y="329"/>
                  </a:lnTo>
                  <a:lnTo>
                    <a:pt x="413" y="323"/>
                  </a:lnTo>
                  <a:lnTo>
                    <a:pt x="425" y="322"/>
                  </a:lnTo>
                  <a:lnTo>
                    <a:pt x="431" y="318"/>
                  </a:lnTo>
                  <a:lnTo>
                    <a:pt x="433" y="330"/>
                  </a:lnTo>
                  <a:lnTo>
                    <a:pt x="440" y="329"/>
                  </a:lnTo>
                  <a:lnTo>
                    <a:pt x="442" y="335"/>
                  </a:lnTo>
                  <a:lnTo>
                    <a:pt x="445" y="344"/>
                  </a:lnTo>
                  <a:lnTo>
                    <a:pt x="436" y="346"/>
                  </a:lnTo>
                  <a:lnTo>
                    <a:pt x="426" y="351"/>
                  </a:lnTo>
                  <a:lnTo>
                    <a:pt x="425" y="358"/>
                  </a:lnTo>
                  <a:lnTo>
                    <a:pt x="419" y="363"/>
                  </a:lnTo>
                  <a:lnTo>
                    <a:pt x="418" y="376"/>
                  </a:lnTo>
                  <a:lnTo>
                    <a:pt x="399" y="375"/>
                  </a:lnTo>
                  <a:lnTo>
                    <a:pt x="392" y="373"/>
                  </a:lnTo>
                  <a:lnTo>
                    <a:pt x="385" y="373"/>
                  </a:lnTo>
                  <a:lnTo>
                    <a:pt x="385" y="383"/>
                  </a:lnTo>
                  <a:lnTo>
                    <a:pt x="372" y="381"/>
                  </a:lnTo>
                  <a:lnTo>
                    <a:pt x="372" y="376"/>
                  </a:lnTo>
                  <a:lnTo>
                    <a:pt x="367" y="378"/>
                  </a:lnTo>
                  <a:lnTo>
                    <a:pt x="368" y="375"/>
                  </a:lnTo>
                  <a:lnTo>
                    <a:pt x="357" y="371"/>
                  </a:lnTo>
                  <a:lnTo>
                    <a:pt x="355" y="378"/>
                  </a:lnTo>
                  <a:lnTo>
                    <a:pt x="355" y="388"/>
                  </a:lnTo>
                  <a:lnTo>
                    <a:pt x="357" y="392"/>
                  </a:lnTo>
                  <a:lnTo>
                    <a:pt x="357" y="395"/>
                  </a:lnTo>
                  <a:lnTo>
                    <a:pt x="350" y="395"/>
                  </a:lnTo>
                  <a:lnTo>
                    <a:pt x="350" y="398"/>
                  </a:lnTo>
                  <a:lnTo>
                    <a:pt x="345" y="400"/>
                  </a:lnTo>
                  <a:lnTo>
                    <a:pt x="346" y="407"/>
                  </a:lnTo>
                  <a:lnTo>
                    <a:pt x="333" y="409"/>
                  </a:lnTo>
                  <a:lnTo>
                    <a:pt x="333" y="412"/>
                  </a:lnTo>
                  <a:lnTo>
                    <a:pt x="323" y="412"/>
                  </a:lnTo>
                  <a:lnTo>
                    <a:pt x="321" y="419"/>
                  </a:lnTo>
                  <a:lnTo>
                    <a:pt x="317" y="429"/>
                  </a:lnTo>
                  <a:lnTo>
                    <a:pt x="319" y="429"/>
                  </a:lnTo>
                  <a:lnTo>
                    <a:pt x="323" y="441"/>
                  </a:lnTo>
                  <a:lnTo>
                    <a:pt x="307" y="443"/>
                  </a:lnTo>
                  <a:lnTo>
                    <a:pt x="300" y="449"/>
                  </a:lnTo>
                  <a:lnTo>
                    <a:pt x="299" y="454"/>
                  </a:lnTo>
                  <a:lnTo>
                    <a:pt x="300" y="461"/>
                  </a:lnTo>
                  <a:lnTo>
                    <a:pt x="297" y="471"/>
                  </a:lnTo>
                  <a:lnTo>
                    <a:pt x="290" y="471"/>
                  </a:lnTo>
                  <a:lnTo>
                    <a:pt x="290" y="468"/>
                  </a:lnTo>
                  <a:lnTo>
                    <a:pt x="278" y="470"/>
                  </a:lnTo>
                  <a:lnTo>
                    <a:pt x="280" y="47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5" name="Freeform 14">
              <a:extLst>
                <a:ext uri="{FF2B5EF4-FFF2-40B4-BE49-F238E27FC236}">
                  <a16:creationId xmlns:a16="http://schemas.microsoft.com/office/drawing/2014/main" id="{EA33C844-89C2-4938-98FD-4D8E3FA82BD2}"/>
                </a:ext>
              </a:extLst>
            </p:cNvPr>
            <p:cNvSpPr>
              <a:spLocks/>
            </p:cNvSpPr>
            <p:nvPr/>
          </p:nvSpPr>
          <p:spPr bwMode="gray">
            <a:xfrm>
              <a:off x="6518275" y="615950"/>
              <a:ext cx="2278062" cy="1393825"/>
            </a:xfrm>
            <a:custGeom>
              <a:avLst/>
              <a:gdLst>
                <a:gd name="T0" fmla="*/ 1379 w 1435"/>
                <a:gd name="T1" fmla="*/ 505 h 878"/>
                <a:gd name="T2" fmla="*/ 1307 w 1435"/>
                <a:gd name="T3" fmla="*/ 517 h 878"/>
                <a:gd name="T4" fmla="*/ 1250 w 1435"/>
                <a:gd name="T5" fmla="*/ 508 h 878"/>
                <a:gd name="T6" fmla="*/ 1231 w 1435"/>
                <a:gd name="T7" fmla="*/ 537 h 878"/>
                <a:gd name="T8" fmla="*/ 1244 w 1435"/>
                <a:gd name="T9" fmla="*/ 583 h 878"/>
                <a:gd name="T10" fmla="*/ 1256 w 1435"/>
                <a:gd name="T11" fmla="*/ 619 h 878"/>
                <a:gd name="T12" fmla="*/ 1188 w 1435"/>
                <a:gd name="T13" fmla="*/ 655 h 878"/>
                <a:gd name="T14" fmla="*/ 1129 w 1435"/>
                <a:gd name="T15" fmla="*/ 651 h 878"/>
                <a:gd name="T16" fmla="*/ 1102 w 1435"/>
                <a:gd name="T17" fmla="*/ 701 h 878"/>
                <a:gd name="T18" fmla="*/ 1064 w 1435"/>
                <a:gd name="T19" fmla="*/ 743 h 878"/>
                <a:gd name="T20" fmla="*/ 1027 w 1435"/>
                <a:gd name="T21" fmla="*/ 725 h 878"/>
                <a:gd name="T22" fmla="*/ 984 w 1435"/>
                <a:gd name="T23" fmla="*/ 733 h 878"/>
                <a:gd name="T24" fmla="*/ 972 w 1435"/>
                <a:gd name="T25" fmla="*/ 779 h 878"/>
                <a:gd name="T26" fmla="*/ 932 w 1435"/>
                <a:gd name="T27" fmla="*/ 798 h 878"/>
                <a:gd name="T28" fmla="*/ 901 w 1435"/>
                <a:gd name="T29" fmla="*/ 856 h 878"/>
                <a:gd name="T30" fmla="*/ 806 w 1435"/>
                <a:gd name="T31" fmla="*/ 873 h 878"/>
                <a:gd name="T32" fmla="*/ 733 w 1435"/>
                <a:gd name="T33" fmla="*/ 873 h 878"/>
                <a:gd name="T34" fmla="*/ 694 w 1435"/>
                <a:gd name="T35" fmla="*/ 842 h 878"/>
                <a:gd name="T36" fmla="*/ 695 w 1435"/>
                <a:gd name="T37" fmla="*/ 793 h 878"/>
                <a:gd name="T38" fmla="*/ 649 w 1435"/>
                <a:gd name="T39" fmla="*/ 764 h 878"/>
                <a:gd name="T40" fmla="*/ 592 w 1435"/>
                <a:gd name="T41" fmla="*/ 755 h 878"/>
                <a:gd name="T42" fmla="*/ 541 w 1435"/>
                <a:gd name="T43" fmla="*/ 801 h 878"/>
                <a:gd name="T44" fmla="*/ 530 w 1435"/>
                <a:gd name="T45" fmla="*/ 820 h 878"/>
                <a:gd name="T46" fmla="*/ 576 w 1435"/>
                <a:gd name="T47" fmla="*/ 815 h 878"/>
                <a:gd name="T48" fmla="*/ 541 w 1435"/>
                <a:gd name="T49" fmla="*/ 837 h 878"/>
                <a:gd name="T50" fmla="*/ 478 w 1435"/>
                <a:gd name="T51" fmla="*/ 828 h 878"/>
                <a:gd name="T52" fmla="*/ 451 w 1435"/>
                <a:gd name="T53" fmla="*/ 789 h 878"/>
                <a:gd name="T54" fmla="*/ 444 w 1435"/>
                <a:gd name="T55" fmla="*/ 760 h 878"/>
                <a:gd name="T56" fmla="*/ 369 w 1435"/>
                <a:gd name="T57" fmla="*/ 759 h 878"/>
                <a:gd name="T58" fmla="*/ 306 w 1435"/>
                <a:gd name="T59" fmla="*/ 774 h 878"/>
                <a:gd name="T60" fmla="*/ 238 w 1435"/>
                <a:gd name="T61" fmla="*/ 789 h 878"/>
                <a:gd name="T62" fmla="*/ 199 w 1435"/>
                <a:gd name="T63" fmla="*/ 752 h 878"/>
                <a:gd name="T64" fmla="*/ 160 w 1435"/>
                <a:gd name="T65" fmla="*/ 691 h 878"/>
                <a:gd name="T66" fmla="*/ 95 w 1435"/>
                <a:gd name="T67" fmla="*/ 723 h 878"/>
                <a:gd name="T68" fmla="*/ 29 w 1435"/>
                <a:gd name="T69" fmla="*/ 716 h 878"/>
                <a:gd name="T70" fmla="*/ 12 w 1435"/>
                <a:gd name="T71" fmla="*/ 662 h 878"/>
                <a:gd name="T72" fmla="*/ 48 w 1435"/>
                <a:gd name="T73" fmla="*/ 612 h 878"/>
                <a:gd name="T74" fmla="*/ 100 w 1435"/>
                <a:gd name="T75" fmla="*/ 580 h 878"/>
                <a:gd name="T76" fmla="*/ 129 w 1435"/>
                <a:gd name="T77" fmla="*/ 524 h 878"/>
                <a:gd name="T78" fmla="*/ 150 w 1435"/>
                <a:gd name="T79" fmla="*/ 454 h 878"/>
                <a:gd name="T80" fmla="*/ 172 w 1435"/>
                <a:gd name="T81" fmla="*/ 415 h 878"/>
                <a:gd name="T82" fmla="*/ 204 w 1435"/>
                <a:gd name="T83" fmla="*/ 376 h 878"/>
                <a:gd name="T84" fmla="*/ 248 w 1435"/>
                <a:gd name="T85" fmla="*/ 342 h 878"/>
                <a:gd name="T86" fmla="*/ 281 w 1435"/>
                <a:gd name="T87" fmla="*/ 335 h 878"/>
                <a:gd name="T88" fmla="*/ 315 w 1435"/>
                <a:gd name="T89" fmla="*/ 304 h 878"/>
                <a:gd name="T90" fmla="*/ 367 w 1435"/>
                <a:gd name="T91" fmla="*/ 269 h 878"/>
                <a:gd name="T92" fmla="*/ 418 w 1435"/>
                <a:gd name="T93" fmla="*/ 223 h 878"/>
                <a:gd name="T94" fmla="*/ 471 w 1435"/>
                <a:gd name="T95" fmla="*/ 172 h 878"/>
                <a:gd name="T96" fmla="*/ 524 w 1435"/>
                <a:gd name="T97" fmla="*/ 119 h 878"/>
                <a:gd name="T98" fmla="*/ 600 w 1435"/>
                <a:gd name="T99" fmla="*/ 116 h 878"/>
                <a:gd name="T100" fmla="*/ 663 w 1435"/>
                <a:gd name="T101" fmla="*/ 87 h 878"/>
                <a:gd name="T102" fmla="*/ 700 w 1435"/>
                <a:gd name="T103" fmla="*/ 29 h 878"/>
                <a:gd name="T104" fmla="*/ 780 w 1435"/>
                <a:gd name="T105" fmla="*/ 17 h 878"/>
                <a:gd name="T106" fmla="*/ 838 w 1435"/>
                <a:gd name="T107" fmla="*/ 7 h 878"/>
                <a:gd name="T108" fmla="*/ 915 w 1435"/>
                <a:gd name="T109" fmla="*/ 13 h 878"/>
                <a:gd name="T110" fmla="*/ 984 w 1435"/>
                <a:gd name="T111" fmla="*/ 42 h 878"/>
                <a:gd name="T112" fmla="*/ 1057 w 1435"/>
                <a:gd name="T113" fmla="*/ 59 h 878"/>
                <a:gd name="T114" fmla="*/ 1144 w 1435"/>
                <a:gd name="T115" fmla="*/ 51 h 878"/>
                <a:gd name="T116" fmla="*/ 1219 w 1435"/>
                <a:gd name="T117" fmla="*/ 51 h 878"/>
                <a:gd name="T118" fmla="*/ 1290 w 1435"/>
                <a:gd name="T119" fmla="*/ 65 h 878"/>
                <a:gd name="T120" fmla="*/ 1358 w 1435"/>
                <a:gd name="T121" fmla="*/ 29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5" h="878">
                  <a:moveTo>
                    <a:pt x="1435" y="495"/>
                  </a:moveTo>
                  <a:lnTo>
                    <a:pt x="1426" y="495"/>
                  </a:lnTo>
                  <a:lnTo>
                    <a:pt x="1419" y="495"/>
                  </a:lnTo>
                  <a:lnTo>
                    <a:pt x="1416" y="498"/>
                  </a:lnTo>
                  <a:lnTo>
                    <a:pt x="1406" y="495"/>
                  </a:lnTo>
                  <a:lnTo>
                    <a:pt x="1396" y="502"/>
                  </a:lnTo>
                  <a:lnTo>
                    <a:pt x="1396" y="512"/>
                  </a:lnTo>
                  <a:lnTo>
                    <a:pt x="1387" y="515"/>
                  </a:lnTo>
                  <a:lnTo>
                    <a:pt x="1380" y="514"/>
                  </a:lnTo>
                  <a:lnTo>
                    <a:pt x="1379" y="505"/>
                  </a:lnTo>
                  <a:lnTo>
                    <a:pt x="1377" y="503"/>
                  </a:lnTo>
                  <a:lnTo>
                    <a:pt x="1367" y="505"/>
                  </a:lnTo>
                  <a:lnTo>
                    <a:pt x="1360" y="514"/>
                  </a:lnTo>
                  <a:lnTo>
                    <a:pt x="1351" y="508"/>
                  </a:lnTo>
                  <a:lnTo>
                    <a:pt x="1341" y="514"/>
                  </a:lnTo>
                  <a:lnTo>
                    <a:pt x="1336" y="510"/>
                  </a:lnTo>
                  <a:lnTo>
                    <a:pt x="1324" y="507"/>
                  </a:lnTo>
                  <a:lnTo>
                    <a:pt x="1321" y="505"/>
                  </a:lnTo>
                  <a:lnTo>
                    <a:pt x="1316" y="514"/>
                  </a:lnTo>
                  <a:lnTo>
                    <a:pt x="1307" y="517"/>
                  </a:lnTo>
                  <a:lnTo>
                    <a:pt x="1302" y="514"/>
                  </a:lnTo>
                  <a:lnTo>
                    <a:pt x="1297" y="519"/>
                  </a:lnTo>
                  <a:lnTo>
                    <a:pt x="1287" y="520"/>
                  </a:lnTo>
                  <a:lnTo>
                    <a:pt x="1280" y="519"/>
                  </a:lnTo>
                  <a:lnTo>
                    <a:pt x="1270" y="526"/>
                  </a:lnTo>
                  <a:lnTo>
                    <a:pt x="1268" y="519"/>
                  </a:lnTo>
                  <a:lnTo>
                    <a:pt x="1265" y="515"/>
                  </a:lnTo>
                  <a:lnTo>
                    <a:pt x="1261" y="512"/>
                  </a:lnTo>
                  <a:lnTo>
                    <a:pt x="1255" y="507"/>
                  </a:lnTo>
                  <a:lnTo>
                    <a:pt x="1250" y="508"/>
                  </a:lnTo>
                  <a:lnTo>
                    <a:pt x="1248" y="515"/>
                  </a:lnTo>
                  <a:lnTo>
                    <a:pt x="1243" y="517"/>
                  </a:lnTo>
                  <a:lnTo>
                    <a:pt x="1229" y="519"/>
                  </a:lnTo>
                  <a:lnTo>
                    <a:pt x="1222" y="520"/>
                  </a:lnTo>
                  <a:lnTo>
                    <a:pt x="1221" y="524"/>
                  </a:lnTo>
                  <a:lnTo>
                    <a:pt x="1226" y="524"/>
                  </a:lnTo>
                  <a:lnTo>
                    <a:pt x="1234" y="524"/>
                  </a:lnTo>
                  <a:lnTo>
                    <a:pt x="1233" y="531"/>
                  </a:lnTo>
                  <a:lnTo>
                    <a:pt x="1227" y="531"/>
                  </a:lnTo>
                  <a:lnTo>
                    <a:pt x="1231" y="537"/>
                  </a:lnTo>
                  <a:lnTo>
                    <a:pt x="1224" y="544"/>
                  </a:lnTo>
                  <a:lnTo>
                    <a:pt x="1216" y="549"/>
                  </a:lnTo>
                  <a:lnTo>
                    <a:pt x="1216" y="561"/>
                  </a:lnTo>
                  <a:lnTo>
                    <a:pt x="1217" y="571"/>
                  </a:lnTo>
                  <a:lnTo>
                    <a:pt x="1216" y="582"/>
                  </a:lnTo>
                  <a:lnTo>
                    <a:pt x="1216" y="585"/>
                  </a:lnTo>
                  <a:lnTo>
                    <a:pt x="1227" y="585"/>
                  </a:lnTo>
                  <a:lnTo>
                    <a:pt x="1238" y="585"/>
                  </a:lnTo>
                  <a:lnTo>
                    <a:pt x="1241" y="583"/>
                  </a:lnTo>
                  <a:lnTo>
                    <a:pt x="1244" y="583"/>
                  </a:lnTo>
                  <a:lnTo>
                    <a:pt x="1253" y="580"/>
                  </a:lnTo>
                  <a:lnTo>
                    <a:pt x="1255" y="583"/>
                  </a:lnTo>
                  <a:lnTo>
                    <a:pt x="1260" y="592"/>
                  </a:lnTo>
                  <a:lnTo>
                    <a:pt x="1263" y="597"/>
                  </a:lnTo>
                  <a:lnTo>
                    <a:pt x="1243" y="599"/>
                  </a:lnTo>
                  <a:lnTo>
                    <a:pt x="1243" y="602"/>
                  </a:lnTo>
                  <a:lnTo>
                    <a:pt x="1243" y="605"/>
                  </a:lnTo>
                  <a:lnTo>
                    <a:pt x="1241" y="616"/>
                  </a:lnTo>
                  <a:lnTo>
                    <a:pt x="1253" y="612"/>
                  </a:lnTo>
                  <a:lnTo>
                    <a:pt x="1256" y="619"/>
                  </a:lnTo>
                  <a:lnTo>
                    <a:pt x="1265" y="633"/>
                  </a:lnTo>
                  <a:lnTo>
                    <a:pt x="1258" y="648"/>
                  </a:lnTo>
                  <a:lnTo>
                    <a:pt x="1246" y="648"/>
                  </a:lnTo>
                  <a:lnTo>
                    <a:pt x="1238" y="650"/>
                  </a:lnTo>
                  <a:lnTo>
                    <a:pt x="1227" y="650"/>
                  </a:lnTo>
                  <a:lnTo>
                    <a:pt x="1221" y="650"/>
                  </a:lnTo>
                  <a:lnTo>
                    <a:pt x="1212" y="651"/>
                  </a:lnTo>
                  <a:lnTo>
                    <a:pt x="1205" y="651"/>
                  </a:lnTo>
                  <a:lnTo>
                    <a:pt x="1200" y="653"/>
                  </a:lnTo>
                  <a:lnTo>
                    <a:pt x="1188" y="655"/>
                  </a:lnTo>
                  <a:lnTo>
                    <a:pt x="1187" y="638"/>
                  </a:lnTo>
                  <a:lnTo>
                    <a:pt x="1175" y="639"/>
                  </a:lnTo>
                  <a:lnTo>
                    <a:pt x="1166" y="643"/>
                  </a:lnTo>
                  <a:lnTo>
                    <a:pt x="1154" y="636"/>
                  </a:lnTo>
                  <a:lnTo>
                    <a:pt x="1148" y="633"/>
                  </a:lnTo>
                  <a:lnTo>
                    <a:pt x="1144" y="629"/>
                  </a:lnTo>
                  <a:lnTo>
                    <a:pt x="1137" y="622"/>
                  </a:lnTo>
                  <a:lnTo>
                    <a:pt x="1129" y="633"/>
                  </a:lnTo>
                  <a:lnTo>
                    <a:pt x="1129" y="645"/>
                  </a:lnTo>
                  <a:lnTo>
                    <a:pt x="1129" y="651"/>
                  </a:lnTo>
                  <a:lnTo>
                    <a:pt x="1127" y="662"/>
                  </a:lnTo>
                  <a:lnTo>
                    <a:pt x="1120" y="655"/>
                  </a:lnTo>
                  <a:lnTo>
                    <a:pt x="1114" y="665"/>
                  </a:lnTo>
                  <a:lnTo>
                    <a:pt x="1115" y="667"/>
                  </a:lnTo>
                  <a:lnTo>
                    <a:pt x="1122" y="677"/>
                  </a:lnTo>
                  <a:lnTo>
                    <a:pt x="1124" y="687"/>
                  </a:lnTo>
                  <a:lnTo>
                    <a:pt x="1115" y="694"/>
                  </a:lnTo>
                  <a:lnTo>
                    <a:pt x="1114" y="696"/>
                  </a:lnTo>
                  <a:lnTo>
                    <a:pt x="1102" y="694"/>
                  </a:lnTo>
                  <a:lnTo>
                    <a:pt x="1102" y="701"/>
                  </a:lnTo>
                  <a:lnTo>
                    <a:pt x="1108" y="706"/>
                  </a:lnTo>
                  <a:lnTo>
                    <a:pt x="1107" y="716"/>
                  </a:lnTo>
                  <a:lnTo>
                    <a:pt x="1100" y="726"/>
                  </a:lnTo>
                  <a:lnTo>
                    <a:pt x="1097" y="725"/>
                  </a:lnTo>
                  <a:lnTo>
                    <a:pt x="1093" y="731"/>
                  </a:lnTo>
                  <a:lnTo>
                    <a:pt x="1086" y="735"/>
                  </a:lnTo>
                  <a:lnTo>
                    <a:pt x="1086" y="743"/>
                  </a:lnTo>
                  <a:lnTo>
                    <a:pt x="1081" y="738"/>
                  </a:lnTo>
                  <a:lnTo>
                    <a:pt x="1076" y="740"/>
                  </a:lnTo>
                  <a:lnTo>
                    <a:pt x="1064" y="743"/>
                  </a:lnTo>
                  <a:lnTo>
                    <a:pt x="1063" y="753"/>
                  </a:lnTo>
                  <a:lnTo>
                    <a:pt x="1061" y="752"/>
                  </a:lnTo>
                  <a:lnTo>
                    <a:pt x="1061" y="750"/>
                  </a:lnTo>
                  <a:lnTo>
                    <a:pt x="1052" y="742"/>
                  </a:lnTo>
                  <a:lnTo>
                    <a:pt x="1051" y="735"/>
                  </a:lnTo>
                  <a:lnTo>
                    <a:pt x="1049" y="730"/>
                  </a:lnTo>
                  <a:lnTo>
                    <a:pt x="1046" y="726"/>
                  </a:lnTo>
                  <a:lnTo>
                    <a:pt x="1037" y="725"/>
                  </a:lnTo>
                  <a:lnTo>
                    <a:pt x="1039" y="731"/>
                  </a:lnTo>
                  <a:lnTo>
                    <a:pt x="1027" y="725"/>
                  </a:lnTo>
                  <a:lnTo>
                    <a:pt x="1027" y="735"/>
                  </a:lnTo>
                  <a:lnTo>
                    <a:pt x="1017" y="731"/>
                  </a:lnTo>
                  <a:lnTo>
                    <a:pt x="1015" y="735"/>
                  </a:lnTo>
                  <a:lnTo>
                    <a:pt x="1012" y="730"/>
                  </a:lnTo>
                  <a:lnTo>
                    <a:pt x="1008" y="730"/>
                  </a:lnTo>
                  <a:lnTo>
                    <a:pt x="1000" y="728"/>
                  </a:lnTo>
                  <a:lnTo>
                    <a:pt x="986" y="728"/>
                  </a:lnTo>
                  <a:lnTo>
                    <a:pt x="984" y="726"/>
                  </a:lnTo>
                  <a:lnTo>
                    <a:pt x="984" y="731"/>
                  </a:lnTo>
                  <a:lnTo>
                    <a:pt x="984" y="733"/>
                  </a:lnTo>
                  <a:lnTo>
                    <a:pt x="981" y="745"/>
                  </a:lnTo>
                  <a:lnTo>
                    <a:pt x="979" y="752"/>
                  </a:lnTo>
                  <a:lnTo>
                    <a:pt x="979" y="757"/>
                  </a:lnTo>
                  <a:lnTo>
                    <a:pt x="979" y="762"/>
                  </a:lnTo>
                  <a:lnTo>
                    <a:pt x="981" y="762"/>
                  </a:lnTo>
                  <a:lnTo>
                    <a:pt x="981" y="765"/>
                  </a:lnTo>
                  <a:lnTo>
                    <a:pt x="984" y="776"/>
                  </a:lnTo>
                  <a:lnTo>
                    <a:pt x="974" y="772"/>
                  </a:lnTo>
                  <a:lnTo>
                    <a:pt x="972" y="774"/>
                  </a:lnTo>
                  <a:lnTo>
                    <a:pt x="972" y="779"/>
                  </a:lnTo>
                  <a:lnTo>
                    <a:pt x="971" y="789"/>
                  </a:lnTo>
                  <a:lnTo>
                    <a:pt x="971" y="798"/>
                  </a:lnTo>
                  <a:lnTo>
                    <a:pt x="964" y="798"/>
                  </a:lnTo>
                  <a:lnTo>
                    <a:pt x="955" y="799"/>
                  </a:lnTo>
                  <a:lnTo>
                    <a:pt x="955" y="794"/>
                  </a:lnTo>
                  <a:lnTo>
                    <a:pt x="947" y="787"/>
                  </a:lnTo>
                  <a:lnTo>
                    <a:pt x="940" y="782"/>
                  </a:lnTo>
                  <a:lnTo>
                    <a:pt x="940" y="787"/>
                  </a:lnTo>
                  <a:lnTo>
                    <a:pt x="927" y="789"/>
                  </a:lnTo>
                  <a:lnTo>
                    <a:pt x="932" y="798"/>
                  </a:lnTo>
                  <a:lnTo>
                    <a:pt x="933" y="804"/>
                  </a:lnTo>
                  <a:lnTo>
                    <a:pt x="933" y="820"/>
                  </a:lnTo>
                  <a:lnTo>
                    <a:pt x="933" y="827"/>
                  </a:lnTo>
                  <a:lnTo>
                    <a:pt x="935" y="827"/>
                  </a:lnTo>
                  <a:lnTo>
                    <a:pt x="933" y="832"/>
                  </a:lnTo>
                  <a:lnTo>
                    <a:pt x="932" y="840"/>
                  </a:lnTo>
                  <a:lnTo>
                    <a:pt x="932" y="856"/>
                  </a:lnTo>
                  <a:lnTo>
                    <a:pt x="928" y="856"/>
                  </a:lnTo>
                  <a:lnTo>
                    <a:pt x="915" y="854"/>
                  </a:lnTo>
                  <a:lnTo>
                    <a:pt x="901" y="856"/>
                  </a:lnTo>
                  <a:lnTo>
                    <a:pt x="901" y="862"/>
                  </a:lnTo>
                  <a:lnTo>
                    <a:pt x="887" y="867"/>
                  </a:lnTo>
                  <a:lnTo>
                    <a:pt x="884" y="861"/>
                  </a:lnTo>
                  <a:lnTo>
                    <a:pt x="876" y="862"/>
                  </a:lnTo>
                  <a:lnTo>
                    <a:pt x="870" y="873"/>
                  </a:lnTo>
                  <a:lnTo>
                    <a:pt x="859" y="867"/>
                  </a:lnTo>
                  <a:lnTo>
                    <a:pt x="845" y="864"/>
                  </a:lnTo>
                  <a:lnTo>
                    <a:pt x="828" y="873"/>
                  </a:lnTo>
                  <a:lnTo>
                    <a:pt x="823" y="871"/>
                  </a:lnTo>
                  <a:lnTo>
                    <a:pt x="806" y="873"/>
                  </a:lnTo>
                  <a:lnTo>
                    <a:pt x="804" y="878"/>
                  </a:lnTo>
                  <a:lnTo>
                    <a:pt x="794" y="876"/>
                  </a:lnTo>
                  <a:lnTo>
                    <a:pt x="787" y="874"/>
                  </a:lnTo>
                  <a:lnTo>
                    <a:pt x="774" y="876"/>
                  </a:lnTo>
                  <a:lnTo>
                    <a:pt x="763" y="874"/>
                  </a:lnTo>
                  <a:lnTo>
                    <a:pt x="760" y="873"/>
                  </a:lnTo>
                  <a:lnTo>
                    <a:pt x="758" y="864"/>
                  </a:lnTo>
                  <a:lnTo>
                    <a:pt x="753" y="866"/>
                  </a:lnTo>
                  <a:lnTo>
                    <a:pt x="738" y="866"/>
                  </a:lnTo>
                  <a:lnTo>
                    <a:pt x="733" y="873"/>
                  </a:lnTo>
                  <a:lnTo>
                    <a:pt x="723" y="876"/>
                  </a:lnTo>
                  <a:lnTo>
                    <a:pt x="721" y="864"/>
                  </a:lnTo>
                  <a:lnTo>
                    <a:pt x="704" y="869"/>
                  </a:lnTo>
                  <a:lnTo>
                    <a:pt x="712" y="859"/>
                  </a:lnTo>
                  <a:lnTo>
                    <a:pt x="716" y="850"/>
                  </a:lnTo>
                  <a:lnTo>
                    <a:pt x="714" y="845"/>
                  </a:lnTo>
                  <a:lnTo>
                    <a:pt x="711" y="847"/>
                  </a:lnTo>
                  <a:lnTo>
                    <a:pt x="700" y="849"/>
                  </a:lnTo>
                  <a:lnTo>
                    <a:pt x="695" y="850"/>
                  </a:lnTo>
                  <a:lnTo>
                    <a:pt x="694" y="842"/>
                  </a:lnTo>
                  <a:lnTo>
                    <a:pt x="692" y="844"/>
                  </a:lnTo>
                  <a:lnTo>
                    <a:pt x="680" y="839"/>
                  </a:lnTo>
                  <a:lnTo>
                    <a:pt x="678" y="832"/>
                  </a:lnTo>
                  <a:lnTo>
                    <a:pt x="683" y="820"/>
                  </a:lnTo>
                  <a:lnTo>
                    <a:pt x="682" y="811"/>
                  </a:lnTo>
                  <a:lnTo>
                    <a:pt x="682" y="803"/>
                  </a:lnTo>
                  <a:lnTo>
                    <a:pt x="695" y="804"/>
                  </a:lnTo>
                  <a:lnTo>
                    <a:pt x="694" y="801"/>
                  </a:lnTo>
                  <a:lnTo>
                    <a:pt x="706" y="796"/>
                  </a:lnTo>
                  <a:lnTo>
                    <a:pt x="695" y="793"/>
                  </a:lnTo>
                  <a:lnTo>
                    <a:pt x="690" y="782"/>
                  </a:lnTo>
                  <a:lnTo>
                    <a:pt x="685" y="782"/>
                  </a:lnTo>
                  <a:lnTo>
                    <a:pt x="677" y="781"/>
                  </a:lnTo>
                  <a:lnTo>
                    <a:pt x="666" y="784"/>
                  </a:lnTo>
                  <a:lnTo>
                    <a:pt x="665" y="784"/>
                  </a:lnTo>
                  <a:lnTo>
                    <a:pt x="661" y="776"/>
                  </a:lnTo>
                  <a:lnTo>
                    <a:pt x="658" y="770"/>
                  </a:lnTo>
                  <a:lnTo>
                    <a:pt x="656" y="765"/>
                  </a:lnTo>
                  <a:lnTo>
                    <a:pt x="649" y="767"/>
                  </a:lnTo>
                  <a:lnTo>
                    <a:pt x="649" y="764"/>
                  </a:lnTo>
                  <a:lnTo>
                    <a:pt x="644" y="753"/>
                  </a:lnTo>
                  <a:lnTo>
                    <a:pt x="658" y="748"/>
                  </a:lnTo>
                  <a:lnTo>
                    <a:pt x="655" y="740"/>
                  </a:lnTo>
                  <a:lnTo>
                    <a:pt x="643" y="743"/>
                  </a:lnTo>
                  <a:lnTo>
                    <a:pt x="634" y="748"/>
                  </a:lnTo>
                  <a:lnTo>
                    <a:pt x="631" y="743"/>
                  </a:lnTo>
                  <a:lnTo>
                    <a:pt x="624" y="743"/>
                  </a:lnTo>
                  <a:lnTo>
                    <a:pt x="610" y="742"/>
                  </a:lnTo>
                  <a:lnTo>
                    <a:pt x="598" y="753"/>
                  </a:lnTo>
                  <a:lnTo>
                    <a:pt x="592" y="755"/>
                  </a:lnTo>
                  <a:lnTo>
                    <a:pt x="585" y="759"/>
                  </a:lnTo>
                  <a:lnTo>
                    <a:pt x="578" y="762"/>
                  </a:lnTo>
                  <a:lnTo>
                    <a:pt x="570" y="767"/>
                  </a:lnTo>
                  <a:lnTo>
                    <a:pt x="573" y="774"/>
                  </a:lnTo>
                  <a:lnTo>
                    <a:pt x="576" y="781"/>
                  </a:lnTo>
                  <a:lnTo>
                    <a:pt x="570" y="784"/>
                  </a:lnTo>
                  <a:lnTo>
                    <a:pt x="559" y="786"/>
                  </a:lnTo>
                  <a:lnTo>
                    <a:pt x="546" y="787"/>
                  </a:lnTo>
                  <a:lnTo>
                    <a:pt x="536" y="789"/>
                  </a:lnTo>
                  <a:lnTo>
                    <a:pt x="541" y="801"/>
                  </a:lnTo>
                  <a:lnTo>
                    <a:pt x="527" y="801"/>
                  </a:lnTo>
                  <a:lnTo>
                    <a:pt x="527" y="799"/>
                  </a:lnTo>
                  <a:lnTo>
                    <a:pt x="515" y="804"/>
                  </a:lnTo>
                  <a:lnTo>
                    <a:pt x="510" y="806"/>
                  </a:lnTo>
                  <a:lnTo>
                    <a:pt x="513" y="810"/>
                  </a:lnTo>
                  <a:lnTo>
                    <a:pt x="513" y="820"/>
                  </a:lnTo>
                  <a:lnTo>
                    <a:pt x="512" y="821"/>
                  </a:lnTo>
                  <a:lnTo>
                    <a:pt x="517" y="821"/>
                  </a:lnTo>
                  <a:lnTo>
                    <a:pt x="527" y="820"/>
                  </a:lnTo>
                  <a:lnTo>
                    <a:pt x="530" y="820"/>
                  </a:lnTo>
                  <a:lnTo>
                    <a:pt x="541" y="813"/>
                  </a:lnTo>
                  <a:lnTo>
                    <a:pt x="549" y="811"/>
                  </a:lnTo>
                  <a:lnTo>
                    <a:pt x="551" y="806"/>
                  </a:lnTo>
                  <a:lnTo>
                    <a:pt x="559" y="804"/>
                  </a:lnTo>
                  <a:lnTo>
                    <a:pt x="566" y="803"/>
                  </a:lnTo>
                  <a:lnTo>
                    <a:pt x="576" y="799"/>
                  </a:lnTo>
                  <a:lnTo>
                    <a:pt x="580" y="796"/>
                  </a:lnTo>
                  <a:lnTo>
                    <a:pt x="581" y="803"/>
                  </a:lnTo>
                  <a:lnTo>
                    <a:pt x="571" y="806"/>
                  </a:lnTo>
                  <a:lnTo>
                    <a:pt x="576" y="815"/>
                  </a:lnTo>
                  <a:lnTo>
                    <a:pt x="581" y="821"/>
                  </a:lnTo>
                  <a:lnTo>
                    <a:pt x="587" y="823"/>
                  </a:lnTo>
                  <a:lnTo>
                    <a:pt x="585" y="832"/>
                  </a:lnTo>
                  <a:lnTo>
                    <a:pt x="581" y="828"/>
                  </a:lnTo>
                  <a:lnTo>
                    <a:pt x="575" y="840"/>
                  </a:lnTo>
                  <a:lnTo>
                    <a:pt x="568" y="832"/>
                  </a:lnTo>
                  <a:lnTo>
                    <a:pt x="556" y="832"/>
                  </a:lnTo>
                  <a:lnTo>
                    <a:pt x="558" y="832"/>
                  </a:lnTo>
                  <a:lnTo>
                    <a:pt x="544" y="833"/>
                  </a:lnTo>
                  <a:lnTo>
                    <a:pt x="541" y="837"/>
                  </a:lnTo>
                  <a:lnTo>
                    <a:pt x="541" y="847"/>
                  </a:lnTo>
                  <a:lnTo>
                    <a:pt x="524" y="849"/>
                  </a:lnTo>
                  <a:lnTo>
                    <a:pt x="522" y="850"/>
                  </a:lnTo>
                  <a:lnTo>
                    <a:pt x="508" y="850"/>
                  </a:lnTo>
                  <a:lnTo>
                    <a:pt x="508" y="844"/>
                  </a:lnTo>
                  <a:lnTo>
                    <a:pt x="496" y="845"/>
                  </a:lnTo>
                  <a:lnTo>
                    <a:pt x="486" y="849"/>
                  </a:lnTo>
                  <a:lnTo>
                    <a:pt x="488" y="844"/>
                  </a:lnTo>
                  <a:lnTo>
                    <a:pt x="483" y="837"/>
                  </a:lnTo>
                  <a:lnTo>
                    <a:pt x="478" y="828"/>
                  </a:lnTo>
                  <a:lnTo>
                    <a:pt x="474" y="821"/>
                  </a:lnTo>
                  <a:lnTo>
                    <a:pt x="466" y="818"/>
                  </a:lnTo>
                  <a:lnTo>
                    <a:pt x="454" y="821"/>
                  </a:lnTo>
                  <a:lnTo>
                    <a:pt x="445" y="820"/>
                  </a:lnTo>
                  <a:lnTo>
                    <a:pt x="445" y="811"/>
                  </a:lnTo>
                  <a:lnTo>
                    <a:pt x="444" y="804"/>
                  </a:lnTo>
                  <a:lnTo>
                    <a:pt x="435" y="804"/>
                  </a:lnTo>
                  <a:lnTo>
                    <a:pt x="434" y="793"/>
                  </a:lnTo>
                  <a:lnTo>
                    <a:pt x="442" y="791"/>
                  </a:lnTo>
                  <a:lnTo>
                    <a:pt x="451" y="789"/>
                  </a:lnTo>
                  <a:lnTo>
                    <a:pt x="456" y="798"/>
                  </a:lnTo>
                  <a:lnTo>
                    <a:pt x="468" y="799"/>
                  </a:lnTo>
                  <a:lnTo>
                    <a:pt x="468" y="796"/>
                  </a:lnTo>
                  <a:lnTo>
                    <a:pt x="474" y="786"/>
                  </a:lnTo>
                  <a:lnTo>
                    <a:pt x="479" y="779"/>
                  </a:lnTo>
                  <a:lnTo>
                    <a:pt x="473" y="777"/>
                  </a:lnTo>
                  <a:lnTo>
                    <a:pt x="461" y="774"/>
                  </a:lnTo>
                  <a:lnTo>
                    <a:pt x="454" y="770"/>
                  </a:lnTo>
                  <a:lnTo>
                    <a:pt x="444" y="767"/>
                  </a:lnTo>
                  <a:lnTo>
                    <a:pt x="444" y="760"/>
                  </a:lnTo>
                  <a:lnTo>
                    <a:pt x="434" y="760"/>
                  </a:lnTo>
                  <a:lnTo>
                    <a:pt x="422" y="762"/>
                  </a:lnTo>
                  <a:lnTo>
                    <a:pt x="411" y="759"/>
                  </a:lnTo>
                  <a:lnTo>
                    <a:pt x="408" y="753"/>
                  </a:lnTo>
                  <a:lnTo>
                    <a:pt x="401" y="757"/>
                  </a:lnTo>
                  <a:lnTo>
                    <a:pt x="398" y="765"/>
                  </a:lnTo>
                  <a:lnTo>
                    <a:pt x="389" y="764"/>
                  </a:lnTo>
                  <a:lnTo>
                    <a:pt x="383" y="762"/>
                  </a:lnTo>
                  <a:lnTo>
                    <a:pt x="381" y="762"/>
                  </a:lnTo>
                  <a:lnTo>
                    <a:pt x="369" y="759"/>
                  </a:lnTo>
                  <a:lnTo>
                    <a:pt x="357" y="757"/>
                  </a:lnTo>
                  <a:lnTo>
                    <a:pt x="350" y="757"/>
                  </a:lnTo>
                  <a:lnTo>
                    <a:pt x="343" y="760"/>
                  </a:lnTo>
                  <a:lnTo>
                    <a:pt x="335" y="762"/>
                  </a:lnTo>
                  <a:lnTo>
                    <a:pt x="330" y="764"/>
                  </a:lnTo>
                  <a:lnTo>
                    <a:pt x="330" y="762"/>
                  </a:lnTo>
                  <a:lnTo>
                    <a:pt x="316" y="759"/>
                  </a:lnTo>
                  <a:lnTo>
                    <a:pt x="315" y="759"/>
                  </a:lnTo>
                  <a:lnTo>
                    <a:pt x="308" y="762"/>
                  </a:lnTo>
                  <a:lnTo>
                    <a:pt x="306" y="774"/>
                  </a:lnTo>
                  <a:lnTo>
                    <a:pt x="299" y="781"/>
                  </a:lnTo>
                  <a:lnTo>
                    <a:pt x="298" y="787"/>
                  </a:lnTo>
                  <a:lnTo>
                    <a:pt x="292" y="791"/>
                  </a:lnTo>
                  <a:lnTo>
                    <a:pt x="286" y="786"/>
                  </a:lnTo>
                  <a:lnTo>
                    <a:pt x="277" y="786"/>
                  </a:lnTo>
                  <a:lnTo>
                    <a:pt x="275" y="784"/>
                  </a:lnTo>
                  <a:lnTo>
                    <a:pt x="264" y="787"/>
                  </a:lnTo>
                  <a:lnTo>
                    <a:pt x="262" y="784"/>
                  </a:lnTo>
                  <a:lnTo>
                    <a:pt x="250" y="787"/>
                  </a:lnTo>
                  <a:lnTo>
                    <a:pt x="238" y="789"/>
                  </a:lnTo>
                  <a:lnTo>
                    <a:pt x="236" y="786"/>
                  </a:lnTo>
                  <a:lnTo>
                    <a:pt x="233" y="777"/>
                  </a:lnTo>
                  <a:lnTo>
                    <a:pt x="221" y="776"/>
                  </a:lnTo>
                  <a:lnTo>
                    <a:pt x="216" y="779"/>
                  </a:lnTo>
                  <a:lnTo>
                    <a:pt x="209" y="784"/>
                  </a:lnTo>
                  <a:lnTo>
                    <a:pt x="211" y="776"/>
                  </a:lnTo>
                  <a:lnTo>
                    <a:pt x="204" y="774"/>
                  </a:lnTo>
                  <a:lnTo>
                    <a:pt x="206" y="764"/>
                  </a:lnTo>
                  <a:lnTo>
                    <a:pt x="211" y="755"/>
                  </a:lnTo>
                  <a:lnTo>
                    <a:pt x="199" y="752"/>
                  </a:lnTo>
                  <a:lnTo>
                    <a:pt x="192" y="760"/>
                  </a:lnTo>
                  <a:lnTo>
                    <a:pt x="189" y="752"/>
                  </a:lnTo>
                  <a:lnTo>
                    <a:pt x="189" y="750"/>
                  </a:lnTo>
                  <a:lnTo>
                    <a:pt x="184" y="745"/>
                  </a:lnTo>
                  <a:lnTo>
                    <a:pt x="179" y="738"/>
                  </a:lnTo>
                  <a:lnTo>
                    <a:pt x="163" y="735"/>
                  </a:lnTo>
                  <a:lnTo>
                    <a:pt x="162" y="726"/>
                  </a:lnTo>
                  <a:lnTo>
                    <a:pt x="162" y="719"/>
                  </a:lnTo>
                  <a:lnTo>
                    <a:pt x="162" y="711"/>
                  </a:lnTo>
                  <a:lnTo>
                    <a:pt x="160" y="691"/>
                  </a:lnTo>
                  <a:lnTo>
                    <a:pt x="153" y="691"/>
                  </a:lnTo>
                  <a:lnTo>
                    <a:pt x="148" y="691"/>
                  </a:lnTo>
                  <a:lnTo>
                    <a:pt x="148" y="699"/>
                  </a:lnTo>
                  <a:lnTo>
                    <a:pt x="148" y="706"/>
                  </a:lnTo>
                  <a:lnTo>
                    <a:pt x="138" y="706"/>
                  </a:lnTo>
                  <a:lnTo>
                    <a:pt x="138" y="708"/>
                  </a:lnTo>
                  <a:lnTo>
                    <a:pt x="128" y="711"/>
                  </a:lnTo>
                  <a:lnTo>
                    <a:pt x="116" y="714"/>
                  </a:lnTo>
                  <a:lnTo>
                    <a:pt x="99" y="721"/>
                  </a:lnTo>
                  <a:lnTo>
                    <a:pt x="95" y="723"/>
                  </a:lnTo>
                  <a:lnTo>
                    <a:pt x="92" y="728"/>
                  </a:lnTo>
                  <a:lnTo>
                    <a:pt x="87" y="735"/>
                  </a:lnTo>
                  <a:lnTo>
                    <a:pt x="78" y="728"/>
                  </a:lnTo>
                  <a:lnTo>
                    <a:pt x="75" y="728"/>
                  </a:lnTo>
                  <a:lnTo>
                    <a:pt x="73" y="730"/>
                  </a:lnTo>
                  <a:lnTo>
                    <a:pt x="65" y="723"/>
                  </a:lnTo>
                  <a:lnTo>
                    <a:pt x="54" y="714"/>
                  </a:lnTo>
                  <a:lnTo>
                    <a:pt x="49" y="716"/>
                  </a:lnTo>
                  <a:lnTo>
                    <a:pt x="39" y="718"/>
                  </a:lnTo>
                  <a:lnTo>
                    <a:pt x="29" y="716"/>
                  </a:lnTo>
                  <a:lnTo>
                    <a:pt x="24" y="716"/>
                  </a:lnTo>
                  <a:lnTo>
                    <a:pt x="12" y="714"/>
                  </a:lnTo>
                  <a:lnTo>
                    <a:pt x="12" y="709"/>
                  </a:lnTo>
                  <a:lnTo>
                    <a:pt x="3" y="704"/>
                  </a:lnTo>
                  <a:lnTo>
                    <a:pt x="2" y="694"/>
                  </a:lnTo>
                  <a:lnTo>
                    <a:pt x="3" y="685"/>
                  </a:lnTo>
                  <a:lnTo>
                    <a:pt x="5" y="675"/>
                  </a:lnTo>
                  <a:lnTo>
                    <a:pt x="0" y="672"/>
                  </a:lnTo>
                  <a:lnTo>
                    <a:pt x="5" y="663"/>
                  </a:lnTo>
                  <a:lnTo>
                    <a:pt x="12" y="662"/>
                  </a:lnTo>
                  <a:lnTo>
                    <a:pt x="17" y="656"/>
                  </a:lnTo>
                  <a:lnTo>
                    <a:pt x="19" y="648"/>
                  </a:lnTo>
                  <a:lnTo>
                    <a:pt x="26" y="638"/>
                  </a:lnTo>
                  <a:lnTo>
                    <a:pt x="26" y="634"/>
                  </a:lnTo>
                  <a:lnTo>
                    <a:pt x="27" y="633"/>
                  </a:lnTo>
                  <a:lnTo>
                    <a:pt x="27" y="629"/>
                  </a:lnTo>
                  <a:lnTo>
                    <a:pt x="34" y="626"/>
                  </a:lnTo>
                  <a:lnTo>
                    <a:pt x="39" y="619"/>
                  </a:lnTo>
                  <a:lnTo>
                    <a:pt x="41" y="621"/>
                  </a:lnTo>
                  <a:lnTo>
                    <a:pt x="48" y="612"/>
                  </a:lnTo>
                  <a:lnTo>
                    <a:pt x="48" y="609"/>
                  </a:lnTo>
                  <a:lnTo>
                    <a:pt x="54" y="607"/>
                  </a:lnTo>
                  <a:lnTo>
                    <a:pt x="65" y="600"/>
                  </a:lnTo>
                  <a:lnTo>
                    <a:pt x="66" y="602"/>
                  </a:lnTo>
                  <a:lnTo>
                    <a:pt x="71" y="590"/>
                  </a:lnTo>
                  <a:lnTo>
                    <a:pt x="78" y="590"/>
                  </a:lnTo>
                  <a:lnTo>
                    <a:pt x="80" y="585"/>
                  </a:lnTo>
                  <a:lnTo>
                    <a:pt x="87" y="580"/>
                  </a:lnTo>
                  <a:lnTo>
                    <a:pt x="92" y="583"/>
                  </a:lnTo>
                  <a:lnTo>
                    <a:pt x="100" y="580"/>
                  </a:lnTo>
                  <a:lnTo>
                    <a:pt x="105" y="577"/>
                  </a:lnTo>
                  <a:lnTo>
                    <a:pt x="116" y="571"/>
                  </a:lnTo>
                  <a:lnTo>
                    <a:pt x="122" y="566"/>
                  </a:lnTo>
                  <a:lnTo>
                    <a:pt x="121" y="558"/>
                  </a:lnTo>
                  <a:lnTo>
                    <a:pt x="128" y="549"/>
                  </a:lnTo>
                  <a:lnTo>
                    <a:pt x="122" y="548"/>
                  </a:lnTo>
                  <a:lnTo>
                    <a:pt x="126" y="543"/>
                  </a:lnTo>
                  <a:lnTo>
                    <a:pt x="122" y="536"/>
                  </a:lnTo>
                  <a:lnTo>
                    <a:pt x="122" y="527"/>
                  </a:lnTo>
                  <a:lnTo>
                    <a:pt x="129" y="524"/>
                  </a:lnTo>
                  <a:lnTo>
                    <a:pt x="129" y="514"/>
                  </a:lnTo>
                  <a:lnTo>
                    <a:pt x="136" y="507"/>
                  </a:lnTo>
                  <a:lnTo>
                    <a:pt x="136" y="497"/>
                  </a:lnTo>
                  <a:lnTo>
                    <a:pt x="138" y="491"/>
                  </a:lnTo>
                  <a:lnTo>
                    <a:pt x="141" y="488"/>
                  </a:lnTo>
                  <a:lnTo>
                    <a:pt x="141" y="478"/>
                  </a:lnTo>
                  <a:lnTo>
                    <a:pt x="145" y="469"/>
                  </a:lnTo>
                  <a:lnTo>
                    <a:pt x="148" y="466"/>
                  </a:lnTo>
                  <a:lnTo>
                    <a:pt x="143" y="459"/>
                  </a:lnTo>
                  <a:lnTo>
                    <a:pt x="150" y="454"/>
                  </a:lnTo>
                  <a:lnTo>
                    <a:pt x="148" y="449"/>
                  </a:lnTo>
                  <a:lnTo>
                    <a:pt x="151" y="440"/>
                  </a:lnTo>
                  <a:lnTo>
                    <a:pt x="151" y="432"/>
                  </a:lnTo>
                  <a:lnTo>
                    <a:pt x="155" y="423"/>
                  </a:lnTo>
                  <a:lnTo>
                    <a:pt x="155" y="420"/>
                  </a:lnTo>
                  <a:lnTo>
                    <a:pt x="162" y="417"/>
                  </a:lnTo>
                  <a:lnTo>
                    <a:pt x="162" y="406"/>
                  </a:lnTo>
                  <a:lnTo>
                    <a:pt x="165" y="403"/>
                  </a:lnTo>
                  <a:lnTo>
                    <a:pt x="172" y="408"/>
                  </a:lnTo>
                  <a:lnTo>
                    <a:pt x="172" y="415"/>
                  </a:lnTo>
                  <a:lnTo>
                    <a:pt x="180" y="412"/>
                  </a:lnTo>
                  <a:lnTo>
                    <a:pt x="184" y="405"/>
                  </a:lnTo>
                  <a:lnTo>
                    <a:pt x="179" y="396"/>
                  </a:lnTo>
                  <a:lnTo>
                    <a:pt x="189" y="393"/>
                  </a:lnTo>
                  <a:lnTo>
                    <a:pt x="194" y="383"/>
                  </a:lnTo>
                  <a:lnTo>
                    <a:pt x="197" y="386"/>
                  </a:lnTo>
                  <a:lnTo>
                    <a:pt x="202" y="384"/>
                  </a:lnTo>
                  <a:lnTo>
                    <a:pt x="199" y="378"/>
                  </a:lnTo>
                  <a:lnTo>
                    <a:pt x="199" y="372"/>
                  </a:lnTo>
                  <a:lnTo>
                    <a:pt x="204" y="376"/>
                  </a:lnTo>
                  <a:lnTo>
                    <a:pt x="207" y="372"/>
                  </a:lnTo>
                  <a:lnTo>
                    <a:pt x="216" y="376"/>
                  </a:lnTo>
                  <a:lnTo>
                    <a:pt x="218" y="372"/>
                  </a:lnTo>
                  <a:lnTo>
                    <a:pt x="214" y="366"/>
                  </a:lnTo>
                  <a:lnTo>
                    <a:pt x="223" y="362"/>
                  </a:lnTo>
                  <a:lnTo>
                    <a:pt x="224" y="366"/>
                  </a:lnTo>
                  <a:lnTo>
                    <a:pt x="231" y="359"/>
                  </a:lnTo>
                  <a:lnTo>
                    <a:pt x="243" y="355"/>
                  </a:lnTo>
                  <a:lnTo>
                    <a:pt x="247" y="352"/>
                  </a:lnTo>
                  <a:lnTo>
                    <a:pt x="248" y="342"/>
                  </a:lnTo>
                  <a:lnTo>
                    <a:pt x="252" y="340"/>
                  </a:lnTo>
                  <a:lnTo>
                    <a:pt x="257" y="340"/>
                  </a:lnTo>
                  <a:lnTo>
                    <a:pt x="255" y="347"/>
                  </a:lnTo>
                  <a:lnTo>
                    <a:pt x="262" y="347"/>
                  </a:lnTo>
                  <a:lnTo>
                    <a:pt x="262" y="338"/>
                  </a:lnTo>
                  <a:lnTo>
                    <a:pt x="270" y="337"/>
                  </a:lnTo>
                  <a:lnTo>
                    <a:pt x="269" y="343"/>
                  </a:lnTo>
                  <a:lnTo>
                    <a:pt x="274" y="347"/>
                  </a:lnTo>
                  <a:lnTo>
                    <a:pt x="275" y="345"/>
                  </a:lnTo>
                  <a:lnTo>
                    <a:pt x="281" y="335"/>
                  </a:lnTo>
                  <a:lnTo>
                    <a:pt x="291" y="335"/>
                  </a:lnTo>
                  <a:lnTo>
                    <a:pt x="292" y="337"/>
                  </a:lnTo>
                  <a:lnTo>
                    <a:pt x="294" y="335"/>
                  </a:lnTo>
                  <a:lnTo>
                    <a:pt x="296" y="337"/>
                  </a:lnTo>
                  <a:lnTo>
                    <a:pt x="303" y="335"/>
                  </a:lnTo>
                  <a:lnTo>
                    <a:pt x="304" y="330"/>
                  </a:lnTo>
                  <a:lnTo>
                    <a:pt x="313" y="323"/>
                  </a:lnTo>
                  <a:lnTo>
                    <a:pt x="311" y="316"/>
                  </a:lnTo>
                  <a:lnTo>
                    <a:pt x="315" y="311"/>
                  </a:lnTo>
                  <a:lnTo>
                    <a:pt x="315" y="304"/>
                  </a:lnTo>
                  <a:lnTo>
                    <a:pt x="323" y="299"/>
                  </a:lnTo>
                  <a:lnTo>
                    <a:pt x="323" y="291"/>
                  </a:lnTo>
                  <a:lnTo>
                    <a:pt x="335" y="292"/>
                  </a:lnTo>
                  <a:lnTo>
                    <a:pt x="342" y="286"/>
                  </a:lnTo>
                  <a:lnTo>
                    <a:pt x="345" y="286"/>
                  </a:lnTo>
                  <a:lnTo>
                    <a:pt x="352" y="294"/>
                  </a:lnTo>
                  <a:lnTo>
                    <a:pt x="359" y="294"/>
                  </a:lnTo>
                  <a:lnTo>
                    <a:pt x="364" y="284"/>
                  </a:lnTo>
                  <a:lnTo>
                    <a:pt x="371" y="279"/>
                  </a:lnTo>
                  <a:lnTo>
                    <a:pt x="367" y="269"/>
                  </a:lnTo>
                  <a:lnTo>
                    <a:pt x="377" y="269"/>
                  </a:lnTo>
                  <a:lnTo>
                    <a:pt x="379" y="262"/>
                  </a:lnTo>
                  <a:lnTo>
                    <a:pt x="388" y="260"/>
                  </a:lnTo>
                  <a:lnTo>
                    <a:pt x="398" y="257"/>
                  </a:lnTo>
                  <a:lnTo>
                    <a:pt x="408" y="252"/>
                  </a:lnTo>
                  <a:lnTo>
                    <a:pt x="413" y="243"/>
                  </a:lnTo>
                  <a:lnTo>
                    <a:pt x="411" y="236"/>
                  </a:lnTo>
                  <a:lnTo>
                    <a:pt x="413" y="231"/>
                  </a:lnTo>
                  <a:lnTo>
                    <a:pt x="413" y="221"/>
                  </a:lnTo>
                  <a:lnTo>
                    <a:pt x="418" y="223"/>
                  </a:lnTo>
                  <a:lnTo>
                    <a:pt x="427" y="216"/>
                  </a:lnTo>
                  <a:lnTo>
                    <a:pt x="434" y="214"/>
                  </a:lnTo>
                  <a:lnTo>
                    <a:pt x="439" y="209"/>
                  </a:lnTo>
                  <a:lnTo>
                    <a:pt x="444" y="202"/>
                  </a:lnTo>
                  <a:lnTo>
                    <a:pt x="442" y="199"/>
                  </a:lnTo>
                  <a:lnTo>
                    <a:pt x="440" y="189"/>
                  </a:lnTo>
                  <a:lnTo>
                    <a:pt x="447" y="187"/>
                  </a:lnTo>
                  <a:lnTo>
                    <a:pt x="456" y="184"/>
                  </a:lnTo>
                  <a:lnTo>
                    <a:pt x="462" y="175"/>
                  </a:lnTo>
                  <a:lnTo>
                    <a:pt x="471" y="172"/>
                  </a:lnTo>
                  <a:lnTo>
                    <a:pt x="474" y="167"/>
                  </a:lnTo>
                  <a:lnTo>
                    <a:pt x="473" y="158"/>
                  </a:lnTo>
                  <a:lnTo>
                    <a:pt x="479" y="150"/>
                  </a:lnTo>
                  <a:lnTo>
                    <a:pt x="486" y="144"/>
                  </a:lnTo>
                  <a:lnTo>
                    <a:pt x="496" y="141"/>
                  </a:lnTo>
                  <a:lnTo>
                    <a:pt x="502" y="138"/>
                  </a:lnTo>
                  <a:lnTo>
                    <a:pt x="505" y="131"/>
                  </a:lnTo>
                  <a:lnTo>
                    <a:pt x="513" y="127"/>
                  </a:lnTo>
                  <a:lnTo>
                    <a:pt x="519" y="124"/>
                  </a:lnTo>
                  <a:lnTo>
                    <a:pt x="524" y="119"/>
                  </a:lnTo>
                  <a:lnTo>
                    <a:pt x="532" y="119"/>
                  </a:lnTo>
                  <a:lnTo>
                    <a:pt x="542" y="119"/>
                  </a:lnTo>
                  <a:lnTo>
                    <a:pt x="547" y="119"/>
                  </a:lnTo>
                  <a:lnTo>
                    <a:pt x="558" y="119"/>
                  </a:lnTo>
                  <a:lnTo>
                    <a:pt x="570" y="122"/>
                  </a:lnTo>
                  <a:lnTo>
                    <a:pt x="575" y="121"/>
                  </a:lnTo>
                  <a:lnTo>
                    <a:pt x="580" y="116"/>
                  </a:lnTo>
                  <a:lnTo>
                    <a:pt x="583" y="116"/>
                  </a:lnTo>
                  <a:lnTo>
                    <a:pt x="593" y="117"/>
                  </a:lnTo>
                  <a:lnTo>
                    <a:pt x="600" y="116"/>
                  </a:lnTo>
                  <a:lnTo>
                    <a:pt x="607" y="109"/>
                  </a:lnTo>
                  <a:lnTo>
                    <a:pt x="612" y="109"/>
                  </a:lnTo>
                  <a:lnTo>
                    <a:pt x="617" y="104"/>
                  </a:lnTo>
                  <a:lnTo>
                    <a:pt x="626" y="100"/>
                  </a:lnTo>
                  <a:lnTo>
                    <a:pt x="636" y="100"/>
                  </a:lnTo>
                  <a:lnTo>
                    <a:pt x="639" y="99"/>
                  </a:lnTo>
                  <a:lnTo>
                    <a:pt x="651" y="97"/>
                  </a:lnTo>
                  <a:lnTo>
                    <a:pt x="649" y="90"/>
                  </a:lnTo>
                  <a:lnTo>
                    <a:pt x="658" y="87"/>
                  </a:lnTo>
                  <a:lnTo>
                    <a:pt x="663" y="87"/>
                  </a:lnTo>
                  <a:lnTo>
                    <a:pt x="673" y="90"/>
                  </a:lnTo>
                  <a:lnTo>
                    <a:pt x="680" y="82"/>
                  </a:lnTo>
                  <a:lnTo>
                    <a:pt x="683" y="75"/>
                  </a:lnTo>
                  <a:lnTo>
                    <a:pt x="689" y="68"/>
                  </a:lnTo>
                  <a:lnTo>
                    <a:pt x="687" y="59"/>
                  </a:lnTo>
                  <a:lnTo>
                    <a:pt x="687" y="49"/>
                  </a:lnTo>
                  <a:lnTo>
                    <a:pt x="692" y="42"/>
                  </a:lnTo>
                  <a:lnTo>
                    <a:pt x="697" y="41"/>
                  </a:lnTo>
                  <a:lnTo>
                    <a:pt x="700" y="36"/>
                  </a:lnTo>
                  <a:lnTo>
                    <a:pt x="700" y="29"/>
                  </a:lnTo>
                  <a:lnTo>
                    <a:pt x="707" y="24"/>
                  </a:lnTo>
                  <a:lnTo>
                    <a:pt x="717" y="25"/>
                  </a:lnTo>
                  <a:lnTo>
                    <a:pt x="726" y="24"/>
                  </a:lnTo>
                  <a:lnTo>
                    <a:pt x="736" y="24"/>
                  </a:lnTo>
                  <a:lnTo>
                    <a:pt x="743" y="20"/>
                  </a:lnTo>
                  <a:lnTo>
                    <a:pt x="746" y="17"/>
                  </a:lnTo>
                  <a:lnTo>
                    <a:pt x="755" y="13"/>
                  </a:lnTo>
                  <a:lnTo>
                    <a:pt x="765" y="19"/>
                  </a:lnTo>
                  <a:lnTo>
                    <a:pt x="772" y="17"/>
                  </a:lnTo>
                  <a:lnTo>
                    <a:pt x="780" y="17"/>
                  </a:lnTo>
                  <a:lnTo>
                    <a:pt x="785" y="22"/>
                  </a:lnTo>
                  <a:lnTo>
                    <a:pt x="787" y="19"/>
                  </a:lnTo>
                  <a:lnTo>
                    <a:pt x="792" y="20"/>
                  </a:lnTo>
                  <a:lnTo>
                    <a:pt x="804" y="15"/>
                  </a:lnTo>
                  <a:lnTo>
                    <a:pt x="806" y="13"/>
                  </a:lnTo>
                  <a:lnTo>
                    <a:pt x="819" y="12"/>
                  </a:lnTo>
                  <a:lnTo>
                    <a:pt x="821" y="12"/>
                  </a:lnTo>
                  <a:lnTo>
                    <a:pt x="831" y="13"/>
                  </a:lnTo>
                  <a:lnTo>
                    <a:pt x="835" y="13"/>
                  </a:lnTo>
                  <a:lnTo>
                    <a:pt x="838" y="7"/>
                  </a:lnTo>
                  <a:lnTo>
                    <a:pt x="850" y="5"/>
                  </a:lnTo>
                  <a:lnTo>
                    <a:pt x="857" y="8"/>
                  </a:lnTo>
                  <a:lnTo>
                    <a:pt x="862" y="3"/>
                  </a:lnTo>
                  <a:lnTo>
                    <a:pt x="869" y="0"/>
                  </a:lnTo>
                  <a:lnTo>
                    <a:pt x="874" y="3"/>
                  </a:lnTo>
                  <a:lnTo>
                    <a:pt x="886" y="5"/>
                  </a:lnTo>
                  <a:lnTo>
                    <a:pt x="889" y="5"/>
                  </a:lnTo>
                  <a:lnTo>
                    <a:pt x="899" y="5"/>
                  </a:lnTo>
                  <a:lnTo>
                    <a:pt x="908" y="10"/>
                  </a:lnTo>
                  <a:lnTo>
                    <a:pt x="915" y="13"/>
                  </a:lnTo>
                  <a:lnTo>
                    <a:pt x="923" y="13"/>
                  </a:lnTo>
                  <a:lnTo>
                    <a:pt x="928" y="19"/>
                  </a:lnTo>
                  <a:lnTo>
                    <a:pt x="940" y="17"/>
                  </a:lnTo>
                  <a:lnTo>
                    <a:pt x="949" y="24"/>
                  </a:lnTo>
                  <a:lnTo>
                    <a:pt x="950" y="27"/>
                  </a:lnTo>
                  <a:lnTo>
                    <a:pt x="964" y="27"/>
                  </a:lnTo>
                  <a:lnTo>
                    <a:pt x="966" y="34"/>
                  </a:lnTo>
                  <a:lnTo>
                    <a:pt x="974" y="36"/>
                  </a:lnTo>
                  <a:lnTo>
                    <a:pt x="978" y="39"/>
                  </a:lnTo>
                  <a:lnTo>
                    <a:pt x="984" y="42"/>
                  </a:lnTo>
                  <a:lnTo>
                    <a:pt x="991" y="49"/>
                  </a:lnTo>
                  <a:lnTo>
                    <a:pt x="1000" y="46"/>
                  </a:lnTo>
                  <a:lnTo>
                    <a:pt x="1008" y="46"/>
                  </a:lnTo>
                  <a:lnTo>
                    <a:pt x="1018" y="46"/>
                  </a:lnTo>
                  <a:lnTo>
                    <a:pt x="1025" y="53"/>
                  </a:lnTo>
                  <a:lnTo>
                    <a:pt x="1029" y="59"/>
                  </a:lnTo>
                  <a:lnTo>
                    <a:pt x="1034" y="61"/>
                  </a:lnTo>
                  <a:lnTo>
                    <a:pt x="1040" y="59"/>
                  </a:lnTo>
                  <a:lnTo>
                    <a:pt x="1046" y="59"/>
                  </a:lnTo>
                  <a:lnTo>
                    <a:pt x="1057" y="59"/>
                  </a:lnTo>
                  <a:lnTo>
                    <a:pt x="1063" y="58"/>
                  </a:lnTo>
                  <a:lnTo>
                    <a:pt x="1073" y="56"/>
                  </a:lnTo>
                  <a:lnTo>
                    <a:pt x="1083" y="51"/>
                  </a:lnTo>
                  <a:lnTo>
                    <a:pt x="1086" y="51"/>
                  </a:lnTo>
                  <a:lnTo>
                    <a:pt x="1090" y="53"/>
                  </a:lnTo>
                  <a:lnTo>
                    <a:pt x="1103" y="54"/>
                  </a:lnTo>
                  <a:lnTo>
                    <a:pt x="1114" y="53"/>
                  </a:lnTo>
                  <a:lnTo>
                    <a:pt x="1124" y="56"/>
                  </a:lnTo>
                  <a:lnTo>
                    <a:pt x="1132" y="49"/>
                  </a:lnTo>
                  <a:lnTo>
                    <a:pt x="1144" y="51"/>
                  </a:lnTo>
                  <a:lnTo>
                    <a:pt x="1148" y="49"/>
                  </a:lnTo>
                  <a:lnTo>
                    <a:pt x="1158" y="48"/>
                  </a:lnTo>
                  <a:lnTo>
                    <a:pt x="1166" y="48"/>
                  </a:lnTo>
                  <a:lnTo>
                    <a:pt x="1176" y="44"/>
                  </a:lnTo>
                  <a:lnTo>
                    <a:pt x="1187" y="46"/>
                  </a:lnTo>
                  <a:lnTo>
                    <a:pt x="1188" y="48"/>
                  </a:lnTo>
                  <a:lnTo>
                    <a:pt x="1202" y="48"/>
                  </a:lnTo>
                  <a:lnTo>
                    <a:pt x="1212" y="51"/>
                  </a:lnTo>
                  <a:lnTo>
                    <a:pt x="1214" y="54"/>
                  </a:lnTo>
                  <a:lnTo>
                    <a:pt x="1219" y="51"/>
                  </a:lnTo>
                  <a:lnTo>
                    <a:pt x="1226" y="53"/>
                  </a:lnTo>
                  <a:lnTo>
                    <a:pt x="1233" y="56"/>
                  </a:lnTo>
                  <a:lnTo>
                    <a:pt x="1243" y="59"/>
                  </a:lnTo>
                  <a:lnTo>
                    <a:pt x="1244" y="59"/>
                  </a:lnTo>
                  <a:lnTo>
                    <a:pt x="1256" y="54"/>
                  </a:lnTo>
                  <a:lnTo>
                    <a:pt x="1263" y="54"/>
                  </a:lnTo>
                  <a:lnTo>
                    <a:pt x="1268" y="58"/>
                  </a:lnTo>
                  <a:lnTo>
                    <a:pt x="1275" y="65"/>
                  </a:lnTo>
                  <a:lnTo>
                    <a:pt x="1285" y="63"/>
                  </a:lnTo>
                  <a:lnTo>
                    <a:pt x="1290" y="65"/>
                  </a:lnTo>
                  <a:lnTo>
                    <a:pt x="1294" y="75"/>
                  </a:lnTo>
                  <a:lnTo>
                    <a:pt x="1300" y="80"/>
                  </a:lnTo>
                  <a:lnTo>
                    <a:pt x="1299" y="80"/>
                  </a:lnTo>
                  <a:lnTo>
                    <a:pt x="1300" y="80"/>
                  </a:lnTo>
                  <a:lnTo>
                    <a:pt x="1307" y="109"/>
                  </a:lnTo>
                  <a:lnTo>
                    <a:pt x="1309" y="110"/>
                  </a:lnTo>
                  <a:lnTo>
                    <a:pt x="1338" y="213"/>
                  </a:lnTo>
                  <a:lnTo>
                    <a:pt x="1355" y="270"/>
                  </a:lnTo>
                  <a:lnTo>
                    <a:pt x="1358" y="286"/>
                  </a:lnTo>
                  <a:lnTo>
                    <a:pt x="1358" y="294"/>
                  </a:lnTo>
                  <a:lnTo>
                    <a:pt x="1357" y="304"/>
                  </a:lnTo>
                  <a:lnTo>
                    <a:pt x="1353" y="342"/>
                  </a:lnTo>
                  <a:lnTo>
                    <a:pt x="1355" y="361"/>
                  </a:lnTo>
                  <a:lnTo>
                    <a:pt x="1382" y="391"/>
                  </a:lnTo>
                  <a:lnTo>
                    <a:pt x="1389" y="401"/>
                  </a:lnTo>
                  <a:lnTo>
                    <a:pt x="1389" y="425"/>
                  </a:lnTo>
                  <a:lnTo>
                    <a:pt x="1406" y="469"/>
                  </a:lnTo>
                  <a:lnTo>
                    <a:pt x="1435" y="486"/>
                  </a:lnTo>
                  <a:lnTo>
                    <a:pt x="1435" y="49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6" name="Freeform 15">
              <a:extLst>
                <a:ext uri="{FF2B5EF4-FFF2-40B4-BE49-F238E27FC236}">
                  <a16:creationId xmlns:a16="http://schemas.microsoft.com/office/drawing/2014/main" id="{179B3D2C-3C3C-40D2-A3FD-B200BE19731A}"/>
                </a:ext>
              </a:extLst>
            </p:cNvPr>
            <p:cNvSpPr>
              <a:spLocks/>
            </p:cNvSpPr>
            <p:nvPr/>
          </p:nvSpPr>
          <p:spPr bwMode="gray">
            <a:xfrm>
              <a:off x="2368550" y="1730375"/>
              <a:ext cx="3709987" cy="3457575"/>
            </a:xfrm>
            <a:custGeom>
              <a:avLst/>
              <a:gdLst>
                <a:gd name="T0" fmla="*/ 1711 w 2337"/>
                <a:gd name="T1" fmla="*/ 354 h 2178"/>
                <a:gd name="T2" fmla="*/ 1853 w 2337"/>
                <a:gd name="T3" fmla="*/ 506 h 2178"/>
                <a:gd name="T4" fmla="*/ 1966 w 2337"/>
                <a:gd name="T5" fmla="*/ 575 h 2178"/>
                <a:gd name="T6" fmla="*/ 1980 w 2337"/>
                <a:gd name="T7" fmla="*/ 710 h 2178"/>
                <a:gd name="T8" fmla="*/ 2068 w 2337"/>
                <a:gd name="T9" fmla="*/ 820 h 2178"/>
                <a:gd name="T10" fmla="*/ 2124 w 2337"/>
                <a:gd name="T11" fmla="*/ 844 h 2178"/>
                <a:gd name="T12" fmla="*/ 2167 w 2337"/>
                <a:gd name="T13" fmla="*/ 764 h 2178"/>
                <a:gd name="T14" fmla="*/ 2181 w 2337"/>
                <a:gd name="T15" fmla="*/ 839 h 2178"/>
                <a:gd name="T16" fmla="*/ 2191 w 2337"/>
                <a:gd name="T17" fmla="*/ 977 h 2178"/>
                <a:gd name="T18" fmla="*/ 2036 w 2337"/>
                <a:gd name="T19" fmla="*/ 1302 h 2178"/>
                <a:gd name="T20" fmla="*/ 2138 w 2337"/>
                <a:gd name="T21" fmla="*/ 1392 h 2178"/>
                <a:gd name="T22" fmla="*/ 2228 w 2337"/>
                <a:gd name="T23" fmla="*/ 1502 h 2178"/>
                <a:gd name="T24" fmla="*/ 2318 w 2337"/>
                <a:gd name="T25" fmla="*/ 1588 h 2178"/>
                <a:gd name="T26" fmla="*/ 2294 w 2337"/>
                <a:gd name="T27" fmla="*/ 1695 h 2178"/>
                <a:gd name="T28" fmla="*/ 2192 w 2337"/>
                <a:gd name="T29" fmla="*/ 1730 h 2178"/>
                <a:gd name="T30" fmla="*/ 2068 w 2337"/>
                <a:gd name="T31" fmla="*/ 1797 h 2178"/>
                <a:gd name="T32" fmla="*/ 1966 w 2337"/>
                <a:gd name="T33" fmla="*/ 1870 h 2178"/>
                <a:gd name="T34" fmla="*/ 1888 w 2337"/>
                <a:gd name="T35" fmla="*/ 1851 h 2178"/>
                <a:gd name="T36" fmla="*/ 1739 w 2337"/>
                <a:gd name="T37" fmla="*/ 1866 h 2178"/>
                <a:gd name="T38" fmla="*/ 1625 w 2337"/>
                <a:gd name="T39" fmla="*/ 1884 h 2178"/>
                <a:gd name="T40" fmla="*/ 1479 w 2337"/>
                <a:gd name="T41" fmla="*/ 1838 h 2178"/>
                <a:gd name="T42" fmla="*/ 1433 w 2337"/>
                <a:gd name="T43" fmla="*/ 1965 h 2178"/>
                <a:gd name="T44" fmla="*/ 1319 w 2337"/>
                <a:gd name="T45" fmla="*/ 1982 h 2178"/>
                <a:gd name="T46" fmla="*/ 1186 w 2337"/>
                <a:gd name="T47" fmla="*/ 2084 h 2178"/>
                <a:gd name="T48" fmla="*/ 1050 w 2337"/>
                <a:gd name="T49" fmla="*/ 2178 h 2178"/>
                <a:gd name="T50" fmla="*/ 923 w 2337"/>
                <a:gd name="T51" fmla="*/ 2079 h 2178"/>
                <a:gd name="T52" fmla="*/ 906 w 2337"/>
                <a:gd name="T53" fmla="*/ 2004 h 2178"/>
                <a:gd name="T54" fmla="*/ 792 w 2337"/>
                <a:gd name="T55" fmla="*/ 2072 h 2178"/>
                <a:gd name="T56" fmla="*/ 766 w 2337"/>
                <a:gd name="T57" fmla="*/ 1982 h 2178"/>
                <a:gd name="T58" fmla="*/ 703 w 2337"/>
                <a:gd name="T59" fmla="*/ 1904 h 2178"/>
                <a:gd name="T60" fmla="*/ 666 w 2337"/>
                <a:gd name="T61" fmla="*/ 1819 h 2178"/>
                <a:gd name="T62" fmla="*/ 630 w 2337"/>
                <a:gd name="T63" fmla="*/ 1688 h 2178"/>
                <a:gd name="T64" fmla="*/ 588 w 2337"/>
                <a:gd name="T65" fmla="*/ 1548 h 2178"/>
                <a:gd name="T66" fmla="*/ 494 w 2337"/>
                <a:gd name="T67" fmla="*/ 1540 h 2178"/>
                <a:gd name="T68" fmla="*/ 387 w 2337"/>
                <a:gd name="T69" fmla="*/ 1639 h 2178"/>
                <a:gd name="T70" fmla="*/ 307 w 2337"/>
                <a:gd name="T71" fmla="*/ 1667 h 2178"/>
                <a:gd name="T72" fmla="*/ 229 w 2337"/>
                <a:gd name="T73" fmla="*/ 1528 h 2178"/>
                <a:gd name="T74" fmla="*/ 176 w 2337"/>
                <a:gd name="T75" fmla="*/ 1397 h 2178"/>
                <a:gd name="T76" fmla="*/ 136 w 2337"/>
                <a:gd name="T77" fmla="*/ 1264 h 2178"/>
                <a:gd name="T78" fmla="*/ 74 w 2337"/>
                <a:gd name="T79" fmla="*/ 1140 h 2178"/>
                <a:gd name="T80" fmla="*/ 1 w 2337"/>
                <a:gd name="T81" fmla="*/ 1019 h 2178"/>
                <a:gd name="T82" fmla="*/ 79 w 2337"/>
                <a:gd name="T83" fmla="*/ 934 h 2178"/>
                <a:gd name="T84" fmla="*/ 170 w 2337"/>
                <a:gd name="T85" fmla="*/ 873 h 2178"/>
                <a:gd name="T86" fmla="*/ 249 w 2337"/>
                <a:gd name="T87" fmla="*/ 968 h 2178"/>
                <a:gd name="T88" fmla="*/ 289 w 2337"/>
                <a:gd name="T89" fmla="*/ 1045 h 2178"/>
                <a:gd name="T90" fmla="*/ 402 w 2337"/>
                <a:gd name="T91" fmla="*/ 1086 h 2178"/>
                <a:gd name="T92" fmla="*/ 555 w 2337"/>
                <a:gd name="T93" fmla="*/ 1089 h 2178"/>
                <a:gd name="T94" fmla="*/ 715 w 2337"/>
                <a:gd name="T95" fmla="*/ 1108 h 2178"/>
                <a:gd name="T96" fmla="*/ 790 w 2337"/>
                <a:gd name="T97" fmla="*/ 1030 h 2178"/>
                <a:gd name="T98" fmla="*/ 919 w 2337"/>
                <a:gd name="T99" fmla="*/ 975 h 2178"/>
                <a:gd name="T100" fmla="*/ 936 w 2337"/>
                <a:gd name="T101" fmla="*/ 267 h 2178"/>
                <a:gd name="T102" fmla="*/ 997 w 2337"/>
                <a:gd name="T103" fmla="*/ 41 h 2178"/>
                <a:gd name="T104" fmla="*/ 1072 w 2337"/>
                <a:gd name="T105" fmla="*/ 148 h 2178"/>
                <a:gd name="T106" fmla="*/ 1106 w 2337"/>
                <a:gd name="T107" fmla="*/ 233 h 2178"/>
                <a:gd name="T108" fmla="*/ 1147 w 2337"/>
                <a:gd name="T109" fmla="*/ 330 h 2178"/>
                <a:gd name="T110" fmla="*/ 1093 w 2337"/>
                <a:gd name="T111" fmla="*/ 455 h 2178"/>
                <a:gd name="T112" fmla="*/ 1128 w 2337"/>
                <a:gd name="T113" fmla="*/ 560 h 2178"/>
                <a:gd name="T114" fmla="*/ 1276 w 2337"/>
                <a:gd name="T115" fmla="*/ 550 h 2178"/>
                <a:gd name="T116" fmla="*/ 1390 w 2337"/>
                <a:gd name="T117" fmla="*/ 514 h 2178"/>
                <a:gd name="T118" fmla="*/ 1502 w 2337"/>
                <a:gd name="T119" fmla="*/ 436 h 2178"/>
                <a:gd name="T120" fmla="*/ 1609 w 2337"/>
                <a:gd name="T121" fmla="*/ 37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7" h="2178">
                  <a:moveTo>
                    <a:pt x="1618" y="361"/>
                  </a:moveTo>
                  <a:lnTo>
                    <a:pt x="1618" y="363"/>
                  </a:lnTo>
                  <a:lnTo>
                    <a:pt x="1620" y="363"/>
                  </a:lnTo>
                  <a:lnTo>
                    <a:pt x="1637" y="361"/>
                  </a:lnTo>
                  <a:lnTo>
                    <a:pt x="1637" y="368"/>
                  </a:lnTo>
                  <a:lnTo>
                    <a:pt x="1637" y="378"/>
                  </a:lnTo>
                  <a:lnTo>
                    <a:pt x="1637" y="392"/>
                  </a:lnTo>
                  <a:lnTo>
                    <a:pt x="1637" y="397"/>
                  </a:lnTo>
                  <a:lnTo>
                    <a:pt x="1637" y="409"/>
                  </a:lnTo>
                  <a:lnTo>
                    <a:pt x="1637" y="424"/>
                  </a:lnTo>
                  <a:lnTo>
                    <a:pt x="1637" y="439"/>
                  </a:lnTo>
                  <a:lnTo>
                    <a:pt x="1645" y="443"/>
                  </a:lnTo>
                  <a:lnTo>
                    <a:pt x="1660" y="450"/>
                  </a:lnTo>
                  <a:lnTo>
                    <a:pt x="1666" y="444"/>
                  </a:lnTo>
                  <a:lnTo>
                    <a:pt x="1671" y="434"/>
                  </a:lnTo>
                  <a:lnTo>
                    <a:pt x="1674" y="429"/>
                  </a:lnTo>
                  <a:lnTo>
                    <a:pt x="1683" y="400"/>
                  </a:lnTo>
                  <a:lnTo>
                    <a:pt x="1688" y="387"/>
                  </a:lnTo>
                  <a:lnTo>
                    <a:pt x="1689" y="368"/>
                  </a:lnTo>
                  <a:lnTo>
                    <a:pt x="1710" y="370"/>
                  </a:lnTo>
                  <a:lnTo>
                    <a:pt x="1711" y="354"/>
                  </a:lnTo>
                  <a:lnTo>
                    <a:pt x="1732" y="356"/>
                  </a:lnTo>
                  <a:lnTo>
                    <a:pt x="1739" y="341"/>
                  </a:lnTo>
                  <a:lnTo>
                    <a:pt x="1739" y="329"/>
                  </a:lnTo>
                  <a:lnTo>
                    <a:pt x="1739" y="325"/>
                  </a:lnTo>
                  <a:lnTo>
                    <a:pt x="1798" y="327"/>
                  </a:lnTo>
                  <a:lnTo>
                    <a:pt x="1817" y="330"/>
                  </a:lnTo>
                  <a:lnTo>
                    <a:pt x="1813" y="336"/>
                  </a:lnTo>
                  <a:lnTo>
                    <a:pt x="1807" y="353"/>
                  </a:lnTo>
                  <a:lnTo>
                    <a:pt x="1795" y="347"/>
                  </a:lnTo>
                  <a:lnTo>
                    <a:pt x="1776" y="344"/>
                  </a:lnTo>
                  <a:lnTo>
                    <a:pt x="1771" y="361"/>
                  </a:lnTo>
                  <a:lnTo>
                    <a:pt x="1779" y="359"/>
                  </a:lnTo>
                  <a:lnTo>
                    <a:pt x="1795" y="368"/>
                  </a:lnTo>
                  <a:lnTo>
                    <a:pt x="1783" y="383"/>
                  </a:lnTo>
                  <a:lnTo>
                    <a:pt x="1771" y="402"/>
                  </a:lnTo>
                  <a:lnTo>
                    <a:pt x="1786" y="421"/>
                  </a:lnTo>
                  <a:lnTo>
                    <a:pt x="1781" y="458"/>
                  </a:lnTo>
                  <a:lnTo>
                    <a:pt x="1832" y="472"/>
                  </a:lnTo>
                  <a:lnTo>
                    <a:pt x="1841" y="477"/>
                  </a:lnTo>
                  <a:lnTo>
                    <a:pt x="1863" y="494"/>
                  </a:lnTo>
                  <a:lnTo>
                    <a:pt x="1853" y="506"/>
                  </a:lnTo>
                  <a:lnTo>
                    <a:pt x="1839" y="523"/>
                  </a:lnTo>
                  <a:lnTo>
                    <a:pt x="1837" y="526"/>
                  </a:lnTo>
                  <a:lnTo>
                    <a:pt x="1846" y="531"/>
                  </a:lnTo>
                  <a:lnTo>
                    <a:pt x="1858" y="536"/>
                  </a:lnTo>
                  <a:lnTo>
                    <a:pt x="1870" y="540"/>
                  </a:lnTo>
                  <a:lnTo>
                    <a:pt x="1878" y="545"/>
                  </a:lnTo>
                  <a:lnTo>
                    <a:pt x="1888" y="546"/>
                  </a:lnTo>
                  <a:lnTo>
                    <a:pt x="1898" y="550"/>
                  </a:lnTo>
                  <a:lnTo>
                    <a:pt x="1907" y="553"/>
                  </a:lnTo>
                  <a:lnTo>
                    <a:pt x="1910" y="555"/>
                  </a:lnTo>
                  <a:lnTo>
                    <a:pt x="1919" y="560"/>
                  </a:lnTo>
                  <a:lnTo>
                    <a:pt x="1922" y="562"/>
                  </a:lnTo>
                  <a:lnTo>
                    <a:pt x="1931" y="567"/>
                  </a:lnTo>
                  <a:lnTo>
                    <a:pt x="1936" y="558"/>
                  </a:lnTo>
                  <a:lnTo>
                    <a:pt x="1948" y="558"/>
                  </a:lnTo>
                  <a:lnTo>
                    <a:pt x="1953" y="563"/>
                  </a:lnTo>
                  <a:lnTo>
                    <a:pt x="1958" y="567"/>
                  </a:lnTo>
                  <a:lnTo>
                    <a:pt x="1958" y="569"/>
                  </a:lnTo>
                  <a:lnTo>
                    <a:pt x="1960" y="569"/>
                  </a:lnTo>
                  <a:lnTo>
                    <a:pt x="1961" y="567"/>
                  </a:lnTo>
                  <a:lnTo>
                    <a:pt x="1966" y="575"/>
                  </a:lnTo>
                  <a:lnTo>
                    <a:pt x="1968" y="580"/>
                  </a:lnTo>
                  <a:lnTo>
                    <a:pt x="1975" y="596"/>
                  </a:lnTo>
                  <a:lnTo>
                    <a:pt x="1977" y="609"/>
                  </a:lnTo>
                  <a:lnTo>
                    <a:pt x="1978" y="609"/>
                  </a:lnTo>
                  <a:lnTo>
                    <a:pt x="1968" y="615"/>
                  </a:lnTo>
                  <a:lnTo>
                    <a:pt x="1961" y="616"/>
                  </a:lnTo>
                  <a:lnTo>
                    <a:pt x="1961" y="621"/>
                  </a:lnTo>
                  <a:lnTo>
                    <a:pt x="1954" y="632"/>
                  </a:lnTo>
                  <a:lnTo>
                    <a:pt x="1951" y="640"/>
                  </a:lnTo>
                  <a:lnTo>
                    <a:pt x="1949" y="645"/>
                  </a:lnTo>
                  <a:lnTo>
                    <a:pt x="1943" y="655"/>
                  </a:lnTo>
                  <a:lnTo>
                    <a:pt x="1939" y="659"/>
                  </a:lnTo>
                  <a:lnTo>
                    <a:pt x="1939" y="664"/>
                  </a:lnTo>
                  <a:lnTo>
                    <a:pt x="1951" y="669"/>
                  </a:lnTo>
                  <a:lnTo>
                    <a:pt x="1953" y="671"/>
                  </a:lnTo>
                  <a:lnTo>
                    <a:pt x="1954" y="671"/>
                  </a:lnTo>
                  <a:lnTo>
                    <a:pt x="1958" y="674"/>
                  </a:lnTo>
                  <a:lnTo>
                    <a:pt x="1970" y="683"/>
                  </a:lnTo>
                  <a:lnTo>
                    <a:pt x="1982" y="689"/>
                  </a:lnTo>
                  <a:lnTo>
                    <a:pt x="1988" y="689"/>
                  </a:lnTo>
                  <a:lnTo>
                    <a:pt x="1980" y="710"/>
                  </a:lnTo>
                  <a:lnTo>
                    <a:pt x="1978" y="718"/>
                  </a:lnTo>
                  <a:lnTo>
                    <a:pt x="1978" y="727"/>
                  </a:lnTo>
                  <a:lnTo>
                    <a:pt x="1978" y="730"/>
                  </a:lnTo>
                  <a:lnTo>
                    <a:pt x="1978" y="737"/>
                  </a:lnTo>
                  <a:lnTo>
                    <a:pt x="1977" y="744"/>
                  </a:lnTo>
                  <a:lnTo>
                    <a:pt x="1977" y="756"/>
                  </a:lnTo>
                  <a:lnTo>
                    <a:pt x="1994" y="761"/>
                  </a:lnTo>
                  <a:lnTo>
                    <a:pt x="1990" y="769"/>
                  </a:lnTo>
                  <a:lnTo>
                    <a:pt x="1988" y="781"/>
                  </a:lnTo>
                  <a:lnTo>
                    <a:pt x="1987" y="783"/>
                  </a:lnTo>
                  <a:lnTo>
                    <a:pt x="1992" y="793"/>
                  </a:lnTo>
                  <a:lnTo>
                    <a:pt x="2009" y="790"/>
                  </a:lnTo>
                  <a:lnTo>
                    <a:pt x="2017" y="786"/>
                  </a:lnTo>
                  <a:lnTo>
                    <a:pt x="2058" y="780"/>
                  </a:lnTo>
                  <a:lnTo>
                    <a:pt x="2068" y="778"/>
                  </a:lnTo>
                  <a:lnTo>
                    <a:pt x="2079" y="783"/>
                  </a:lnTo>
                  <a:lnTo>
                    <a:pt x="2068" y="798"/>
                  </a:lnTo>
                  <a:lnTo>
                    <a:pt x="2080" y="803"/>
                  </a:lnTo>
                  <a:lnTo>
                    <a:pt x="2077" y="812"/>
                  </a:lnTo>
                  <a:lnTo>
                    <a:pt x="2072" y="820"/>
                  </a:lnTo>
                  <a:lnTo>
                    <a:pt x="2068" y="820"/>
                  </a:lnTo>
                  <a:lnTo>
                    <a:pt x="2056" y="836"/>
                  </a:lnTo>
                  <a:lnTo>
                    <a:pt x="2055" y="837"/>
                  </a:lnTo>
                  <a:lnTo>
                    <a:pt x="2063" y="846"/>
                  </a:lnTo>
                  <a:lnTo>
                    <a:pt x="2067" y="841"/>
                  </a:lnTo>
                  <a:lnTo>
                    <a:pt x="2077" y="853"/>
                  </a:lnTo>
                  <a:lnTo>
                    <a:pt x="2082" y="856"/>
                  </a:lnTo>
                  <a:lnTo>
                    <a:pt x="2082" y="861"/>
                  </a:lnTo>
                  <a:lnTo>
                    <a:pt x="2075" y="870"/>
                  </a:lnTo>
                  <a:lnTo>
                    <a:pt x="2080" y="871"/>
                  </a:lnTo>
                  <a:lnTo>
                    <a:pt x="2082" y="873"/>
                  </a:lnTo>
                  <a:lnTo>
                    <a:pt x="2089" y="878"/>
                  </a:lnTo>
                  <a:lnTo>
                    <a:pt x="2094" y="883"/>
                  </a:lnTo>
                  <a:lnTo>
                    <a:pt x="2099" y="887"/>
                  </a:lnTo>
                  <a:lnTo>
                    <a:pt x="2106" y="880"/>
                  </a:lnTo>
                  <a:lnTo>
                    <a:pt x="2106" y="873"/>
                  </a:lnTo>
                  <a:lnTo>
                    <a:pt x="2113" y="870"/>
                  </a:lnTo>
                  <a:lnTo>
                    <a:pt x="2118" y="870"/>
                  </a:lnTo>
                  <a:lnTo>
                    <a:pt x="2123" y="861"/>
                  </a:lnTo>
                  <a:lnTo>
                    <a:pt x="2123" y="853"/>
                  </a:lnTo>
                  <a:lnTo>
                    <a:pt x="2121" y="849"/>
                  </a:lnTo>
                  <a:lnTo>
                    <a:pt x="2124" y="844"/>
                  </a:lnTo>
                  <a:lnTo>
                    <a:pt x="2119" y="836"/>
                  </a:lnTo>
                  <a:lnTo>
                    <a:pt x="2124" y="836"/>
                  </a:lnTo>
                  <a:lnTo>
                    <a:pt x="2130" y="831"/>
                  </a:lnTo>
                  <a:lnTo>
                    <a:pt x="2133" y="822"/>
                  </a:lnTo>
                  <a:lnTo>
                    <a:pt x="2143" y="822"/>
                  </a:lnTo>
                  <a:lnTo>
                    <a:pt x="2143" y="817"/>
                  </a:lnTo>
                  <a:lnTo>
                    <a:pt x="2135" y="808"/>
                  </a:lnTo>
                  <a:lnTo>
                    <a:pt x="2133" y="807"/>
                  </a:lnTo>
                  <a:lnTo>
                    <a:pt x="2136" y="803"/>
                  </a:lnTo>
                  <a:lnTo>
                    <a:pt x="2140" y="793"/>
                  </a:lnTo>
                  <a:lnTo>
                    <a:pt x="2143" y="791"/>
                  </a:lnTo>
                  <a:lnTo>
                    <a:pt x="2143" y="786"/>
                  </a:lnTo>
                  <a:lnTo>
                    <a:pt x="2138" y="778"/>
                  </a:lnTo>
                  <a:lnTo>
                    <a:pt x="2143" y="768"/>
                  </a:lnTo>
                  <a:lnTo>
                    <a:pt x="2147" y="768"/>
                  </a:lnTo>
                  <a:lnTo>
                    <a:pt x="2155" y="766"/>
                  </a:lnTo>
                  <a:lnTo>
                    <a:pt x="2160" y="764"/>
                  </a:lnTo>
                  <a:lnTo>
                    <a:pt x="2162" y="764"/>
                  </a:lnTo>
                  <a:lnTo>
                    <a:pt x="2160" y="757"/>
                  </a:lnTo>
                  <a:lnTo>
                    <a:pt x="2167" y="757"/>
                  </a:lnTo>
                  <a:lnTo>
                    <a:pt x="2167" y="764"/>
                  </a:lnTo>
                  <a:lnTo>
                    <a:pt x="2170" y="771"/>
                  </a:lnTo>
                  <a:lnTo>
                    <a:pt x="2169" y="778"/>
                  </a:lnTo>
                  <a:lnTo>
                    <a:pt x="2170" y="783"/>
                  </a:lnTo>
                  <a:lnTo>
                    <a:pt x="2181" y="781"/>
                  </a:lnTo>
                  <a:lnTo>
                    <a:pt x="2184" y="781"/>
                  </a:lnTo>
                  <a:lnTo>
                    <a:pt x="2192" y="781"/>
                  </a:lnTo>
                  <a:lnTo>
                    <a:pt x="2203" y="780"/>
                  </a:lnTo>
                  <a:lnTo>
                    <a:pt x="2208" y="778"/>
                  </a:lnTo>
                  <a:lnTo>
                    <a:pt x="2216" y="778"/>
                  </a:lnTo>
                  <a:lnTo>
                    <a:pt x="2223" y="778"/>
                  </a:lnTo>
                  <a:lnTo>
                    <a:pt x="2232" y="780"/>
                  </a:lnTo>
                  <a:lnTo>
                    <a:pt x="2235" y="781"/>
                  </a:lnTo>
                  <a:lnTo>
                    <a:pt x="2226" y="790"/>
                  </a:lnTo>
                  <a:lnTo>
                    <a:pt x="2221" y="795"/>
                  </a:lnTo>
                  <a:lnTo>
                    <a:pt x="2213" y="805"/>
                  </a:lnTo>
                  <a:lnTo>
                    <a:pt x="2206" y="812"/>
                  </a:lnTo>
                  <a:lnTo>
                    <a:pt x="2199" y="819"/>
                  </a:lnTo>
                  <a:lnTo>
                    <a:pt x="2192" y="825"/>
                  </a:lnTo>
                  <a:lnTo>
                    <a:pt x="2191" y="827"/>
                  </a:lnTo>
                  <a:lnTo>
                    <a:pt x="2187" y="831"/>
                  </a:lnTo>
                  <a:lnTo>
                    <a:pt x="2181" y="839"/>
                  </a:lnTo>
                  <a:lnTo>
                    <a:pt x="2184" y="837"/>
                  </a:lnTo>
                  <a:lnTo>
                    <a:pt x="2184" y="842"/>
                  </a:lnTo>
                  <a:lnTo>
                    <a:pt x="2175" y="844"/>
                  </a:lnTo>
                  <a:lnTo>
                    <a:pt x="2177" y="844"/>
                  </a:lnTo>
                  <a:lnTo>
                    <a:pt x="2181" y="851"/>
                  </a:lnTo>
                  <a:lnTo>
                    <a:pt x="2184" y="856"/>
                  </a:lnTo>
                  <a:lnTo>
                    <a:pt x="2199" y="880"/>
                  </a:lnTo>
                  <a:lnTo>
                    <a:pt x="2206" y="892"/>
                  </a:lnTo>
                  <a:lnTo>
                    <a:pt x="2213" y="883"/>
                  </a:lnTo>
                  <a:lnTo>
                    <a:pt x="2220" y="883"/>
                  </a:lnTo>
                  <a:lnTo>
                    <a:pt x="2226" y="882"/>
                  </a:lnTo>
                  <a:lnTo>
                    <a:pt x="2220" y="902"/>
                  </a:lnTo>
                  <a:lnTo>
                    <a:pt x="2216" y="907"/>
                  </a:lnTo>
                  <a:lnTo>
                    <a:pt x="2208" y="929"/>
                  </a:lnTo>
                  <a:lnTo>
                    <a:pt x="2199" y="928"/>
                  </a:lnTo>
                  <a:lnTo>
                    <a:pt x="2192" y="934"/>
                  </a:lnTo>
                  <a:lnTo>
                    <a:pt x="2184" y="934"/>
                  </a:lnTo>
                  <a:lnTo>
                    <a:pt x="2189" y="945"/>
                  </a:lnTo>
                  <a:lnTo>
                    <a:pt x="2201" y="948"/>
                  </a:lnTo>
                  <a:lnTo>
                    <a:pt x="2191" y="972"/>
                  </a:lnTo>
                  <a:lnTo>
                    <a:pt x="2191" y="977"/>
                  </a:lnTo>
                  <a:lnTo>
                    <a:pt x="2186" y="985"/>
                  </a:lnTo>
                  <a:lnTo>
                    <a:pt x="2182" y="989"/>
                  </a:lnTo>
                  <a:lnTo>
                    <a:pt x="2175" y="996"/>
                  </a:lnTo>
                  <a:lnTo>
                    <a:pt x="2181" y="999"/>
                  </a:lnTo>
                  <a:lnTo>
                    <a:pt x="2170" y="1030"/>
                  </a:lnTo>
                  <a:lnTo>
                    <a:pt x="2189" y="1035"/>
                  </a:lnTo>
                  <a:lnTo>
                    <a:pt x="2165" y="1075"/>
                  </a:lnTo>
                  <a:lnTo>
                    <a:pt x="2164" y="1077"/>
                  </a:lnTo>
                  <a:lnTo>
                    <a:pt x="2162" y="1082"/>
                  </a:lnTo>
                  <a:lnTo>
                    <a:pt x="2158" y="1089"/>
                  </a:lnTo>
                  <a:lnTo>
                    <a:pt x="2148" y="1106"/>
                  </a:lnTo>
                  <a:lnTo>
                    <a:pt x="2147" y="1106"/>
                  </a:lnTo>
                  <a:lnTo>
                    <a:pt x="2131" y="1135"/>
                  </a:lnTo>
                  <a:lnTo>
                    <a:pt x="2123" y="1149"/>
                  </a:lnTo>
                  <a:lnTo>
                    <a:pt x="2116" y="1161"/>
                  </a:lnTo>
                  <a:lnTo>
                    <a:pt x="2102" y="1184"/>
                  </a:lnTo>
                  <a:lnTo>
                    <a:pt x="2089" y="1212"/>
                  </a:lnTo>
                  <a:lnTo>
                    <a:pt x="2060" y="1263"/>
                  </a:lnTo>
                  <a:lnTo>
                    <a:pt x="2055" y="1271"/>
                  </a:lnTo>
                  <a:lnTo>
                    <a:pt x="2038" y="1300"/>
                  </a:lnTo>
                  <a:lnTo>
                    <a:pt x="2036" y="1302"/>
                  </a:lnTo>
                  <a:lnTo>
                    <a:pt x="2036" y="1303"/>
                  </a:lnTo>
                  <a:lnTo>
                    <a:pt x="2038" y="1303"/>
                  </a:lnTo>
                  <a:lnTo>
                    <a:pt x="2036" y="1315"/>
                  </a:lnTo>
                  <a:lnTo>
                    <a:pt x="2043" y="1322"/>
                  </a:lnTo>
                  <a:lnTo>
                    <a:pt x="2046" y="1329"/>
                  </a:lnTo>
                  <a:lnTo>
                    <a:pt x="2051" y="1337"/>
                  </a:lnTo>
                  <a:lnTo>
                    <a:pt x="2058" y="1344"/>
                  </a:lnTo>
                  <a:lnTo>
                    <a:pt x="2065" y="1344"/>
                  </a:lnTo>
                  <a:lnTo>
                    <a:pt x="2073" y="1346"/>
                  </a:lnTo>
                  <a:lnTo>
                    <a:pt x="2075" y="1351"/>
                  </a:lnTo>
                  <a:lnTo>
                    <a:pt x="2087" y="1353"/>
                  </a:lnTo>
                  <a:lnTo>
                    <a:pt x="2090" y="1361"/>
                  </a:lnTo>
                  <a:lnTo>
                    <a:pt x="2096" y="1366"/>
                  </a:lnTo>
                  <a:lnTo>
                    <a:pt x="2102" y="1371"/>
                  </a:lnTo>
                  <a:lnTo>
                    <a:pt x="2111" y="1371"/>
                  </a:lnTo>
                  <a:lnTo>
                    <a:pt x="2116" y="1368"/>
                  </a:lnTo>
                  <a:lnTo>
                    <a:pt x="2116" y="1378"/>
                  </a:lnTo>
                  <a:lnTo>
                    <a:pt x="2118" y="1388"/>
                  </a:lnTo>
                  <a:lnTo>
                    <a:pt x="2126" y="1390"/>
                  </a:lnTo>
                  <a:lnTo>
                    <a:pt x="2131" y="1392"/>
                  </a:lnTo>
                  <a:lnTo>
                    <a:pt x="2138" y="1392"/>
                  </a:lnTo>
                  <a:lnTo>
                    <a:pt x="2148" y="1394"/>
                  </a:lnTo>
                  <a:lnTo>
                    <a:pt x="2152" y="1400"/>
                  </a:lnTo>
                  <a:lnTo>
                    <a:pt x="2150" y="1409"/>
                  </a:lnTo>
                  <a:lnTo>
                    <a:pt x="2155" y="1416"/>
                  </a:lnTo>
                  <a:lnTo>
                    <a:pt x="2160" y="1419"/>
                  </a:lnTo>
                  <a:lnTo>
                    <a:pt x="2158" y="1426"/>
                  </a:lnTo>
                  <a:lnTo>
                    <a:pt x="2167" y="1431"/>
                  </a:lnTo>
                  <a:lnTo>
                    <a:pt x="2170" y="1441"/>
                  </a:lnTo>
                  <a:lnTo>
                    <a:pt x="2174" y="1450"/>
                  </a:lnTo>
                  <a:lnTo>
                    <a:pt x="2181" y="1448"/>
                  </a:lnTo>
                  <a:lnTo>
                    <a:pt x="2187" y="1455"/>
                  </a:lnTo>
                  <a:lnTo>
                    <a:pt x="2186" y="1462"/>
                  </a:lnTo>
                  <a:lnTo>
                    <a:pt x="2192" y="1467"/>
                  </a:lnTo>
                  <a:lnTo>
                    <a:pt x="2196" y="1472"/>
                  </a:lnTo>
                  <a:lnTo>
                    <a:pt x="2208" y="1470"/>
                  </a:lnTo>
                  <a:lnTo>
                    <a:pt x="2211" y="1479"/>
                  </a:lnTo>
                  <a:lnTo>
                    <a:pt x="2208" y="1485"/>
                  </a:lnTo>
                  <a:lnTo>
                    <a:pt x="2209" y="1491"/>
                  </a:lnTo>
                  <a:lnTo>
                    <a:pt x="2215" y="1489"/>
                  </a:lnTo>
                  <a:lnTo>
                    <a:pt x="2223" y="1494"/>
                  </a:lnTo>
                  <a:lnTo>
                    <a:pt x="2228" y="1502"/>
                  </a:lnTo>
                  <a:lnTo>
                    <a:pt x="2235" y="1508"/>
                  </a:lnTo>
                  <a:lnTo>
                    <a:pt x="2238" y="1513"/>
                  </a:lnTo>
                  <a:lnTo>
                    <a:pt x="2237" y="1516"/>
                  </a:lnTo>
                  <a:lnTo>
                    <a:pt x="2245" y="1523"/>
                  </a:lnTo>
                  <a:lnTo>
                    <a:pt x="2247" y="1526"/>
                  </a:lnTo>
                  <a:lnTo>
                    <a:pt x="2259" y="1528"/>
                  </a:lnTo>
                  <a:lnTo>
                    <a:pt x="2260" y="1531"/>
                  </a:lnTo>
                  <a:lnTo>
                    <a:pt x="2269" y="1540"/>
                  </a:lnTo>
                  <a:lnTo>
                    <a:pt x="2271" y="1543"/>
                  </a:lnTo>
                  <a:lnTo>
                    <a:pt x="2276" y="1548"/>
                  </a:lnTo>
                  <a:lnTo>
                    <a:pt x="2283" y="1543"/>
                  </a:lnTo>
                  <a:lnTo>
                    <a:pt x="2294" y="1543"/>
                  </a:lnTo>
                  <a:lnTo>
                    <a:pt x="2305" y="1548"/>
                  </a:lnTo>
                  <a:lnTo>
                    <a:pt x="2305" y="1550"/>
                  </a:lnTo>
                  <a:lnTo>
                    <a:pt x="2313" y="1557"/>
                  </a:lnTo>
                  <a:lnTo>
                    <a:pt x="2317" y="1560"/>
                  </a:lnTo>
                  <a:lnTo>
                    <a:pt x="2315" y="1564"/>
                  </a:lnTo>
                  <a:lnTo>
                    <a:pt x="2318" y="1574"/>
                  </a:lnTo>
                  <a:lnTo>
                    <a:pt x="2315" y="1576"/>
                  </a:lnTo>
                  <a:lnTo>
                    <a:pt x="2315" y="1586"/>
                  </a:lnTo>
                  <a:lnTo>
                    <a:pt x="2318" y="1588"/>
                  </a:lnTo>
                  <a:lnTo>
                    <a:pt x="2318" y="1593"/>
                  </a:lnTo>
                  <a:lnTo>
                    <a:pt x="2318" y="1601"/>
                  </a:lnTo>
                  <a:lnTo>
                    <a:pt x="2330" y="1606"/>
                  </a:lnTo>
                  <a:lnTo>
                    <a:pt x="2337" y="1605"/>
                  </a:lnTo>
                  <a:lnTo>
                    <a:pt x="2328" y="1616"/>
                  </a:lnTo>
                  <a:lnTo>
                    <a:pt x="2320" y="1620"/>
                  </a:lnTo>
                  <a:lnTo>
                    <a:pt x="2315" y="1627"/>
                  </a:lnTo>
                  <a:lnTo>
                    <a:pt x="2325" y="1633"/>
                  </a:lnTo>
                  <a:lnTo>
                    <a:pt x="2327" y="1635"/>
                  </a:lnTo>
                  <a:lnTo>
                    <a:pt x="2323" y="1642"/>
                  </a:lnTo>
                  <a:lnTo>
                    <a:pt x="2325" y="1649"/>
                  </a:lnTo>
                  <a:lnTo>
                    <a:pt x="2315" y="1656"/>
                  </a:lnTo>
                  <a:lnTo>
                    <a:pt x="2318" y="1662"/>
                  </a:lnTo>
                  <a:lnTo>
                    <a:pt x="2322" y="1662"/>
                  </a:lnTo>
                  <a:lnTo>
                    <a:pt x="2318" y="1671"/>
                  </a:lnTo>
                  <a:lnTo>
                    <a:pt x="2311" y="1674"/>
                  </a:lnTo>
                  <a:lnTo>
                    <a:pt x="2305" y="1678"/>
                  </a:lnTo>
                  <a:lnTo>
                    <a:pt x="2310" y="1681"/>
                  </a:lnTo>
                  <a:lnTo>
                    <a:pt x="2306" y="1688"/>
                  </a:lnTo>
                  <a:lnTo>
                    <a:pt x="2298" y="1696"/>
                  </a:lnTo>
                  <a:lnTo>
                    <a:pt x="2294" y="1695"/>
                  </a:lnTo>
                  <a:lnTo>
                    <a:pt x="2291" y="1701"/>
                  </a:lnTo>
                  <a:lnTo>
                    <a:pt x="2288" y="1713"/>
                  </a:lnTo>
                  <a:lnTo>
                    <a:pt x="2291" y="1719"/>
                  </a:lnTo>
                  <a:lnTo>
                    <a:pt x="2283" y="1724"/>
                  </a:lnTo>
                  <a:lnTo>
                    <a:pt x="2266" y="1717"/>
                  </a:lnTo>
                  <a:lnTo>
                    <a:pt x="2260" y="1719"/>
                  </a:lnTo>
                  <a:lnTo>
                    <a:pt x="2260" y="1717"/>
                  </a:lnTo>
                  <a:lnTo>
                    <a:pt x="2249" y="1712"/>
                  </a:lnTo>
                  <a:lnTo>
                    <a:pt x="2247" y="1712"/>
                  </a:lnTo>
                  <a:lnTo>
                    <a:pt x="2245" y="1712"/>
                  </a:lnTo>
                  <a:lnTo>
                    <a:pt x="2243" y="1719"/>
                  </a:lnTo>
                  <a:lnTo>
                    <a:pt x="2235" y="1724"/>
                  </a:lnTo>
                  <a:lnTo>
                    <a:pt x="2230" y="1722"/>
                  </a:lnTo>
                  <a:lnTo>
                    <a:pt x="2230" y="1725"/>
                  </a:lnTo>
                  <a:lnTo>
                    <a:pt x="2225" y="1724"/>
                  </a:lnTo>
                  <a:lnTo>
                    <a:pt x="2216" y="1730"/>
                  </a:lnTo>
                  <a:lnTo>
                    <a:pt x="2213" y="1730"/>
                  </a:lnTo>
                  <a:lnTo>
                    <a:pt x="2209" y="1729"/>
                  </a:lnTo>
                  <a:lnTo>
                    <a:pt x="2206" y="1732"/>
                  </a:lnTo>
                  <a:lnTo>
                    <a:pt x="2201" y="1732"/>
                  </a:lnTo>
                  <a:lnTo>
                    <a:pt x="2192" y="1730"/>
                  </a:lnTo>
                  <a:lnTo>
                    <a:pt x="2181" y="1737"/>
                  </a:lnTo>
                  <a:lnTo>
                    <a:pt x="2172" y="1746"/>
                  </a:lnTo>
                  <a:lnTo>
                    <a:pt x="2164" y="1744"/>
                  </a:lnTo>
                  <a:lnTo>
                    <a:pt x="2152" y="1747"/>
                  </a:lnTo>
                  <a:lnTo>
                    <a:pt x="2153" y="1756"/>
                  </a:lnTo>
                  <a:lnTo>
                    <a:pt x="2153" y="1759"/>
                  </a:lnTo>
                  <a:lnTo>
                    <a:pt x="2145" y="1756"/>
                  </a:lnTo>
                  <a:lnTo>
                    <a:pt x="2143" y="1756"/>
                  </a:lnTo>
                  <a:lnTo>
                    <a:pt x="2135" y="1764"/>
                  </a:lnTo>
                  <a:lnTo>
                    <a:pt x="2124" y="1766"/>
                  </a:lnTo>
                  <a:lnTo>
                    <a:pt x="2118" y="1766"/>
                  </a:lnTo>
                  <a:lnTo>
                    <a:pt x="2114" y="1770"/>
                  </a:lnTo>
                  <a:lnTo>
                    <a:pt x="2113" y="1768"/>
                  </a:lnTo>
                  <a:lnTo>
                    <a:pt x="2102" y="1763"/>
                  </a:lnTo>
                  <a:lnTo>
                    <a:pt x="2099" y="1764"/>
                  </a:lnTo>
                  <a:lnTo>
                    <a:pt x="2085" y="1766"/>
                  </a:lnTo>
                  <a:lnTo>
                    <a:pt x="2077" y="1771"/>
                  </a:lnTo>
                  <a:lnTo>
                    <a:pt x="2077" y="1775"/>
                  </a:lnTo>
                  <a:lnTo>
                    <a:pt x="2075" y="1788"/>
                  </a:lnTo>
                  <a:lnTo>
                    <a:pt x="2065" y="1793"/>
                  </a:lnTo>
                  <a:lnTo>
                    <a:pt x="2068" y="1797"/>
                  </a:lnTo>
                  <a:lnTo>
                    <a:pt x="2065" y="1805"/>
                  </a:lnTo>
                  <a:lnTo>
                    <a:pt x="2060" y="1812"/>
                  </a:lnTo>
                  <a:lnTo>
                    <a:pt x="2065" y="1821"/>
                  </a:lnTo>
                  <a:lnTo>
                    <a:pt x="2062" y="1832"/>
                  </a:lnTo>
                  <a:lnTo>
                    <a:pt x="2062" y="1839"/>
                  </a:lnTo>
                  <a:lnTo>
                    <a:pt x="2062" y="1848"/>
                  </a:lnTo>
                  <a:lnTo>
                    <a:pt x="2050" y="1848"/>
                  </a:lnTo>
                  <a:lnTo>
                    <a:pt x="2043" y="1849"/>
                  </a:lnTo>
                  <a:lnTo>
                    <a:pt x="2034" y="1844"/>
                  </a:lnTo>
                  <a:lnTo>
                    <a:pt x="2038" y="1849"/>
                  </a:lnTo>
                  <a:lnTo>
                    <a:pt x="2017" y="1851"/>
                  </a:lnTo>
                  <a:lnTo>
                    <a:pt x="2016" y="1851"/>
                  </a:lnTo>
                  <a:lnTo>
                    <a:pt x="2009" y="1860"/>
                  </a:lnTo>
                  <a:lnTo>
                    <a:pt x="2002" y="1865"/>
                  </a:lnTo>
                  <a:lnTo>
                    <a:pt x="1997" y="1861"/>
                  </a:lnTo>
                  <a:lnTo>
                    <a:pt x="1997" y="1865"/>
                  </a:lnTo>
                  <a:lnTo>
                    <a:pt x="1987" y="1860"/>
                  </a:lnTo>
                  <a:lnTo>
                    <a:pt x="1982" y="1860"/>
                  </a:lnTo>
                  <a:lnTo>
                    <a:pt x="1970" y="1858"/>
                  </a:lnTo>
                  <a:lnTo>
                    <a:pt x="1966" y="1865"/>
                  </a:lnTo>
                  <a:lnTo>
                    <a:pt x="1966" y="1870"/>
                  </a:lnTo>
                  <a:lnTo>
                    <a:pt x="1954" y="1872"/>
                  </a:lnTo>
                  <a:lnTo>
                    <a:pt x="1946" y="1875"/>
                  </a:lnTo>
                  <a:lnTo>
                    <a:pt x="1943" y="1866"/>
                  </a:lnTo>
                  <a:lnTo>
                    <a:pt x="1939" y="1865"/>
                  </a:lnTo>
                  <a:lnTo>
                    <a:pt x="1936" y="1855"/>
                  </a:lnTo>
                  <a:lnTo>
                    <a:pt x="1941" y="1849"/>
                  </a:lnTo>
                  <a:lnTo>
                    <a:pt x="1927" y="1848"/>
                  </a:lnTo>
                  <a:lnTo>
                    <a:pt x="1919" y="1849"/>
                  </a:lnTo>
                  <a:lnTo>
                    <a:pt x="1920" y="1851"/>
                  </a:lnTo>
                  <a:lnTo>
                    <a:pt x="1915" y="1860"/>
                  </a:lnTo>
                  <a:lnTo>
                    <a:pt x="1915" y="1866"/>
                  </a:lnTo>
                  <a:lnTo>
                    <a:pt x="1907" y="1872"/>
                  </a:lnTo>
                  <a:lnTo>
                    <a:pt x="1905" y="1880"/>
                  </a:lnTo>
                  <a:lnTo>
                    <a:pt x="1900" y="1884"/>
                  </a:lnTo>
                  <a:lnTo>
                    <a:pt x="1897" y="1882"/>
                  </a:lnTo>
                  <a:lnTo>
                    <a:pt x="1886" y="1868"/>
                  </a:lnTo>
                  <a:lnTo>
                    <a:pt x="1883" y="1868"/>
                  </a:lnTo>
                  <a:lnTo>
                    <a:pt x="1886" y="1865"/>
                  </a:lnTo>
                  <a:lnTo>
                    <a:pt x="1878" y="1863"/>
                  </a:lnTo>
                  <a:lnTo>
                    <a:pt x="1890" y="1855"/>
                  </a:lnTo>
                  <a:lnTo>
                    <a:pt x="1888" y="1851"/>
                  </a:lnTo>
                  <a:lnTo>
                    <a:pt x="1881" y="1851"/>
                  </a:lnTo>
                  <a:lnTo>
                    <a:pt x="1871" y="1846"/>
                  </a:lnTo>
                  <a:lnTo>
                    <a:pt x="1866" y="1846"/>
                  </a:lnTo>
                  <a:lnTo>
                    <a:pt x="1861" y="1834"/>
                  </a:lnTo>
                  <a:lnTo>
                    <a:pt x="1856" y="1832"/>
                  </a:lnTo>
                  <a:lnTo>
                    <a:pt x="1849" y="1834"/>
                  </a:lnTo>
                  <a:lnTo>
                    <a:pt x="1836" y="1836"/>
                  </a:lnTo>
                  <a:lnTo>
                    <a:pt x="1830" y="1834"/>
                  </a:lnTo>
                  <a:lnTo>
                    <a:pt x="1825" y="1838"/>
                  </a:lnTo>
                  <a:lnTo>
                    <a:pt x="1819" y="1844"/>
                  </a:lnTo>
                  <a:lnTo>
                    <a:pt x="1808" y="1844"/>
                  </a:lnTo>
                  <a:lnTo>
                    <a:pt x="1807" y="1848"/>
                  </a:lnTo>
                  <a:lnTo>
                    <a:pt x="1798" y="1848"/>
                  </a:lnTo>
                  <a:lnTo>
                    <a:pt x="1788" y="1844"/>
                  </a:lnTo>
                  <a:lnTo>
                    <a:pt x="1779" y="1843"/>
                  </a:lnTo>
                  <a:lnTo>
                    <a:pt x="1779" y="1839"/>
                  </a:lnTo>
                  <a:lnTo>
                    <a:pt x="1776" y="1851"/>
                  </a:lnTo>
                  <a:lnTo>
                    <a:pt x="1771" y="1851"/>
                  </a:lnTo>
                  <a:lnTo>
                    <a:pt x="1761" y="1849"/>
                  </a:lnTo>
                  <a:lnTo>
                    <a:pt x="1749" y="1855"/>
                  </a:lnTo>
                  <a:lnTo>
                    <a:pt x="1739" y="1866"/>
                  </a:lnTo>
                  <a:lnTo>
                    <a:pt x="1739" y="1868"/>
                  </a:lnTo>
                  <a:lnTo>
                    <a:pt x="1737" y="1878"/>
                  </a:lnTo>
                  <a:lnTo>
                    <a:pt x="1728" y="1887"/>
                  </a:lnTo>
                  <a:lnTo>
                    <a:pt x="1728" y="1889"/>
                  </a:lnTo>
                  <a:lnTo>
                    <a:pt x="1728" y="1894"/>
                  </a:lnTo>
                  <a:lnTo>
                    <a:pt x="1718" y="1901"/>
                  </a:lnTo>
                  <a:lnTo>
                    <a:pt x="1713" y="1906"/>
                  </a:lnTo>
                  <a:lnTo>
                    <a:pt x="1705" y="1914"/>
                  </a:lnTo>
                  <a:lnTo>
                    <a:pt x="1696" y="1916"/>
                  </a:lnTo>
                  <a:lnTo>
                    <a:pt x="1694" y="1921"/>
                  </a:lnTo>
                  <a:lnTo>
                    <a:pt x="1684" y="1914"/>
                  </a:lnTo>
                  <a:lnTo>
                    <a:pt x="1683" y="1902"/>
                  </a:lnTo>
                  <a:lnTo>
                    <a:pt x="1688" y="1897"/>
                  </a:lnTo>
                  <a:lnTo>
                    <a:pt x="1679" y="1894"/>
                  </a:lnTo>
                  <a:lnTo>
                    <a:pt x="1671" y="1892"/>
                  </a:lnTo>
                  <a:lnTo>
                    <a:pt x="1664" y="1890"/>
                  </a:lnTo>
                  <a:lnTo>
                    <a:pt x="1657" y="1890"/>
                  </a:lnTo>
                  <a:lnTo>
                    <a:pt x="1645" y="1894"/>
                  </a:lnTo>
                  <a:lnTo>
                    <a:pt x="1637" y="1890"/>
                  </a:lnTo>
                  <a:lnTo>
                    <a:pt x="1633" y="1878"/>
                  </a:lnTo>
                  <a:lnTo>
                    <a:pt x="1625" y="1884"/>
                  </a:lnTo>
                  <a:lnTo>
                    <a:pt x="1613" y="1889"/>
                  </a:lnTo>
                  <a:lnTo>
                    <a:pt x="1608" y="1880"/>
                  </a:lnTo>
                  <a:lnTo>
                    <a:pt x="1603" y="1873"/>
                  </a:lnTo>
                  <a:lnTo>
                    <a:pt x="1587" y="1878"/>
                  </a:lnTo>
                  <a:lnTo>
                    <a:pt x="1581" y="1878"/>
                  </a:lnTo>
                  <a:lnTo>
                    <a:pt x="1570" y="1880"/>
                  </a:lnTo>
                  <a:lnTo>
                    <a:pt x="1562" y="1875"/>
                  </a:lnTo>
                  <a:lnTo>
                    <a:pt x="1567" y="1865"/>
                  </a:lnTo>
                  <a:lnTo>
                    <a:pt x="1570" y="1858"/>
                  </a:lnTo>
                  <a:lnTo>
                    <a:pt x="1572" y="1853"/>
                  </a:lnTo>
                  <a:lnTo>
                    <a:pt x="1560" y="1851"/>
                  </a:lnTo>
                  <a:lnTo>
                    <a:pt x="1558" y="1841"/>
                  </a:lnTo>
                  <a:lnTo>
                    <a:pt x="1553" y="1841"/>
                  </a:lnTo>
                  <a:lnTo>
                    <a:pt x="1543" y="1839"/>
                  </a:lnTo>
                  <a:lnTo>
                    <a:pt x="1541" y="1839"/>
                  </a:lnTo>
                  <a:lnTo>
                    <a:pt x="1526" y="1831"/>
                  </a:lnTo>
                  <a:lnTo>
                    <a:pt x="1506" y="1822"/>
                  </a:lnTo>
                  <a:lnTo>
                    <a:pt x="1496" y="1815"/>
                  </a:lnTo>
                  <a:lnTo>
                    <a:pt x="1485" y="1819"/>
                  </a:lnTo>
                  <a:lnTo>
                    <a:pt x="1480" y="1838"/>
                  </a:lnTo>
                  <a:lnTo>
                    <a:pt x="1479" y="1838"/>
                  </a:lnTo>
                  <a:lnTo>
                    <a:pt x="1475" y="1848"/>
                  </a:lnTo>
                  <a:lnTo>
                    <a:pt x="1470" y="1856"/>
                  </a:lnTo>
                  <a:lnTo>
                    <a:pt x="1465" y="1863"/>
                  </a:lnTo>
                  <a:lnTo>
                    <a:pt x="1467" y="1872"/>
                  </a:lnTo>
                  <a:lnTo>
                    <a:pt x="1455" y="1877"/>
                  </a:lnTo>
                  <a:lnTo>
                    <a:pt x="1458" y="1878"/>
                  </a:lnTo>
                  <a:lnTo>
                    <a:pt x="1455" y="1899"/>
                  </a:lnTo>
                  <a:lnTo>
                    <a:pt x="1446" y="1895"/>
                  </a:lnTo>
                  <a:lnTo>
                    <a:pt x="1443" y="1890"/>
                  </a:lnTo>
                  <a:lnTo>
                    <a:pt x="1433" y="1889"/>
                  </a:lnTo>
                  <a:lnTo>
                    <a:pt x="1434" y="1894"/>
                  </a:lnTo>
                  <a:lnTo>
                    <a:pt x="1438" y="1901"/>
                  </a:lnTo>
                  <a:lnTo>
                    <a:pt x="1438" y="1907"/>
                  </a:lnTo>
                  <a:lnTo>
                    <a:pt x="1429" y="1911"/>
                  </a:lnTo>
                  <a:lnTo>
                    <a:pt x="1434" y="1919"/>
                  </a:lnTo>
                  <a:lnTo>
                    <a:pt x="1436" y="1928"/>
                  </a:lnTo>
                  <a:lnTo>
                    <a:pt x="1431" y="1931"/>
                  </a:lnTo>
                  <a:lnTo>
                    <a:pt x="1434" y="1940"/>
                  </a:lnTo>
                  <a:lnTo>
                    <a:pt x="1445" y="1943"/>
                  </a:lnTo>
                  <a:lnTo>
                    <a:pt x="1441" y="1946"/>
                  </a:lnTo>
                  <a:lnTo>
                    <a:pt x="1433" y="1965"/>
                  </a:lnTo>
                  <a:lnTo>
                    <a:pt x="1429" y="1948"/>
                  </a:lnTo>
                  <a:lnTo>
                    <a:pt x="1414" y="1957"/>
                  </a:lnTo>
                  <a:lnTo>
                    <a:pt x="1411" y="1974"/>
                  </a:lnTo>
                  <a:lnTo>
                    <a:pt x="1409" y="1982"/>
                  </a:lnTo>
                  <a:lnTo>
                    <a:pt x="1409" y="1980"/>
                  </a:lnTo>
                  <a:lnTo>
                    <a:pt x="1402" y="1984"/>
                  </a:lnTo>
                  <a:lnTo>
                    <a:pt x="1394" y="1986"/>
                  </a:lnTo>
                  <a:lnTo>
                    <a:pt x="1390" y="1996"/>
                  </a:lnTo>
                  <a:lnTo>
                    <a:pt x="1385" y="1994"/>
                  </a:lnTo>
                  <a:lnTo>
                    <a:pt x="1383" y="1999"/>
                  </a:lnTo>
                  <a:lnTo>
                    <a:pt x="1377" y="2001"/>
                  </a:lnTo>
                  <a:lnTo>
                    <a:pt x="1371" y="2001"/>
                  </a:lnTo>
                  <a:lnTo>
                    <a:pt x="1356" y="1994"/>
                  </a:lnTo>
                  <a:lnTo>
                    <a:pt x="1353" y="1994"/>
                  </a:lnTo>
                  <a:lnTo>
                    <a:pt x="1351" y="1987"/>
                  </a:lnTo>
                  <a:lnTo>
                    <a:pt x="1344" y="1987"/>
                  </a:lnTo>
                  <a:lnTo>
                    <a:pt x="1341" y="1980"/>
                  </a:lnTo>
                  <a:lnTo>
                    <a:pt x="1336" y="1987"/>
                  </a:lnTo>
                  <a:lnTo>
                    <a:pt x="1331" y="1992"/>
                  </a:lnTo>
                  <a:lnTo>
                    <a:pt x="1326" y="1991"/>
                  </a:lnTo>
                  <a:lnTo>
                    <a:pt x="1319" y="1982"/>
                  </a:lnTo>
                  <a:lnTo>
                    <a:pt x="1309" y="1982"/>
                  </a:lnTo>
                  <a:lnTo>
                    <a:pt x="1302" y="1986"/>
                  </a:lnTo>
                  <a:lnTo>
                    <a:pt x="1290" y="1987"/>
                  </a:lnTo>
                  <a:lnTo>
                    <a:pt x="1292" y="1994"/>
                  </a:lnTo>
                  <a:lnTo>
                    <a:pt x="1293" y="2004"/>
                  </a:lnTo>
                  <a:lnTo>
                    <a:pt x="1297" y="2011"/>
                  </a:lnTo>
                  <a:lnTo>
                    <a:pt x="1293" y="2014"/>
                  </a:lnTo>
                  <a:lnTo>
                    <a:pt x="1285" y="2016"/>
                  </a:lnTo>
                  <a:lnTo>
                    <a:pt x="1273" y="2014"/>
                  </a:lnTo>
                  <a:lnTo>
                    <a:pt x="1266" y="2021"/>
                  </a:lnTo>
                  <a:lnTo>
                    <a:pt x="1261" y="2026"/>
                  </a:lnTo>
                  <a:lnTo>
                    <a:pt x="1256" y="2025"/>
                  </a:lnTo>
                  <a:lnTo>
                    <a:pt x="1242" y="2032"/>
                  </a:lnTo>
                  <a:lnTo>
                    <a:pt x="1229" y="2026"/>
                  </a:lnTo>
                  <a:lnTo>
                    <a:pt x="1229" y="2033"/>
                  </a:lnTo>
                  <a:lnTo>
                    <a:pt x="1224" y="2043"/>
                  </a:lnTo>
                  <a:lnTo>
                    <a:pt x="1220" y="2047"/>
                  </a:lnTo>
                  <a:lnTo>
                    <a:pt x="1210" y="2050"/>
                  </a:lnTo>
                  <a:lnTo>
                    <a:pt x="1201" y="2060"/>
                  </a:lnTo>
                  <a:lnTo>
                    <a:pt x="1196" y="2062"/>
                  </a:lnTo>
                  <a:lnTo>
                    <a:pt x="1186" y="2084"/>
                  </a:lnTo>
                  <a:lnTo>
                    <a:pt x="1190" y="2094"/>
                  </a:lnTo>
                  <a:lnTo>
                    <a:pt x="1178" y="2098"/>
                  </a:lnTo>
                  <a:lnTo>
                    <a:pt x="1173" y="2101"/>
                  </a:lnTo>
                  <a:lnTo>
                    <a:pt x="1164" y="2101"/>
                  </a:lnTo>
                  <a:lnTo>
                    <a:pt x="1159" y="2100"/>
                  </a:lnTo>
                  <a:lnTo>
                    <a:pt x="1140" y="2096"/>
                  </a:lnTo>
                  <a:lnTo>
                    <a:pt x="1108" y="2103"/>
                  </a:lnTo>
                  <a:lnTo>
                    <a:pt x="1103" y="2111"/>
                  </a:lnTo>
                  <a:lnTo>
                    <a:pt x="1094" y="2117"/>
                  </a:lnTo>
                  <a:lnTo>
                    <a:pt x="1094" y="2122"/>
                  </a:lnTo>
                  <a:lnTo>
                    <a:pt x="1098" y="2127"/>
                  </a:lnTo>
                  <a:lnTo>
                    <a:pt x="1105" y="2135"/>
                  </a:lnTo>
                  <a:lnTo>
                    <a:pt x="1105" y="2144"/>
                  </a:lnTo>
                  <a:lnTo>
                    <a:pt x="1099" y="2156"/>
                  </a:lnTo>
                  <a:lnTo>
                    <a:pt x="1096" y="2164"/>
                  </a:lnTo>
                  <a:lnTo>
                    <a:pt x="1081" y="2169"/>
                  </a:lnTo>
                  <a:lnTo>
                    <a:pt x="1077" y="2178"/>
                  </a:lnTo>
                  <a:lnTo>
                    <a:pt x="1074" y="2178"/>
                  </a:lnTo>
                  <a:lnTo>
                    <a:pt x="1059" y="2174"/>
                  </a:lnTo>
                  <a:lnTo>
                    <a:pt x="1057" y="2174"/>
                  </a:lnTo>
                  <a:lnTo>
                    <a:pt x="1050" y="2178"/>
                  </a:lnTo>
                  <a:lnTo>
                    <a:pt x="1042" y="2178"/>
                  </a:lnTo>
                  <a:lnTo>
                    <a:pt x="1042" y="2173"/>
                  </a:lnTo>
                  <a:lnTo>
                    <a:pt x="1035" y="2161"/>
                  </a:lnTo>
                  <a:lnTo>
                    <a:pt x="1033" y="2162"/>
                  </a:lnTo>
                  <a:lnTo>
                    <a:pt x="1018" y="2178"/>
                  </a:lnTo>
                  <a:lnTo>
                    <a:pt x="1003" y="2178"/>
                  </a:lnTo>
                  <a:lnTo>
                    <a:pt x="987" y="2168"/>
                  </a:lnTo>
                  <a:lnTo>
                    <a:pt x="984" y="2169"/>
                  </a:lnTo>
                  <a:lnTo>
                    <a:pt x="984" y="2162"/>
                  </a:lnTo>
                  <a:lnTo>
                    <a:pt x="982" y="2157"/>
                  </a:lnTo>
                  <a:lnTo>
                    <a:pt x="979" y="2156"/>
                  </a:lnTo>
                  <a:lnTo>
                    <a:pt x="975" y="2152"/>
                  </a:lnTo>
                  <a:lnTo>
                    <a:pt x="969" y="2140"/>
                  </a:lnTo>
                  <a:lnTo>
                    <a:pt x="957" y="2140"/>
                  </a:lnTo>
                  <a:lnTo>
                    <a:pt x="946" y="2135"/>
                  </a:lnTo>
                  <a:lnTo>
                    <a:pt x="940" y="2127"/>
                  </a:lnTo>
                  <a:lnTo>
                    <a:pt x="941" y="2110"/>
                  </a:lnTo>
                  <a:lnTo>
                    <a:pt x="938" y="2105"/>
                  </a:lnTo>
                  <a:lnTo>
                    <a:pt x="928" y="2098"/>
                  </a:lnTo>
                  <a:lnTo>
                    <a:pt x="928" y="2089"/>
                  </a:lnTo>
                  <a:lnTo>
                    <a:pt x="923" y="2079"/>
                  </a:lnTo>
                  <a:lnTo>
                    <a:pt x="924" y="2076"/>
                  </a:lnTo>
                  <a:lnTo>
                    <a:pt x="918" y="2060"/>
                  </a:lnTo>
                  <a:lnTo>
                    <a:pt x="918" y="2054"/>
                  </a:lnTo>
                  <a:lnTo>
                    <a:pt x="918" y="2049"/>
                  </a:lnTo>
                  <a:lnTo>
                    <a:pt x="914" y="2033"/>
                  </a:lnTo>
                  <a:lnTo>
                    <a:pt x="928" y="2038"/>
                  </a:lnTo>
                  <a:lnTo>
                    <a:pt x="936" y="2030"/>
                  </a:lnTo>
                  <a:lnTo>
                    <a:pt x="938" y="2028"/>
                  </a:lnTo>
                  <a:lnTo>
                    <a:pt x="936" y="2020"/>
                  </a:lnTo>
                  <a:lnTo>
                    <a:pt x="950" y="2008"/>
                  </a:lnTo>
                  <a:lnTo>
                    <a:pt x="960" y="2009"/>
                  </a:lnTo>
                  <a:lnTo>
                    <a:pt x="958" y="2001"/>
                  </a:lnTo>
                  <a:lnTo>
                    <a:pt x="958" y="1994"/>
                  </a:lnTo>
                  <a:lnTo>
                    <a:pt x="957" y="1986"/>
                  </a:lnTo>
                  <a:lnTo>
                    <a:pt x="938" y="1987"/>
                  </a:lnTo>
                  <a:lnTo>
                    <a:pt x="941" y="1975"/>
                  </a:lnTo>
                  <a:lnTo>
                    <a:pt x="929" y="1977"/>
                  </a:lnTo>
                  <a:lnTo>
                    <a:pt x="924" y="1982"/>
                  </a:lnTo>
                  <a:lnTo>
                    <a:pt x="919" y="1994"/>
                  </a:lnTo>
                  <a:lnTo>
                    <a:pt x="909" y="1994"/>
                  </a:lnTo>
                  <a:lnTo>
                    <a:pt x="906" y="2004"/>
                  </a:lnTo>
                  <a:lnTo>
                    <a:pt x="904" y="2006"/>
                  </a:lnTo>
                  <a:lnTo>
                    <a:pt x="895" y="2014"/>
                  </a:lnTo>
                  <a:lnTo>
                    <a:pt x="885" y="2020"/>
                  </a:lnTo>
                  <a:lnTo>
                    <a:pt x="878" y="2026"/>
                  </a:lnTo>
                  <a:lnTo>
                    <a:pt x="863" y="2028"/>
                  </a:lnTo>
                  <a:lnTo>
                    <a:pt x="861" y="2028"/>
                  </a:lnTo>
                  <a:lnTo>
                    <a:pt x="855" y="2025"/>
                  </a:lnTo>
                  <a:lnTo>
                    <a:pt x="848" y="2023"/>
                  </a:lnTo>
                  <a:lnTo>
                    <a:pt x="843" y="2032"/>
                  </a:lnTo>
                  <a:lnTo>
                    <a:pt x="833" y="2037"/>
                  </a:lnTo>
                  <a:lnTo>
                    <a:pt x="826" y="2030"/>
                  </a:lnTo>
                  <a:lnTo>
                    <a:pt x="824" y="2037"/>
                  </a:lnTo>
                  <a:lnTo>
                    <a:pt x="819" y="2038"/>
                  </a:lnTo>
                  <a:lnTo>
                    <a:pt x="824" y="2045"/>
                  </a:lnTo>
                  <a:lnTo>
                    <a:pt x="816" y="2047"/>
                  </a:lnTo>
                  <a:lnTo>
                    <a:pt x="810" y="2050"/>
                  </a:lnTo>
                  <a:lnTo>
                    <a:pt x="805" y="2043"/>
                  </a:lnTo>
                  <a:lnTo>
                    <a:pt x="795" y="2052"/>
                  </a:lnTo>
                  <a:lnTo>
                    <a:pt x="797" y="2060"/>
                  </a:lnTo>
                  <a:lnTo>
                    <a:pt x="793" y="2067"/>
                  </a:lnTo>
                  <a:lnTo>
                    <a:pt x="792" y="2072"/>
                  </a:lnTo>
                  <a:lnTo>
                    <a:pt x="793" y="2077"/>
                  </a:lnTo>
                  <a:lnTo>
                    <a:pt x="792" y="2088"/>
                  </a:lnTo>
                  <a:lnTo>
                    <a:pt x="790" y="2094"/>
                  </a:lnTo>
                  <a:lnTo>
                    <a:pt x="787" y="2100"/>
                  </a:lnTo>
                  <a:lnTo>
                    <a:pt x="771" y="2106"/>
                  </a:lnTo>
                  <a:lnTo>
                    <a:pt x="768" y="2098"/>
                  </a:lnTo>
                  <a:lnTo>
                    <a:pt x="763" y="2089"/>
                  </a:lnTo>
                  <a:lnTo>
                    <a:pt x="761" y="2077"/>
                  </a:lnTo>
                  <a:lnTo>
                    <a:pt x="763" y="2059"/>
                  </a:lnTo>
                  <a:lnTo>
                    <a:pt x="768" y="2055"/>
                  </a:lnTo>
                  <a:lnTo>
                    <a:pt x="763" y="2054"/>
                  </a:lnTo>
                  <a:lnTo>
                    <a:pt x="758" y="2043"/>
                  </a:lnTo>
                  <a:lnTo>
                    <a:pt x="756" y="2037"/>
                  </a:lnTo>
                  <a:lnTo>
                    <a:pt x="751" y="2030"/>
                  </a:lnTo>
                  <a:lnTo>
                    <a:pt x="749" y="2025"/>
                  </a:lnTo>
                  <a:lnTo>
                    <a:pt x="748" y="2025"/>
                  </a:lnTo>
                  <a:lnTo>
                    <a:pt x="746" y="2018"/>
                  </a:lnTo>
                  <a:lnTo>
                    <a:pt x="742" y="2004"/>
                  </a:lnTo>
                  <a:lnTo>
                    <a:pt x="765" y="1994"/>
                  </a:lnTo>
                  <a:lnTo>
                    <a:pt x="763" y="1989"/>
                  </a:lnTo>
                  <a:lnTo>
                    <a:pt x="766" y="1982"/>
                  </a:lnTo>
                  <a:lnTo>
                    <a:pt x="766" y="1975"/>
                  </a:lnTo>
                  <a:lnTo>
                    <a:pt x="761" y="1965"/>
                  </a:lnTo>
                  <a:lnTo>
                    <a:pt x="770" y="1960"/>
                  </a:lnTo>
                  <a:lnTo>
                    <a:pt x="771" y="1957"/>
                  </a:lnTo>
                  <a:lnTo>
                    <a:pt x="770" y="1950"/>
                  </a:lnTo>
                  <a:lnTo>
                    <a:pt x="765" y="1958"/>
                  </a:lnTo>
                  <a:lnTo>
                    <a:pt x="765" y="1946"/>
                  </a:lnTo>
                  <a:lnTo>
                    <a:pt x="759" y="1946"/>
                  </a:lnTo>
                  <a:lnTo>
                    <a:pt x="753" y="1940"/>
                  </a:lnTo>
                  <a:lnTo>
                    <a:pt x="749" y="1935"/>
                  </a:lnTo>
                  <a:lnTo>
                    <a:pt x="741" y="1931"/>
                  </a:lnTo>
                  <a:lnTo>
                    <a:pt x="732" y="1938"/>
                  </a:lnTo>
                  <a:lnTo>
                    <a:pt x="724" y="1929"/>
                  </a:lnTo>
                  <a:lnTo>
                    <a:pt x="722" y="1923"/>
                  </a:lnTo>
                  <a:lnTo>
                    <a:pt x="714" y="1918"/>
                  </a:lnTo>
                  <a:lnTo>
                    <a:pt x="710" y="1921"/>
                  </a:lnTo>
                  <a:lnTo>
                    <a:pt x="707" y="1918"/>
                  </a:lnTo>
                  <a:lnTo>
                    <a:pt x="712" y="1906"/>
                  </a:lnTo>
                  <a:lnTo>
                    <a:pt x="715" y="1890"/>
                  </a:lnTo>
                  <a:lnTo>
                    <a:pt x="705" y="1901"/>
                  </a:lnTo>
                  <a:lnTo>
                    <a:pt x="703" y="1904"/>
                  </a:lnTo>
                  <a:lnTo>
                    <a:pt x="693" y="1912"/>
                  </a:lnTo>
                  <a:lnTo>
                    <a:pt x="691" y="1902"/>
                  </a:lnTo>
                  <a:lnTo>
                    <a:pt x="680" y="1901"/>
                  </a:lnTo>
                  <a:lnTo>
                    <a:pt x="676" y="1904"/>
                  </a:lnTo>
                  <a:lnTo>
                    <a:pt x="671" y="1902"/>
                  </a:lnTo>
                  <a:lnTo>
                    <a:pt x="668" y="1899"/>
                  </a:lnTo>
                  <a:lnTo>
                    <a:pt x="663" y="1899"/>
                  </a:lnTo>
                  <a:lnTo>
                    <a:pt x="656" y="1895"/>
                  </a:lnTo>
                  <a:lnTo>
                    <a:pt x="647" y="1894"/>
                  </a:lnTo>
                  <a:lnTo>
                    <a:pt x="647" y="1882"/>
                  </a:lnTo>
                  <a:lnTo>
                    <a:pt x="652" y="1882"/>
                  </a:lnTo>
                  <a:lnTo>
                    <a:pt x="656" y="1877"/>
                  </a:lnTo>
                  <a:lnTo>
                    <a:pt x="663" y="1872"/>
                  </a:lnTo>
                  <a:lnTo>
                    <a:pt x="657" y="1865"/>
                  </a:lnTo>
                  <a:lnTo>
                    <a:pt x="666" y="1860"/>
                  </a:lnTo>
                  <a:lnTo>
                    <a:pt x="661" y="1851"/>
                  </a:lnTo>
                  <a:lnTo>
                    <a:pt x="657" y="1848"/>
                  </a:lnTo>
                  <a:lnTo>
                    <a:pt x="656" y="1839"/>
                  </a:lnTo>
                  <a:lnTo>
                    <a:pt x="661" y="1838"/>
                  </a:lnTo>
                  <a:lnTo>
                    <a:pt x="659" y="1827"/>
                  </a:lnTo>
                  <a:lnTo>
                    <a:pt x="666" y="1819"/>
                  </a:lnTo>
                  <a:lnTo>
                    <a:pt x="664" y="1812"/>
                  </a:lnTo>
                  <a:lnTo>
                    <a:pt x="656" y="1814"/>
                  </a:lnTo>
                  <a:lnTo>
                    <a:pt x="659" y="1807"/>
                  </a:lnTo>
                  <a:lnTo>
                    <a:pt x="664" y="1800"/>
                  </a:lnTo>
                  <a:lnTo>
                    <a:pt x="652" y="1798"/>
                  </a:lnTo>
                  <a:lnTo>
                    <a:pt x="649" y="1795"/>
                  </a:lnTo>
                  <a:lnTo>
                    <a:pt x="644" y="1797"/>
                  </a:lnTo>
                  <a:lnTo>
                    <a:pt x="647" y="1793"/>
                  </a:lnTo>
                  <a:lnTo>
                    <a:pt x="652" y="1785"/>
                  </a:lnTo>
                  <a:lnTo>
                    <a:pt x="654" y="1773"/>
                  </a:lnTo>
                  <a:lnTo>
                    <a:pt x="651" y="1764"/>
                  </a:lnTo>
                  <a:lnTo>
                    <a:pt x="647" y="1759"/>
                  </a:lnTo>
                  <a:lnTo>
                    <a:pt x="639" y="1756"/>
                  </a:lnTo>
                  <a:lnTo>
                    <a:pt x="639" y="1754"/>
                  </a:lnTo>
                  <a:lnTo>
                    <a:pt x="644" y="1747"/>
                  </a:lnTo>
                  <a:lnTo>
                    <a:pt x="647" y="1742"/>
                  </a:lnTo>
                  <a:lnTo>
                    <a:pt x="635" y="1736"/>
                  </a:lnTo>
                  <a:lnTo>
                    <a:pt x="630" y="1724"/>
                  </a:lnTo>
                  <a:lnTo>
                    <a:pt x="632" y="1713"/>
                  </a:lnTo>
                  <a:lnTo>
                    <a:pt x="632" y="1691"/>
                  </a:lnTo>
                  <a:lnTo>
                    <a:pt x="630" y="1688"/>
                  </a:lnTo>
                  <a:lnTo>
                    <a:pt x="622" y="1676"/>
                  </a:lnTo>
                  <a:lnTo>
                    <a:pt x="620" y="1671"/>
                  </a:lnTo>
                  <a:lnTo>
                    <a:pt x="623" y="1656"/>
                  </a:lnTo>
                  <a:lnTo>
                    <a:pt x="642" y="1645"/>
                  </a:lnTo>
                  <a:lnTo>
                    <a:pt x="627" y="1639"/>
                  </a:lnTo>
                  <a:lnTo>
                    <a:pt x="617" y="1632"/>
                  </a:lnTo>
                  <a:lnTo>
                    <a:pt x="615" y="1630"/>
                  </a:lnTo>
                  <a:lnTo>
                    <a:pt x="635" y="1625"/>
                  </a:lnTo>
                  <a:lnTo>
                    <a:pt x="635" y="1611"/>
                  </a:lnTo>
                  <a:lnTo>
                    <a:pt x="635" y="1603"/>
                  </a:lnTo>
                  <a:lnTo>
                    <a:pt x="635" y="1599"/>
                  </a:lnTo>
                  <a:lnTo>
                    <a:pt x="635" y="1593"/>
                  </a:lnTo>
                  <a:lnTo>
                    <a:pt x="627" y="1591"/>
                  </a:lnTo>
                  <a:lnTo>
                    <a:pt x="620" y="1588"/>
                  </a:lnTo>
                  <a:lnTo>
                    <a:pt x="612" y="1586"/>
                  </a:lnTo>
                  <a:lnTo>
                    <a:pt x="603" y="1579"/>
                  </a:lnTo>
                  <a:lnTo>
                    <a:pt x="596" y="1574"/>
                  </a:lnTo>
                  <a:lnTo>
                    <a:pt x="595" y="1572"/>
                  </a:lnTo>
                  <a:lnTo>
                    <a:pt x="595" y="1560"/>
                  </a:lnTo>
                  <a:lnTo>
                    <a:pt x="591" y="1555"/>
                  </a:lnTo>
                  <a:lnTo>
                    <a:pt x="588" y="1548"/>
                  </a:lnTo>
                  <a:lnTo>
                    <a:pt x="586" y="1545"/>
                  </a:lnTo>
                  <a:lnTo>
                    <a:pt x="559" y="1543"/>
                  </a:lnTo>
                  <a:lnTo>
                    <a:pt x="554" y="1533"/>
                  </a:lnTo>
                  <a:lnTo>
                    <a:pt x="549" y="1525"/>
                  </a:lnTo>
                  <a:lnTo>
                    <a:pt x="544" y="1518"/>
                  </a:lnTo>
                  <a:lnTo>
                    <a:pt x="538" y="1509"/>
                  </a:lnTo>
                  <a:lnTo>
                    <a:pt x="520" y="1513"/>
                  </a:lnTo>
                  <a:lnTo>
                    <a:pt x="518" y="1523"/>
                  </a:lnTo>
                  <a:lnTo>
                    <a:pt x="516" y="1531"/>
                  </a:lnTo>
                  <a:lnTo>
                    <a:pt x="515" y="1533"/>
                  </a:lnTo>
                  <a:lnTo>
                    <a:pt x="518" y="1538"/>
                  </a:lnTo>
                  <a:lnTo>
                    <a:pt x="521" y="1547"/>
                  </a:lnTo>
                  <a:lnTo>
                    <a:pt x="525" y="1555"/>
                  </a:lnTo>
                  <a:lnTo>
                    <a:pt x="520" y="1548"/>
                  </a:lnTo>
                  <a:lnTo>
                    <a:pt x="504" y="1530"/>
                  </a:lnTo>
                  <a:lnTo>
                    <a:pt x="489" y="1516"/>
                  </a:lnTo>
                  <a:lnTo>
                    <a:pt x="489" y="1518"/>
                  </a:lnTo>
                  <a:lnTo>
                    <a:pt x="494" y="1530"/>
                  </a:lnTo>
                  <a:lnTo>
                    <a:pt x="498" y="1535"/>
                  </a:lnTo>
                  <a:lnTo>
                    <a:pt x="494" y="1538"/>
                  </a:lnTo>
                  <a:lnTo>
                    <a:pt x="494" y="1540"/>
                  </a:lnTo>
                  <a:lnTo>
                    <a:pt x="486" y="1552"/>
                  </a:lnTo>
                  <a:lnTo>
                    <a:pt x="486" y="1571"/>
                  </a:lnTo>
                  <a:lnTo>
                    <a:pt x="481" y="1576"/>
                  </a:lnTo>
                  <a:lnTo>
                    <a:pt x="470" y="1593"/>
                  </a:lnTo>
                  <a:lnTo>
                    <a:pt x="460" y="1606"/>
                  </a:lnTo>
                  <a:lnTo>
                    <a:pt x="457" y="1611"/>
                  </a:lnTo>
                  <a:lnTo>
                    <a:pt x="453" y="1615"/>
                  </a:lnTo>
                  <a:lnTo>
                    <a:pt x="443" y="1610"/>
                  </a:lnTo>
                  <a:lnTo>
                    <a:pt x="440" y="1611"/>
                  </a:lnTo>
                  <a:lnTo>
                    <a:pt x="442" y="1616"/>
                  </a:lnTo>
                  <a:lnTo>
                    <a:pt x="431" y="1620"/>
                  </a:lnTo>
                  <a:lnTo>
                    <a:pt x="425" y="1615"/>
                  </a:lnTo>
                  <a:lnTo>
                    <a:pt x="419" y="1610"/>
                  </a:lnTo>
                  <a:lnTo>
                    <a:pt x="413" y="1605"/>
                  </a:lnTo>
                  <a:lnTo>
                    <a:pt x="409" y="1603"/>
                  </a:lnTo>
                  <a:lnTo>
                    <a:pt x="404" y="1601"/>
                  </a:lnTo>
                  <a:lnTo>
                    <a:pt x="391" y="1605"/>
                  </a:lnTo>
                  <a:lnTo>
                    <a:pt x="387" y="1613"/>
                  </a:lnTo>
                  <a:lnTo>
                    <a:pt x="387" y="1615"/>
                  </a:lnTo>
                  <a:lnTo>
                    <a:pt x="387" y="1635"/>
                  </a:lnTo>
                  <a:lnTo>
                    <a:pt x="387" y="1639"/>
                  </a:lnTo>
                  <a:lnTo>
                    <a:pt x="380" y="1637"/>
                  </a:lnTo>
                  <a:lnTo>
                    <a:pt x="372" y="1639"/>
                  </a:lnTo>
                  <a:lnTo>
                    <a:pt x="367" y="1640"/>
                  </a:lnTo>
                  <a:lnTo>
                    <a:pt x="357" y="1640"/>
                  </a:lnTo>
                  <a:lnTo>
                    <a:pt x="357" y="1647"/>
                  </a:lnTo>
                  <a:lnTo>
                    <a:pt x="365" y="1657"/>
                  </a:lnTo>
                  <a:lnTo>
                    <a:pt x="368" y="1664"/>
                  </a:lnTo>
                  <a:lnTo>
                    <a:pt x="358" y="1671"/>
                  </a:lnTo>
                  <a:lnTo>
                    <a:pt x="357" y="1671"/>
                  </a:lnTo>
                  <a:lnTo>
                    <a:pt x="351" y="1674"/>
                  </a:lnTo>
                  <a:lnTo>
                    <a:pt x="345" y="1679"/>
                  </a:lnTo>
                  <a:lnTo>
                    <a:pt x="338" y="1684"/>
                  </a:lnTo>
                  <a:lnTo>
                    <a:pt x="345" y="1708"/>
                  </a:lnTo>
                  <a:lnTo>
                    <a:pt x="331" y="1703"/>
                  </a:lnTo>
                  <a:lnTo>
                    <a:pt x="329" y="1701"/>
                  </a:lnTo>
                  <a:lnTo>
                    <a:pt x="324" y="1701"/>
                  </a:lnTo>
                  <a:lnTo>
                    <a:pt x="319" y="1693"/>
                  </a:lnTo>
                  <a:lnTo>
                    <a:pt x="316" y="1683"/>
                  </a:lnTo>
                  <a:lnTo>
                    <a:pt x="311" y="1678"/>
                  </a:lnTo>
                  <a:lnTo>
                    <a:pt x="312" y="1676"/>
                  </a:lnTo>
                  <a:lnTo>
                    <a:pt x="307" y="1667"/>
                  </a:lnTo>
                  <a:lnTo>
                    <a:pt x="306" y="1661"/>
                  </a:lnTo>
                  <a:lnTo>
                    <a:pt x="300" y="1656"/>
                  </a:lnTo>
                  <a:lnTo>
                    <a:pt x="299" y="1652"/>
                  </a:lnTo>
                  <a:lnTo>
                    <a:pt x="292" y="1644"/>
                  </a:lnTo>
                  <a:lnTo>
                    <a:pt x="285" y="1639"/>
                  </a:lnTo>
                  <a:lnTo>
                    <a:pt x="283" y="1632"/>
                  </a:lnTo>
                  <a:lnTo>
                    <a:pt x="278" y="1623"/>
                  </a:lnTo>
                  <a:lnTo>
                    <a:pt x="280" y="1620"/>
                  </a:lnTo>
                  <a:lnTo>
                    <a:pt x="273" y="1611"/>
                  </a:lnTo>
                  <a:lnTo>
                    <a:pt x="268" y="1601"/>
                  </a:lnTo>
                  <a:lnTo>
                    <a:pt x="266" y="1591"/>
                  </a:lnTo>
                  <a:lnTo>
                    <a:pt x="260" y="1582"/>
                  </a:lnTo>
                  <a:lnTo>
                    <a:pt x="256" y="1579"/>
                  </a:lnTo>
                  <a:lnTo>
                    <a:pt x="255" y="1577"/>
                  </a:lnTo>
                  <a:lnTo>
                    <a:pt x="253" y="1576"/>
                  </a:lnTo>
                  <a:lnTo>
                    <a:pt x="251" y="1567"/>
                  </a:lnTo>
                  <a:lnTo>
                    <a:pt x="243" y="1560"/>
                  </a:lnTo>
                  <a:lnTo>
                    <a:pt x="246" y="1554"/>
                  </a:lnTo>
                  <a:lnTo>
                    <a:pt x="238" y="1543"/>
                  </a:lnTo>
                  <a:lnTo>
                    <a:pt x="238" y="1536"/>
                  </a:lnTo>
                  <a:lnTo>
                    <a:pt x="229" y="1528"/>
                  </a:lnTo>
                  <a:lnTo>
                    <a:pt x="227" y="1528"/>
                  </a:lnTo>
                  <a:lnTo>
                    <a:pt x="222" y="1518"/>
                  </a:lnTo>
                  <a:lnTo>
                    <a:pt x="224" y="1516"/>
                  </a:lnTo>
                  <a:lnTo>
                    <a:pt x="222" y="1514"/>
                  </a:lnTo>
                  <a:lnTo>
                    <a:pt x="221" y="1511"/>
                  </a:lnTo>
                  <a:lnTo>
                    <a:pt x="215" y="1502"/>
                  </a:lnTo>
                  <a:lnTo>
                    <a:pt x="212" y="1499"/>
                  </a:lnTo>
                  <a:lnTo>
                    <a:pt x="212" y="1494"/>
                  </a:lnTo>
                  <a:lnTo>
                    <a:pt x="207" y="1491"/>
                  </a:lnTo>
                  <a:lnTo>
                    <a:pt x="204" y="1484"/>
                  </a:lnTo>
                  <a:lnTo>
                    <a:pt x="204" y="1479"/>
                  </a:lnTo>
                  <a:lnTo>
                    <a:pt x="204" y="1470"/>
                  </a:lnTo>
                  <a:lnTo>
                    <a:pt x="200" y="1463"/>
                  </a:lnTo>
                  <a:lnTo>
                    <a:pt x="195" y="1455"/>
                  </a:lnTo>
                  <a:lnTo>
                    <a:pt x="192" y="1445"/>
                  </a:lnTo>
                  <a:lnTo>
                    <a:pt x="192" y="1438"/>
                  </a:lnTo>
                  <a:lnTo>
                    <a:pt x="185" y="1431"/>
                  </a:lnTo>
                  <a:lnTo>
                    <a:pt x="181" y="1419"/>
                  </a:lnTo>
                  <a:lnTo>
                    <a:pt x="183" y="1417"/>
                  </a:lnTo>
                  <a:lnTo>
                    <a:pt x="180" y="1407"/>
                  </a:lnTo>
                  <a:lnTo>
                    <a:pt x="176" y="1397"/>
                  </a:lnTo>
                  <a:lnTo>
                    <a:pt x="176" y="1390"/>
                  </a:lnTo>
                  <a:lnTo>
                    <a:pt x="170" y="1380"/>
                  </a:lnTo>
                  <a:lnTo>
                    <a:pt x="166" y="1377"/>
                  </a:lnTo>
                  <a:lnTo>
                    <a:pt x="164" y="1368"/>
                  </a:lnTo>
                  <a:lnTo>
                    <a:pt x="161" y="1363"/>
                  </a:lnTo>
                  <a:lnTo>
                    <a:pt x="163" y="1360"/>
                  </a:lnTo>
                  <a:lnTo>
                    <a:pt x="159" y="1354"/>
                  </a:lnTo>
                  <a:lnTo>
                    <a:pt x="156" y="1344"/>
                  </a:lnTo>
                  <a:lnTo>
                    <a:pt x="156" y="1343"/>
                  </a:lnTo>
                  <a:lnTo>
                    <a:pt x="156" y="1341"/>
                  </a:lnTo>
                  <a:lnTo>
                    <a:pt x="156" y="1339"/>
                  </a:lnTo>
                  <a:lnTo>
                    <a:pt x="151" y="1329"/>
                  </a:lnTo>
                  <a:lnTo>
                    <a:pt x="151" y="1319"/>
                  </a:lnTo>
                  <a:lnTo>
                    <a:pt x="151" y="1317"/>
                  </a:lnTo>
                  <a:lnTo>
                    <a:pt x="151" y="1312"/>
                  </a:lnTo>
                  <a:lnTo>
                    <a:pt x="146" y="1302"/>
                  </a:lnTo>
                  <a:lnTo>
                    <a:pt x="146" y="1292"/>
                  </a:lnTo>
                  <a:lnTo>
                    <a:pt x="142" y="1288"/>
                  </a:lnTo>
                  <a:lnTo>
                    <a:pt x="137" y="1280"/>
                  </a:lnTo>
                  <a:lnTo>
                    <a:pt x="137" y="1275"/>
                  </a:lnTo>
                  <a:lnTo>
                    <a:pt x="136" y="1264"/>
                  </a:lnTo>
                  <a:lnTo>
                    <a:pt x="134" y="1263"/>
                  </a:lnTo>
                  <a:lnTo>
                    <a:pt x="132" y="1252"/>
                  </a:lnTo>
                  <a:lnTo>
                    <a:pt x="130" y="1247"/>
                  </a:lnTo>
                  <a:lnTo>
                    <a:pt x="130" y="1244"/>
                  </a:lnTo>
                  <a:lnTo>
                    <a:pt x="124" y="1237"/>
                  </a:lnTo>
                  <a:lnTo>
                    <a:pt x="124" y="1227"/>
                  </a:lnTo>
                  <a:lnTo>
                    <a:pt x="122" y="1223"/>
                  </a:lnTo>
                  <a:lnTo>
                    <a:pt x="115" y="1218"/>
                  </a:lnTo>
                  <a:lnTo>
                    <a:pt x="112" y="1212"/>
                  </a:lnTo>
                  <a:lnTo>
                    <a:pt x="107" y="1206"/>
                  </a:lnTo>
                  <a:lnTo>
                    <a:pt x="107" y="1203"/>
                  </a:lnTo>
                  <a:lnTo>
                    <a:pt x="105" y="1195"/>
                  </a:lnTo>
                  <a:lnTo>
                    <a:pt x="96" y="1184"/>
                  </a:lnTo>
                  <a:lnTo>
                    <a:pt x="98" y="1178"/>
                  </a:lnTo>
                  <a:lnTo>
                    <a:pt x="96" y="1172"/>
                  </a:lnTo>
                  <a:lnTo>
                    <a:pt x="93" y="1162"/>
                  </a:lnTo>
                  <a:lnTo>
                    <a:pt x="91" y="1157"/>
                  </a:lnTo>
                  <a:lnTo>
                    <a:pt x="91" y="1154"/>
                  </a:lnTo>
                  <a:lnTo>
                    <a:pt x="88" y="1149"/>
                  </a:lnTo>
                  <a:lnTo>
                    <a:pt x="83" y="1144"/>
                  </a:lnTo>
                  <a:lnTo>
                    <a:pt x="74" y="1140"/>
                  </a:lnTo>
                  <a:lnTo>
                    <a:pt x="69" y="1130"/>
                  </a:lnTo>
                  <a:lnTo>
                    <a:pt x="68" y="1128"/>
                  </a:lnTo>
                  <a:lnTo>
                    <a:pt x="68" y="1123"/>
                  </a:lnTo>
                  <a:lnTo>
                    <a:pt x="62" y="1120"/>
                  </a:lnTo>
                  <a:lnTo>
                    <a:pt x="59" y="1108"/>
                  </a:lnTo>
                  <a:lnTo>
                    <a:pt x="52" y="1103"/>
                  </a:lnTo>
                  <a:lnTo>
                    <a:pt x="40" y="1096"/>
                  </a:lnTo>
                  <a:lnTo>
                    <a:pt x="37" y="1094"/>
                  </a:lnTo>
                  <a:lnTo>
                    <a:pt x="37" y="1086"/>
                  </a:lnTo>
                  <a:lnTo>
                    <a:pt x="32" y="1081"/>
                  </a:lnTo>
                  <a:lnTo>
                    <a:pt x="32" y="1075"/>
                  </a:lnTo>
                  <a:lnTo>
                    <a:pt x="30" y="1067"/>
                  </a:lnTo>
                  <a:lnTo>
                    <a:pt x="27" y="1065"/>
                  </a:lnTo>
                  <a:lnTo>
                    <a:pt x="30" y="1055"/>
                  </a:lnTo>
                  <a:lnTo>
                    <a:pt x="20" y="1050"/>
                  </a:lnTo>
                  <a:lnTo>
                    <a:pt x="15" y="1040"/>
                  </a:lnTo>
                  <a:lnTo>
                    <a:pt x="13" y="1040"/>
                  </a:lnTo>
                  <a:lnTo>
                    <a:pt x="11" y="1038"/>
                  </a:lnTo>
                  <a:lnTo>
                    <a:pt x="6" y="1035"/>
                  </a:lnTo>
                  <a:lnTo>
                    <a:pt x="0" y="1030"/>
                  </a:lnTo>
                  <a:lnTo>
                    <a:pt x="1" y="1019"/>
                  </a:lnTo>
                  <a:lnTo>
                    <a:pt x="8" y="1013"/>
                  </a:lnTo>
                  <a:lnTo>
                    <a:pt x="20" y="1009"/>
                  </a:lnTo>
                  <a:lnTo>
                    <a:pt x="25" y="1007"/>
                  </a:lnTo>
                  <a:lnTo>
                    <a:pt x="37" y="1004"/>
                  </a:lnTo>
                  <a:lnTo>
                    <a:pt x="39" y="1004"/>
                  </a:lnTo>
                  <a:lnTo>
                    <a:pt x="44" y="996"/>
                  </a:lnTo>
                  <a:lnTo>
                    <a:pt x="51" y="990"/>
                  </a:lnTo>
                  <a:lnTo>
                    <a:pt x="57" y="987"/>
                  </a:lnTo>
                  <a:lnTo>
                    <a:pt x="62" y="989"/>
                  </a:lnTo>
                  <a:lnTo>
                    <a:pt x="64" y="994"/>
                  </a:lnTo>
                  <a:lnTo>
                    <a:pt x="73" y="994"/>
                  </a:lnTo>
                  <a:lnTo>
                    <a:pt x="78" y="985"/>
                  </a:lnTo>
                  <a:lnTo>
                    <a:pt x="85" y="980"/>
                  </a:lnTo>
                  <a:lnTo>
                    <a:pt x="83" y="970"/>
                  </a:lnTo>
                  <a:lnTo>
                    <a:pt x="83" y="967"/>
                  </a:lnTo>
                  <a:lnTo>
                    <a:pt x="91" y="960"/>
                  </a:lnTo>
                  <a:lnTo>
                    <a:pt x="93" y="958"/>
                  </a:lnTo>
                  <a:lnTo>
                    <a:pt x="88" y="955"/>
                  </a:lnTo>
                  <a:lnTo>
                    <a:pt x="86" y="948"/>
                  </a:lnTo>
                  <a:lnTo>
                    <a:pt x="79" y="943"/>
                  </a:lnTo>
                  <a:lnTo>
                    <a:pt x="79" y="934"/>
                  </a:lnTo>
                  <a:lnTo>
                    <a:pt x="85" y="931"/>
                  </a:lnTo>
                  <a:lnTo>
                    <a:pt x="91" y="936"/>
                  </a:lnTo>
                  <a:lnTo>
                    <a:pt x="98" y="934"/>
                  </a:lnTo>
                  <a:lnTo>
                    <a:pt x="98" y="928"/>
                  </a:lnTo>
                  <a:lnTo>
                    <a:pt x="93" y="921"/>
                  </a:lnTo>
                  <a:lnTo>
                    <a:pt x="95" y="919"/>
                  </a:lnTo>
                  <a:lnTo>
                    <a:pt x="107" y="919"/>
                  </a:lnTo>
                  <a:lnTo>
                    <a:pt x="100" y="910"/>
                  </a:lnTo>
                  <a:lnTo>
                    <a:pt x="100" y="907"/>
                  </a:lnTo>
                  <a:lnTo>
                    <a:pt x="110" y="910"/>
                  </a:lnTo>
                  <a:lnTo>
                    <a:pt x="115" y="909"/>
                  </a:lnTo>
                  <a:lnTo>
                    <a:pt x="115" y="897"/>
                  </a:lnTo>
                  <a:lnTo>
                    <a:pt x="113" y="887"/>
                  </a:lnTo>
                  <a:lnTo>
                    <a:pt x="119" y="882"/>
                  </a:lnTo>
                  <a:lnTo>
                    <a:pt x="132" y="882"/>
                  </a:lnTo>
                  <a:lnTo>
                    <a:pt x="137" y="878"/>
                  </a:lnTo>
                  <a:lnTo>
                    <a:pt x="144" y="882"/>
                  </a:lnTo>
                  <a:lnTo>
                    <a:pt x="149" y="876"/>
                  </a:lnTo>
                  <a:lnTo>
                    <a:pt x="158" y="875"/>
                  </a:lnTo>
                  <a:lnTo>
                    <a:pt x="164" y="871"/>
                  </a:lnTo>
                  <a:lnTo>
                    <a:pt x="170" y="873"/>
                  </a:lnTo>
                  <a:lnTo>
                    <a:pt x="176" y="880"/>
                  </a:lnTo>
                  <a:lnTo>
                    <a:pt x="180" y="887"/>
                  </a:lnTo>
                  <a:lnTo>
                    <a:pt x="190" y="888"/>
                  </a:lnTo>
                  <a:lnTo>
                    <a:pt x="193" y="890"/>
                  </a:lnTo>
                  <a:lnTo>
                    <a:pt x="195" y="897"/>
                  </a:lnTo>
                  <a:lnTo>
                    <a:pt x="193" y="902"/>
                  </a:lnTo>
                  <a:lnTo>
                    <a:pt x="192" y="910"/>
                  </a:lnTo>
                  <a:lnTo>
                    <a:pt x="190" y="916"/>
                  </a:lnTo>
                  <a:lnTo>
                    <a:pt x="193" y="922"/>
                  </a:lnTo>
                  <a:lnTo>
                    <a:pt x="198" y="928"/>
                  </a:lnTo>
                  <a:lnTo>
                    <a:pt x="210" y="926"/>
                  </a:lnTo>
                  <a:lnTo>
                    <a:pt x="215" y="928"/>
                  </a:lnTo>
                  <a:lnTo>
                    <a:pt x="224" y="922"/>
                  </a:lnTo>
                  <a:lnTo>
                    <a:pt x="229" y="922"/>
                  </a:lnTo>
                  <a:lnTo>
                    <a:pt x="236" y="929"/>
                  </a:lnTo>
                  <a:lnTo>
                    <a:pt x="238" y="934"/>
                  </a:lnTo>
                  <a:lnTo>
                    <a:pt x="243" y="941"/>
                  </a:lnTo>
                  <a:lnTo>
                    <a:pt x="241" y="948"/>
                  </a:lnTo>
                  <a:lnTo>
                    <a:pt x="248" y="956"/>
                  </a:lnTo>
                  <a:lnTo>
                    <a:pt x="249" y="962"/>
                  </a:lnTo>
                  <a:lnTo>
                    <a:pt x="249" y="968"/>
                  </a:lnTo>
                  <a:lnTo>
                    <a:pt x="243" y="979"/>
                  </a:lnTo>
                  <a:lnTo>
                    <a:pt x="232" y="979"/>
                  </a:lnTo>
                  <a:lnTo>
                    <a:pt x="229" y="989"/>
                  </a:lnTo>
                  <a:lnTo>
                    <a:pt x="231" y="994"/>
                  </a:lnTo>
                  <a:lnTo>
                    <a:pt x="238" y="997"/>
                  </a:lnTo>
                  <a:lnTo>
                    <a:pt x="239" y="1004"/>
                  </a:lnTo>
                  <a:lnTo>
                    <a:pt x="241" y="1014"/>
                  </a:lnTo>
                  <a:lnTo>
                    <a:pt x="249" y="1011"/>
                  </a:lnTo>
                  <a:lnTo>
                    <a:pt x="253" y="1014"/>
                  </a:lnTo>
                  <a:lnTo>
                    <a:pt x="251" y="1021"/>
                  </a:lnTo>
                  <a:lnTo>
                    <a:pt x="253" y="1026"/>
                  </a:lnTo>
                  <a:lnTo>
                    <a:pt x="253" y="1035"/>
                  </a:lnTo>
                  <a:lnTo>
                    <a:pt x="248" y="1041"/>
                  </a:lnTo>
                  <a:lnTo>
                    <a:pt x="248" y="1052"/>
                  </a:lnTo>
                  <a:lnTo>
                    <a:pt x="249" y="1053"/>
                  </a:lnTo>
                  <a:lnTo>
                    <a:pt x="261" y="1048"/>
                  </a:lnTo>
                  <a:lnTo>
                    <a:pt x="263" y="1050"/>
                  </a:lnTo>
                  <a:lnTo>
                    <a:pt x="268" y="1047"/>
                  </a:lnTo>
                  <a:lnTo>
                    <a:pt x="277" y="1048"/>
                  </a:lnTo>
                  <a:lnTo>
                    <a:pt x="282" y="1048"/>
                  </a:lnTo>
                  <a:lnTo>
                    <a:pt x="289" y="1045"/>
                  </a:lnTo>
                  <a:lnTo>
                    <a:pt x="297" y="1047"/>
                  </a:lnTo>
                  <a:lnTo>
                    <a:pt x="299" y="1052"/>
                  </a:lnTo>
                  <a:lnTo>
                    <a:pt x="299" y="1060"/>
                  </a:lnTo>
                  <a:lnTo>
                    <a:pt x="300" y="1064"/>
                  </a:lnTo>
                  <a:lnTo>
                    <a:pt x="309" y="1069"/>
                  </a:lnTo>
                  <a:lnTo>
                    <a:pt x="317" y="1065"/>
                  </a:lnTo>
                  <a:lnTo>
                    <a:pt x="323" y="1060"/>
                  </a:lnTo>
                  <a:lnTo>
                    <a:pt x="331" y="1064"/>
                  </a:lnTo>
                  <a:lnTo>
                    <a:pt x="334" y="1058"/>
                  </a:lnTo>
                  <a:lnTo>
                    <a:pt x="343" y="1064"/>
                  </a:lnTo>
                  <a:lnTo>
                    <a:pt x="353" y="1064"/>
                  </a:lnTo>
                  <a:lnTo>
                    <a:pt x="355" y="1065"/>
                  </a:lnTo>
                  <a:lnTo>
                    <a:pt x="362" y="1065"/>
                  </a:lnTo>
                  <a:lnTo>
                    <a:pt x="368" y="1065"/>
                  </a:lnTo>
                  <a:lnTo>
                    <a:pt x="375" y="1067"/>
                  </a:lnTo>
                  <a:lnTo>
                    <a:pt x="379" y="1065"/>
                  </a:lnTo>
                  <a:lnTo>
                    <a:pt x="384" y="1072"/>
                  </a:lnTo>
                  <a:lnTo>
                    <a:pt x="391" y="1070"/>
                  </a:lnTo>
                  <a:lnTo>
                    <a:pt x="397" y="1077"/>
                  </a:lnTo>
                  <a:lnTo>
                    <a:pt x="402" y="1082"/>
                  </a:lnTo>
                  <a:lnTo>
                    <a:pt x="402" y="1086"/>
                  </a:lnTo>
                  <a:lnTo>
                    <a:pt x="406" y="1087"/>
                  </a:lnTo>
                  <a:lnTo>
                    <a:pt x="411" y="1094"/>
                  </a:lnTo>
                  <a:lnTo>
                    <a:pt x="421" y="1094"/>
                  </a:lnTo>
                  <a:lnTo>
                    <a:pt x="425" y="1096"/>
                  </a:lnTo>
                  <a:lnTo>
                    <a:pt x="433" y="1101"/>
                  </a:lnTo>
                  <a:lnTo>
                    <a:pt x="442" y="1101"/>
                  </a:lnTo>
                  <a:lnTo>
                    <a:pt x="448" y="1106"/>
                  </a:lnTo>
                  <a:lnTo>
                    <a:pt x="455" y="1099"/>
                  </a:lnTo>
                  <a:lnTo>
                    <a:pt x="465" y="1101"/>
                  </a:lnTo>
                  <a:lnTo>
                    <a:pt x="467" y="1096"/>
                  </a:lnTo>
                  <a:lnTo>
                    <a:pt x="477" y="1098"/>
                  </a:lnTo>
                  <a:lnTo>
                    <a:pt x="491" y="1096"/>
                  </a:lnTo>
                  <a:lnTo>
                    <a:pt x="494" y="1099"/>
                  </a:lnTo>
                  <a:lnTo>
                    <a:pt x="504" y="1101"/>
                  </a:lnTo>
                  <a:lnTo>
                    <a:pt x="510" y="1101"/>
                  </a:lnTo>
                  <a:lnTo>
                    <a:pt x="515" y="1099"/>
                  </a:lnTo>
                  <a:lnTo>
                    <a:pt x="521" y="1098"/>
                  </a:lnTo>
                  <a:lnTo>
                    <a:pt x="532" y="1099"/>
                  </a:lnTo>
                  <a:lnTo>
                    <a:pt x="538" y="1093"/>
                  </a:lnTo>
                  <a:lnTo>
                    <a:pt x="547" y="1091"/>
                  </a:lnTo>
                  <a:lnTo>
                    <a:pt x="555" y="1089"/>
                  </a:lnTo>
                  <a:lnTo>
                    <a:pt x="562" y="1086"/>
                  </a:lnTo>
                  <a:lnTo>
                    <a:pt x="571" y="1087"/>
                  </a:lnTo>
                  <a:lnTo>
                    <a:pt x="578" y="1086"/>
                  </a:lnTo>
                  <a:lnTo>
                    <a:pt x="589" y="1084"/>
                  </a:lnTo>
                  <a:lnTo>
                    <a:pt x="595" y="1084"/>
                  </a:lnTo>
                  <a:lnTo>
                    <a:pt x="601" y="1087"/>
                  </a:lnTo>
                  <a:lnTo>
                    <a:pt x="613" y="1086"/>
                  </a:lnTo>
                  <a:lnTo>
                    <a:pt x="618" y="1087"/>
                  </a:lnTo>
                  <a:lnTo>
                    <a:pt x="622" y="1087"/>
                  </a:lnTo>
                  <a:lnTo>
                    <a:pt x="634" y="1089"/>
                  </a:lnTo>
                  <a:lnTo>
                    <a:pt x="642" y="1091"/>
                  </a:lnTo>
                  <a:lnTo>
                    <a:pt x="651" y="1094"/>
                  </a:lnTo>
                  <a:lnTo>
                    <a:pt x="656" y="1098"/>
                  </a:lnTo>
                  <a:lnTo>
                    <a:pt x="661" y="1110"/>
                  </a:lnTo>
                  <a:lnTo>
                    <a:pt x="669" y="1110"/>
                  </a:lnTo>
                  <a:lnTo>
                    <a:pt x="676" y="1116"/>
                  </a:lnTo>
                  <a:lnTo>
                    <a:pt x="683" y="1120"/>
                  </a:lnTo>
                  <a:lnTo>
                    <a:pt x="688" y="1120"/>
                  </a:lnTo>
                  <a:lnTo>
                    <a:pt x="698" y="1118"/>
                  </a:lnTo>
                  <a:lnTo>
                    <a:pt x="708" y="1115"/>
                  </a:lnTo>
                  <a:lnTo>
                    <a:pt x="715" y="1108"/>
                  </a:lnTo>
                  <a:lnTo>
                    <a:pt x="719" y="1104"/>
                  </a:lnTo>
                  <a:lnTo>
                    <a:pt x="722" y="1103"/>
                  </a:lnTo>
                  <a:lnTo>
                    <a:pt x="731" y="1104"/>
                  </a:lnTo>
                  <a:lnTo>
                    <a:pt x="736" y="1099"/>
                  </a:lnTo>
                  <a:lnTo>
                    <a:pt x="734" y="1096"/>
                  </a:lnTo>
                  <a:lnTo>
                    <a:pt x="725" y="1091"/>
                  </a:lnTo>
                  <a:lnTo>
                    <a:pt x="722" y="1082"/>
                  </a:lnTo>
                  <a:lnTo>
                    <a:pt x="720" y="1079"/>
                  </a:lnTo>
                  <a:lnTo>
                    <a:pt x="720" y="1077"/>
                  </a:lnTo>
                  <a:lnTo>
                    <a:pt x="725" y="1069"/>
                  </a:lnTo>
                  <a:lnTo>
                    <a:pt x="725" y="1064"/>
                  </a:lnTo>
                  <a:lnTo>
                    <a:pt x="729" y="1060"/>
                  </a:lnTo>
                  <a:lnTo>
                    <a:pt x="737" y="1057"/>
                  </a:lnTo>
                  <a:lnTo>
                    <a:pt x="749" y="1060"/>
                  </a:lnTo>
                  <a:lnTo>
                    <a:pt x="759" y="1057"/>
                  </a:lnTo>
                  <a:lnTo>
                    <a:pt x="763" y="1058"/>
                  </a:lnTo>
                  <a:lnTo>
                    <a:pt x="771" y="1053"/>
                  </a:lnTo>
                  <a:lnTo>
                    <a:pt x="780" y="1050"/>
                  </a:lnTo>
                  <a:lnTo>
                    <a:pt x="787" y="1043"/>
                  </a:lnTo>
                  <a:lnTo>
                    <a:pt x="788" y="1031"/>
                  </a:lnTo>
                  <a:lnTo>
                    <a:pt x="790" y="1030"/>
                  </a:lnTo>
                  <a:lnTo>
                    <a:pt x="790" y="1023"/>
                  </a:lnTo>
                  <a:lnTo>
                    <a:pt x="799" y="1018"/>
                  </a:lnTo>
                  <a:lnTo>
                    <a:pt x="802" y="1006"/>
                  </a:lnTo>
                  <a:lnTo>
                    <a:pt x="807" y="1002"/>
                  </a:lnTo>
                  <a:lnTo>
                    <a:pt x="812" y="1002"/>
                  </a:lnTo>
                  <a:lnTo>
                    <a:pt x="822" y="997"/>
                  </a:lnTo>
                  <a:lnTo>
                    <a:pt x="834" y="1004"/>
                  </a:lnTo>
                  <a:lnTo>
                    <a:pt x="834" y="1001"/>
                  </a:lnTo>
                  <a:lnTo>
                    <a:pt x="841" y="999"/>
                  </a:lnTo>
                  <a:lnTo>
                    <a:pt x="846" y="994"/>
                  </a:lnTo>
                  <a:lnTo>
                    <a:pt x="851" y="990"/>
                  </a:lnTo>
                  <a:lnTo>
                    <a:pt x="858" y="992"/>
                  </a:lnTo>
                  <a:lnTo>
                    <a:pt x="863" y="996"/>
                  </a:lnTo>
                  <a:lnTo>
                    <a:pt x="872" y="997"/>
                  </a:lnTo>
                  <a:lnTo>
                    <a:pt x="878" y="990"/>
                  </a:lnTo>
                  <a:lnTo>
                    <a:pt x="880" y="984"/>
                  </a:lnTo>
                  <a:lnTo>
                    <a:pt x="889" y="980"/>
                  </a:lnTo>
                  <a:lnTo>
                    <a:pt x="897" y="980"/>
                  </a:lnTo>
                  <a:lnTo>
                    <a:pt x="906" y="979"/>
                  </a:lnTo>
                  <a:lnTo>
                    <a:pt x="912" y="975"/>
                  </a:lnTo>
                  <a:lnTo>
                    <a:pt x="919" y="975"/>
                  </a:lnTo>
                  <a:lnTo>
                    <a:pt x="921" y="929"/>
                  </a:lnTo>
                  <a:lnTo>
                    <a:pt x="923" y="887"/>
                  </a:lnTo>
                  <a:lnTo>
                    <a:pt x="923" y="858"/>
                  </a:lnTo>
                  <a:lnTo>
                    <a:pt x="924" y="802"/>
                  </a:lnTo>
                  <a:lnTo>
                    <a:pt x="926" y="727"/>
                  </a:lnTo>
                  <a:lnTo>
                    <a:pt x="926" y="688"/>
                  </a:lnTo>
                  <a:lnTo>
                    <a:pt x="929" y="586"/>
                  </a:lnTo>
                  <a:lnTo>
                    <a:pt x="929" y="548"/>
                  </a:lnTo>
                  <a:lnTo>
                    <a:pt x="929" y="531"/>
                  </a:lnTo>
                  <a:lnTo>
                    <a:pt x="931" y="494"/>
                  </a:lnTo>
                  <a:lnTo>
                    <a:pt x="931" y="451"/>
                  </a:lnTo>
                  <a:lnTo>
                    <a:pt x="931" y="448"/>
                  </a:lnTo>
                  <a:lnTo>
                    <a:pt x="933" y="422"/>
                  </a:lnTo>
                  <a:lnTo>
                    <a:pt x="933" y="404"/>
                  </a:lnTo>
                  <a:lnTo>
                    <a:pt x="933" y="368"/>
                  </a:lnTo>
                  <a:lnTo>
                    <a:pt x="933" y="361"/>
                  </a:lnTo>
                  <a:lnTo>
                    <a:pt x="933" y="354"/>
                  </a:lnTo>
                  <a:lnTo>
                    <a:pt x="935" y="329"/>
                  </a:lnTo>
                  <a:lnTo>
                    <a:pt x="935" y="308"/>
                  </a:lnTo>
                  <a:lnTo>
                    <a:pt x="935" y="271"/>
                  </a:lnTo>
                  <a:lnTo>
                    <a:pt x="936" y="267"/>
                  </a:lnTo>
                  <a:lnTo>
                    <a:pt x="936" y="230"/>
                  </a:lnTo>
                  <a:lnTo>
                    <a:pt x="936" y="225"/>
                  </a:lnTo>
                  <a:lnTo>
                    <a:pt x="936" y="205"/>
                  </a:lnTo>
                  <a:lnTo>
                    <a:pt x="938" y="176"/>
                  </a:lnTo>
                  <a:lnTo>
                    <a:pt x="938" y="137"/>
                  </a:lnTo>
                  <a:lnTo>
                    <a:pt x="940" y="91"/>
                  </a:lnTo>
                  <a:lnTo>
                    <a:pt x="940" y="62"/>
                  </a:lnTo>
                  <a:lnTo>
                    <a:pt x="940" y="46"/>
                  </a:lnTo>
                  <a:lnTo>
                    <a:pt x="940" y="19"/>
                  </a:lnTo>
                  <a:lnTo>
                    <a:pt x="941" y="0"/>
                  </a:lnTo>
                  <a:lnTo>
                    <a:pt x="948" y="7"/>
                  </a:lnTo>
                  <a:lnTo>
                    <a:pt x="952" y="12"/>
                  </a:lnTo>
                  <a:lnTo>
                    <a:pt x="958" y="14"/>
                  </a:lnTo>
                  <a:lnTo>
                    <a:pt x="958" y="17"/>
                  </a:lnTo>
                  <a:lnTo>
                    <a:pt x="963" y="19"/>
                  </a:lnTo>
                  <a:lnTo>
                    <a:pt x="963" y="24"/>
                  </a:lnTo>
                  <a:lnTo>
                    <a:pt x="972" y="33"/>
                  </a:lnTo>
                  <a:lnTo>
                    <a:pt x="979" y="31"/>
                  </a:lnTo>
                  <a:lnTo>
                    <a:pt x="987" y="40"/>
                  </a:lnTo>
                  <a:lnTo>
                    <a:pt x="994" y="36"/>
                  </a:lnTo>
                  <a:lnTo>
                    <a:pt x="997" y="41"/>
                  </a:lnTo>
                  <a:lnTo>
                    <a:pt x="1008" y="43"/>
                  </a:lnTo>
                  <a:lnTo>
                    <a:pt x="1014" y="51"/>
                  </a:lnTo>
                  <a:lnTo>
                    <a:pt x="1018" y="58"/>
                  </a:lnTo>
                  <a:lnTo>
                    <a:pt x="1025" y="65"/>
                  </a:lnTo>
                  <a:lnTo>
                    <a:pt x="1031" y="65"/>
                  </a:lnTo>
                  <a:lnTo>
                    <a:pt x="1033" y="70"/>
                  </a:lnTo>
                  <a:lnTo>
                    <a:pt x="1040" y="72"/>
                  </a:lnTo>
                  <a:lnTo>
                    <a:pt x="1038" y="80"/>
                  </a:lnTo>
                  <a:lnTo>
                    <a:pt x="1047" y="85"/>
                  </a:lnTo>
                  <a:lnTo>
                    <a:pt x="1047" y="91"/>
                  </a:lnTo>
                  <a:lnTo>
                    <a:pt x="1052" y="94"/>
                  </a:lnTo>
                  <a:lnTo>
                    <a:pt x="1052" y="104"/>
                  </a:lnTo>
                  <a:lnTo>
                    <a:pt x="1060" y="106"/>
                  </a:lnTo>
                  <a:lnTo>
                    <a:pt x="1060" y="111"/>
                  </a:lnTo>
                  <a:lnTo>
                    <a:pt x="1055" y="116"/>
                  </a:lnTo>
                  <a:lnTo>
                    <a:pt x="1062" y="125"/>
                  </a:lnTo>
                  <a:lnTo>
                    <a:pt x="1069" y="125"/>
                  </a:lnTo>
                  <a:lnTo>
                    <a:pt x="1065" y="131"/>
                  </a:lnTo>
                  <a:lnTo>
                    <a:pt x="1069" y="137"/>
                  </a:lnTo>
                  <a:lnTo>
                    <a:pt x="1081" y="140"/>
                  </a:lnTo>
                  <a:lnTo>
                    <a:pt x="1072" y="148"/>
                  </a:lnTo>
                  <a:lnTo>
                    <a:pt x="1081" y="148"/>
                  </a:lnTo>
                  <a:lnTo>
                    <a:pt x="1079" y="155"/>
                  </a:lnTo>
                  <a:lnTo>
                    <a:pt x="1081" y="162"/>
                  </a:lnTo>
                  <a:lnTo>
                    <a:pt x="1084" y="167"/>
                  </a:lnTo>
                  <a:lnTo>
                    <a:pt x="1094" y="169"/>
                  </a:lnTo>
                  <a:lnTo>
                    <a:pt x="1094" y="177"/>
                  </a:lnTo>
                  <a:lnTo>
                    <a:pt x="1101" y="177"/>
                  </a:lnTo>
                  <a:lnTo>
                    <a:pt x="1098" y="182"/>
                  </a:lnTo>
                  <a:lnTo>
                    <a:pt x="1099" y="186"/>
                  </a:lnTo>
                  <a:lnTo>
                    <a:pt x="1110" y="182"/>
                  </a:lnTo>
                  <a:lnTo>
                    <a:pt x="1113" y="184"/>
                  </a:lnTo>
                  <a:lnTo>
                    <a:pt x="1111" y="188"/>
                  </a:lnTo>
                  <a:lnTo>
                    <a:pt x="1103" y="189"/>
                  </a:lnTo>
                  <a:lnTo>
                    <a:pt x="1105" y="196"/>
                  </a:lnTo>
                  <a:lnTo>
                    <a:pt x="1101" y="203"/>
                  </a:lnTo>
                  <a:lnTo>
                    <a:pt x="1111" y="210"/>
                  </a:lnTo>
                  <a:lnTo>
                    <a:pt x="1113" y="215"/>
                  </a:lnTo>
                  <a:lnTo>
                    <a:pt x="1118" y="220"/>
                  </a:lnTo>
                  <a:lnTo>
                    <a:pt x="1118" y="222"/>
                  </a:lnTo>
                  <a:lnTo>
                    <a:pt x="1110" y="225"/>
                  </a:lnTo>
                  <a:lnTo>
                    <a:pt x="1106" y="233"/>
                  </a:lnTo>
                  <a:lnTo>
                    <a:pt x="1115" y="232"/>
                  </a:lnTo>
                  <a:lnTo>
                    <a:pt x="1111" y="242"/>
                  </a:lnTo>
                  <a:lnTo>
                    <a:pt x="1113" y="247"/>
                  </a:lnTo>
                  <a:lnTo>
                    <a:pt x="1120" y="252"/>
                  </a:lnTo>
                  <a:lnTo>
                    <a:pt x="1123" y="254"/>
                  </a:lnTo>
                  <a:lnTo>
                    <a:pt x="1127" y="262"/>
                  </a:lnTo>
                  <a:lnTo>
                    <a:pt x="1127" y="269"/>
                  </a:lnTo>
                  <a:lnTo>
                    <a:pt x="1135" y="271"/>
                  </a:lnTo>
                  <a:lnTo>
                    <a:pt x="1135" y="273"/>
                  </a:lnTo>
                  <a:lnTo>
                    <a:pt x="1128" y="283"/>
                  </a:lnTo>
                  <a:lnTo>
                    <a:pt x="1132" y="283"/>
                  </a:lnTo>
                  <a:lnTo>
                    <a:pt x="1140" y="278"/>
                  </a:lnTo>
                  <a:lnTo>
                    <a:pt x="1140" y="286"/>
                  </a:lnTo>
                  <a:lnTo>
                    <a:pt x="1139" y="291"/>
                  </a:lnTo>
                  <a:lnTo>
                    <a:pt x="1147" y="295"/>
                  </a:lnTo>
                  <a:lnTo>
                    <a:pt x="1142" y="303"/>
                  </a:lnTo>
                  <a:lnTo>
                    <a:pt x="1144" y="308"/>
                  </a:lnTo>
                  <a:lnTo>
                    <a:pt x="1152" y="317"/>
                  </a:lnTo>
                  <a:lnTo>
                    <a:pt x="1154" y="319"/>
                  </a:lnTo>
                  <a:lnTo>
                    <a:pt x="1150" y="327"/>
                  </a:lnTo>
                  <a:lnTo>
                    <a:pt x="1147" y="330"/>
                  </a:lnTo>
                  <a:lnTo>
                    <a:pt x="1152" y="339"/>
                  </a:lnTo>
                  <a:lnTo>
                    <a:pt x="1147" y="346"/>
                  </a:lnTo>
                  <a:lnTo>
                    <a:pt x="1152" y="351"/>
                  </a:lnTo>
                  <a:lnTo>
                    <a:pt x="1147" y="358"/>
                  </a:lnTo>
                  <a:lnTo>
                    <a:pt x="1152" y="363"/>
                  </a:lnTo>
                  <a:lnTo>
                    <a:pt x="1159" y="364"/>
                  </a:lnTo>
                  <a:lnTo>
                    <a:pt x="1154" y="373"/>
                  </a:lnTo>
                  <a:lnTo>
                    <a:pt x="1147" y="378"/>
                  </a:lnTo>
                  <a:lnTo>
                    <a:pt x="1145" y="387"/>
                  </a:lnTo>
                  <a:lnTo>
                    <a:pt x="1142" y="395"/>
                  </a:lnTo>
                  <a:lnTo>
                    <a:pt x="1139" y="398"/>
                  </a:lnTo>
                  <a:lnTo>
                    <a:pt x="1139" y="402"/>
                  </a:lnTo>
                  <a:lnTo>
                    <a:pt x="1130" y="405"/>
                  </a:lnTo>
                  <a:lnTo>
                    <a:pt x="1127" y="414"/>
                  </a:lnTo>
                  <a:lnTo>
                    <a:pt x="1120" y="419"/>
                  </a:lnTo>
                  <a:lnTo>
                    <a:pt x="1113" y="427"/>
                  </a:lnTo>
                  <a:lnTo>
                    <a:pt x="1113" y="436"/>
                  </a:lnTo>
                  <a:lnTo>
                    <a:pt x="1108" y="436"/>
                  </a:lnTo>
                  <a:lnTo>
                    <a:pt x="1101" y="444"/>
                  </a:lnTo>
                  <a:lnTo>
                    <a:pt x="1093" y="448"/>
                  </a:lnTo>
                  <a:lnTo>
                    <a:pt x="1093" y="455"/>
                  </a:lnTo>
                  <a:lnTo>
                    <a:pt x="1091" y="463"/>
                  </a:lnTo>
                  <a:lnTo>
                    <a:pt x="1089" y="467"/>
                  </a:lnTo>
                  <a:lnTo>
                    <a:pt x="1089" y="472"/>
                  </a:lnTo>
                  <a:lnTo>
                    <a:pt x="1089" y="478"/>
                  </a:lnTo>
                  <a:lnTo>
                    <a:pt x="1096" y="487"/>
                  </a:lnTo>
                  <a:lnTo>
                    <a:pt x="1096" y="494"/>
                  </a:lnTo>
                  <a:lnTo>
                    <a:pt x="1094" y="501"/>
                  </a:lnTo>
                  <a:lnTo>
                    <a:pt x="1096" y="507"/>
                  </a:lnTo>
                  <a:lnTo>
                    <a:pt x="1091" y="512"/>
                  </a:lnTo>
                  <a:lnTo>
                    <a:pt x="1094" y="523"/>
                  </a:lnTo>
                  <a:lnTo>
                    <a:pt x="1093" y="529"/>
                  </a:lnTo>
                  <a:lnTo>
                    <a:pt x="1096" y="535"/>
                  </a:lnTo>
                  <a:lnTo>
                    <a:pt x="1091" y="540"/>
                  </a:lnTo>
                  <a:lnTo>
                    <a:pt x="1099" y="545"/>
                  </a:lnTo>
                  <a:lnTo>
                    <a:pt x="1098" y="550"/>
                  </a:lnTo>
                  <a:lnTo>
                    <a:pt x="1106" y="553"/>
                  </a:lnTo>
                  <a:lnTo>
                    <a:pt x="1105" y="558"/>
                  </a:lnTo>
                  <a:lnTo>
                    <a:pt x="1108" y="570"/>
                  </a:lnTo>
                  <a:lnTo>
                    <a:pt x="1110" y="569"/>
                  </a:lnTo>
                  <a:lnTo>
                    <a:pt x="1115" y="562"/>
                  </a:lnTo>
                  <a:lnTo>
                    <a:pt x="1128" y="560"/>
                  </a:lnTo>
                  <a:lnTo>
                    <a:pt x="1133" y="553"/>
                  </a:lnTo>
                  <a:lnTo>
                    <a:pt x="1142" y="553"/>
                  </a:lnTo>
                  <a:lnTo>
                    <a:pt x="1144" y="548"/>
                  </a:lnTo>
                  <a:lnTo>
                    <a:pt x="1149" y="548"/>
                  </a:lnTo>
                  <a:lnTo>
                    <a:pt x="1161" y="541"/>
                  </a:lnTo>
                  <a:lnTo>
                    <a:pt x="1164" y="541"/>
                  </a:lnTo>
                  <a:lnTo>
                    <a:pt x="1166" y="541"/>
                  </a:lnTo>
                  <a:lnTo>
                    <a:pt x="1176" y="546"/>
                  </a:lnTo>
                  <a:lnTo>
                    <a:pt x="1183" y="545"/>
                  </a:lnTo>
                  <a:lnTo>
                    <a:pt x="1186" y="550"/>
                  </a:lnTo>
                  <a:lnTo>
                    <a:pt x="1193" y="555"/>
                  </a:lnTo>
                  <a:lnTo>
                    <a:pt x="1205" y="557"/>
                  </a:lnTo>
                  <a:lnTo>
                    <a:pt x="1210" y="555"/>
                  </a:lnTo>
                  <a:lnTo>
                    <a:pt x="1220" y="558"/>
                  </a:lnTo>
                  <a:lnTo>
                    <a:pt x="1224" y="562"/>
                  </a:lnTo>
                  <a:lnTo>
                    <a:pt x="1235" y="560"/>
                  </a:lnTo>
                  <a:lnTo>
                    <a:pt x="1239" y="557"/>
                  </a:lnTo>
                  <a:lnTo>
                    <a:pt x="1247" y="555"/>
                  </a:lnTo>
                  <a:lnTo>
                    <a:pt x="1259" y="553"/>
                  </a:lnTo>
                  <a:lnTo>
                    <a:pt x="1268" y="555"/>
                  </a:lnTo>
                  <a:lnTo>
                    <a:pt x="1276" y="550"/>
                  </a:lnTo>
                  <a:lnTo>
                    <a:pt x="1288" y="550"/>
                  </a:lnTo>
                  <a:lnTo>
                    <a:pt x="1295" y="548"/>
                  </a:lnTo>
                  <a:lnTo>
                    <a:pt x="1305" y="550"/>
                  </a:lnTo>
                  <a:lnTo>
                    <a:pt x="1310" y="553"/>
                  </a:lnTo>
                  <a:lnTo>
                    <a:pt x="1315" y="553"/>
                  </a:lnTo>
                  <a:lnTo>
                    <a:pt x="1326" y="558"/>
                  </a:lnTo>
                  <a:lnTo>
                    <a:pt x="1331" y="553"/>
                  </a:lnTo>
                  <a:lnTo>
                    <a:pt x="1339" y="553"/>
                  </a:lnTo>
                  <a:lnTo>
                    <a:pt x="1346" y="555"/>
                  </a:lnTo>
                  <a:lnTo>
                    <a:pt x="1353" y="560"/>
                  </a:lnTo>
                  <a:lnTo>
                    <a:pt x="1361" y="560"/>
                  </a:lnTo>
                  <a:lnTo>
                    <a:pt x="1366" y="557"/>
                  </a:lnTo>
                  <a:lnTo>
                    <a:pt x="1371" y="558"/>
                  </a:lnTo>
                  <a:lnTo>
                    <a:pt x="1382" y="550"/>
                  </a:lnTo>
                  <a:lnTo>
                    <a:pt x="1388" y="546"/>
                  </a:lnTo>
                  <a:lnTo>
                    <a:pt x="1390" y="543"/>
                  </a:lnTo>
                  <a:lnTo>
                    <a:pt x="1394" y="543"/>
                  </a:lnTo>
                  <a:lnTo>
                    <a:pt x="1397" y="535"/>
                  </a:lnTo>
                  <a:lnTo>
                    <a:pt x="1394" y="529"/>
                  </a:lnTo>
                  <a:lnTo>
                    <a:pt x="1395" y="523"/>
                  </a:lnTo>
                  <a:lnTo>
                    <a:pt x="1390" y="514"/>
                  </a:lnTo>
                  <a:lnTo>
                    <a:pt x="1395" y="509"/>
                  </a:lnTo>
                  <a:lnTo>
                    <a:pt x="1405" y="506"/>
                  </a:lnTo>
                  <a:lnTo>
                    <a:pt x="1409" y="507"/>
                  </a:lnTo>
                  <a:lnTo>
                    <a:pt x="1421" y="507"/>
                  </a:lnTo>
                  <a:lnTo>
                    <a:pt x="1431" y="507"/>
                  </a:lnTo>
                  <a:lnTo>
                    <a:pt x="1438" y="507"/>
                  </a:lnTo>
                  <a:lnTo>
                    <a:pt x="1446" y="502"/>
                  </a:lnTo>
                  <a:lnTo>
                    <a:pt x="1451" y="502"/>
                  </a:lnTo>
                  <a:lnTo>
                    <a:pt x="1455" y="499"/>
                  </a:lnTo>
                  <a:lnTo>
                    <a:pt x="1465" y="499"/>
                  </a:lnTo>
                  <a:lnTo>
                    <a:pt x="1468" y="492"/>
                  </a:lnTo>
                  <a:lnTo>
                    <a:pt x="1472" y="484"/>
                  </a:lnTo>
                  <a:lnTo>
                    <a:pt x="1480" y="475"/>
                  </a:lnTo>
                  <a:lnTo>
                    <a:pt x="1485" y="475"/>
                  </a:lnTo>
                  <a:lnTo>
                    <a:pt x="1487" y="468"/>
                  </a:lnTo>
                  <a:lnTo>
                    <a:pt x="1494" y="465"/>
                  </a:lnTo>
                  <a:lnTo>
                    <a:pt x="1494" y="458"/>
                  </a:lnTo>
                  <a:lnTo>
                    <a:pt x="1499" y="455"/>
                  </a:lnTo>
                  <a:lnTo>
                    <a:pt x="1499" y="446"/>
                  </a:lnTo>
                  <a:lnTo>
                    <a:pt x="1504" y="443"/>
                  </a:lnTo>
                  <a:lnTo>
                    <a:pt x="1502" y="436"/>
                  </a:lnTo>
                  <a:lnTo>
                    <a:pt x="1502" y="434"/>
                  </a:lnTo>
                  <a:lnTo>
                    <a:pt x="1507" y="432"/>
                  </a:lnTo>
                  <a:lnTo>
                    <a:pt x="1514" y="427"/>
                  </a:lnTo>
                  <a:lnTo>
                    <a:pt x="1516" y="422"/>
                  </a:lnTo>
                  <a:lnTo>
                    <a:pt x="1528" y="421"/>
                  </a:lnTo>
                  <a:lnTo>
                    <a:pt x="1533" y="421"/>
                  </a:lnTo>
                  <a:lnTo>
                    <a:pt x="1538" y="415"/>
                  </a:lnTo>
                  <a:lnTo>
                    <a:pt x="1547" y="415"/>
                  </a:lnTo>
                  <a:lnTo>
                    <a:pt x="1548" y="405"/>
                  </a:lnTo>
                  <a:lnTo>
                    <a:pt x="1558" y="402"/>
                  </a:lnTo>
                  <a:lnTo>
                    <a:pt x="1557" y="395"/>
                  </a:lnTo>
                  <a:lnTo>
                    <a:pt x="1564" y="390"/>
                  </a:lnTo>
                  <a:lnTo>
                    <a:pt x="1572" y="390"/>
                  </a:lnTo>
                  <a:lnTo>
                    <a:pt x="1577" y="383"/>
                  </a:lnTo>
                  <a:lnTo>
                    <a:pt x="1587" y="387"/>
                  </a:lnTo>
                  <a:lnTo>
                    <a:pt x="1591" y="390"/>
                  </a:lnTo>
                  <a:lnTo>
                    <a:pt x="1598" y="390"/>
                  </a:lnTo>
                  <a:lnTo>
                    <a:pt x="1604" y="380"/>
                  </a:lnTo>
                  <a:lnTo>
                    <a:pt x="1604" y="370"/>
                  </a:lnTo>
                  <a:lnTo>
                    <a:pt x="1604" y="368"/>
                  </a:lnTo>
                  <a:lnTo>
                    <a:pt x="1609" y="370"/>
                  </a:lnTo>
                  <a:lnTo>
                    <a:pt x="1613" y="364"/>
                  </a:lnTo>
                  <a:lnTo>
                    <a:pt x="161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7" name="Freeform 16">
              <a:extLst>
                <a:ext uri="{FF2B5EF4-FFF2-40B4-BE49-F238E27FC236}">
                  <a16:creationId xmlns:a16="http://schemas.microsoft.com/office/drawing/2014/main" id="{0BF76C25-A7BF-442F-BAB5-98F901D9AB99}"/>
                </a:ext>
              </a:extLst>
            </p:cNvPr>
            <p:cNvSpPr>
              <a:spLocks noEditPoints="1"/>
            </p:cNvSpPr>
            <p:nvPr/>
          </p:nvSpPr>
          <p:spPr bwMode="gray">
            <a:xfrm>
              <a:off x="2882900" y="4125913"/>
              <a:ext cx="2633662" cy="1860550"/>
            </a:xfrm>
            <a:custGeom>
              <a:avLst/>
              <a:gdLst>
                <a:gd name="T0" fmla="*/ 1630 w 1659"/>
                <a:gd name="T1" fmla="*/ 393 h 1172"/>
                <a:gd name="T2" fmla="*/ 1636 w 1659"/>
                <a:gd name="T3" fmla="*/ 451 h 1172"/>
                <a:gd name="T4" fmla="*/ 1540 w 1659"/>
                <a:gd name="T5" fmla="*/ 465 h 1172"/>
                <a:gd name="T6" fmla="*/ 1447 w 1659"/>
                <a:gd name="T7" fmla="*/ 521 h 1172"/>
                <a:gd name="T8" fmla="*/ 1410 w 1659"/>
                <a:gd name="T9" fmla="*/ 597 h 1172"/>
                <a:gd name="T10" fmla="*/ 1338 w 1659"/>
                <a:gd name="T11" fmla="*/ 650 h 1172"/>
                <a:gd name="T12" fmla="*/ 1275 w 1659"/>
                <a:gd name="T13" fmla="*/ 771 h 1172"/>
                <a:gd name="T14" fmla="*/ 1425 w 1659"/>
                <a:gd name="T15" fmla="*/ 807 h 1172"/>
                <a:gd name="T16" fmla="*/ 1501 w 1659"/>
                <a:gd name="T17" fmla="*/ 858 h 1172"/>
                <a:gd name="T18" fmla="*/ 1454 w 1659"/>
                <a:gd name="T19" fmla="*/ 895 h 1172"/>
                <a:gd name="T20" fmla="*/ 1462 w 1659"/>
                <a:gd name="T21" fmla="*/ 949 h 1172"/>
                <a:gd name="T22" fmla="*/ 1369 w 1659"/>
                <a:gd name="T23" fmla="*/ 972 h 1172"/>
                <a:gd name="T24" fmla="*/ 1241 w 1659"/>
                <a:gd name="T25" fmla="*/ 953 h 1172"/>
                <a:gd name="T26" fmla="*/ 1121 w 1659"/>
                <a:gd name="T27" fmla="*/ 968 h 1172"/>
                <a:gd name="T28" fmla="*/ 1046 w 1659"/>
                <a:gd name="T29" fmla="*/ 1023 h 1172"/>
                <a:gd name="T30" fmla="*/ 959 w 1659"/>
                <a:gd name="T31" fmla="*/ 1046 h 1172"/>
                <a:gd name="T32" fmla="*/ 857 w 1659"/>
                <a:gd name="T33" fmla="*/ 1055 h 1172"/>
                <a:gd name="T34" fmla="*/ 765 w 1659"/>
                <a:gd name="T35" fmla="*/ 1075 h 1172"/>
                <a:gd name="T36" fmla="*/ 643 w 1659"/>
                <a:gd name="T37" fmla="*/ 1108 h 1172"/>
                <a:gd name="T38" fmla="*/ 543 w 1659"/>
                <a:gd name="T39" fmla="*/ 1171 h 1172"/>
                <a:gd name="T40" fmla="*/ 444 w 1659"/>
                <a:gd name="T41" fmla="*/ 1143 h 1172"/>
                <a:gd name="T42" fmla="*/ 395 w 1659"/>
                <a:gd name="T43" fmla="*/ 1094 h 1172"/>
                <a:gd name="T44" fmla="*/ 291 w 1659"/>
                <a:gd name="T45" fmla="*/ 1046 h 1172"/>
                <a:gd name="T46" fmla="*/ 254 w 1659"/>
                <a:gd name="T47" fmla="*/ 1001 h 1172"/>
                <a:gd name="T48" fmla="*/ 157 w 1659"/>
                <a:gd name="T49" fmla="*/ 985 h 1172"/>
                <a:gd name="T50" fmla="*/ 141 w 1659"/>
                <a:gd name="T51" fmla="*/ 1018 h 1172"/>
                <a:gd name="T52" fmla="*/ 143 w 1659"/>
                <a:gd name="T53" fmla="*/ 929 h 1172"/>
                <a:gd name="T54" fmla="*/ 158 w 1659"/>
                <a:gd name="T55" fmla="*/ 864 h 1172"/>
                <a:gd name="T56" fmla="*/ 87 w 1659"/>
                <a:gd name="T57" fmla="*/ 778 h 1172"/>
                <a:gd name="T58" fmla="*/ 46 w 1659"/>
                <a:gd name="T59" fmla="*/ 710 h 1172"/>
                <a:gd name="T60" fmla="*/ 63 w 1659"/>
                <a:gd name="T61" fmla="*/ 698 h 1172"/>
                <a:gd name="T62" fmla="*/ 22 w 1659"/>
                <a:gd name="T63" fmla="*/ 665 h 1172"/>
                <a:gd name="T64" fmla="*/ 56 w 1659"/>
                <a:gd name="T65" fmla="*/ 618 h 1172"/>
                <a:gd name="T66" fmla="*/ 138 w 1659"/>
                <a:gd name="T67" fmla="*/ 560 h 1172"/>
                <a:gd name="T68" fmla="*/ 135 w 1659"/>
                <a:gd name="T69" fmla="*/ 448 h 1172"/>
                <a:gd name="T70" fmla="*/ 116 w 1659"/>
                <a:gd name="T71" fmla="*/ 354 h 1172"/>
                <a:gd name="T72" fmla="*/ 63 w 1659"/>
                <a:gd name="T73" fmla="*/ 278 h 1172"/>
                <a:gd name="T74" fmla="*/ 5 w 1659"/>
                <a:gd name="T75" fmla="*/ 192 h 1172"/>
                <a:gd name="T76" fmla="*/ 63 w 1659"/>
                <a:gd name="T77" fmla="*/ 126 h 1172"/>
                <a:gd name="T78" fmla="*/ 146 w 1659"/>
                <a:gd name="T79" fmla="*/ 84 h 1172"/>
                <a:gd name="T80" fmla="*/ 192 w 1659"/>
                <a:gd name="T81" fmla="*/ 22 h 1172"/>
                <a:gd name="T82" fmla="*/ 296 w 1659"/>
                <a:gd name="T83" fmla="*/ 79 h 1172"/>
                <a:gd name="T84" fmla="*/ 308 w 1659"/>
                <a:gd name="T85" fmla="*/ 204 h 1172"/>
                <a:gd name="T86" fmla="*/ 335 w 1659"/>
                <a:gd name="T87" fmla="*/ 298 h 1172"/>
                <a:gd name="T88" fmla="*/ 332 w 1659"/>
                <a:gd name="T89" fmla="*/ 386 h 1172"/>
                <a:gd name="T90" fmla="*/ 400 w 1659"/>
                <a:gd name="T91" fmla="*/ 420 h 1172"/>
                <a:gd name="T92" fmla="*/ 418 w 1659"/>
                <a:gd name="T93" fmla="*/ 495 h 1172"/>
                <a:gd name="T94" fmla="*/ 468 w 1659"/>
                <a:gd name="T95" fmla="*/ 579 h 1172"/>
                <a:gd name="T96" fmla="*/ 531 w 1659"/>
                <a:gd name="T97" fmla="*/ 516 h 1172"/>
                <a:gd name="T98" fmla="*/ 634 w 1659"/>
                <a:gd name="T99" fmla="*/ 492 h 1172"/>
                <a:gd name="T100" fmla="*/ 617 w 1659"/>
                <a:gd name="T101" fmla="*/ 601 h 1172"/>
                <a:gd name="T102" fmla="*/ 718 w 1659"/>
                <a:gd name="T103" fmla="*/ 669 h 1172"/>
                <a:gd name="T104" fmla="*/ 816 w 1659"/>
                <a:gd name="T105" fmla="*/ 587 h 1172"/>
                <a:gd name="T106" fmla="*/ 937 w 1659"/>
                <a:gd name="T107" fmla="*/ 517 h 1172"/>
                <a:gd name="T108" fmla="*/ 1020 w 1659"/>
                <a:gd name="T109" fmla="*/ 478 h 1172"/>
                <a:gd name="T110" fmla="*/ 1109 w 1659"/>
                <a:gd name="T111" fmla="*/ 456 h 1172"/>
                <a:gd name="T112" fmla="*/ 1131 w 1659"/>
                <a:gd name="T113" fmla="*/ 368 h 1172"/>
                <a:gd name="T114" fmla="*/ 1248 w 1659"/>
                <a:gd name="T115" fmla="*/ 344 h 1172"/>
                <a:gd name="T116" fmla="*/ 1347 w 1659"/>
                <a:gd name="T117" fmla="*/ 383 h 1172"/>
                <a:gd name="T118" fmla="*/ 1425 w 1659"/>
                <a:gd name="T119" fmla="*/ 346 h 1172"/>
                <a:gd name="T120" fmla="*/ 1537 w 1659"/>
                <a:gd name="T121" fmla="*/ 325 h 1172"/>
                <a:gd name="T122" fmla="*/ 1596 w 1659"/>
                <a:gd name="T123" fmla="*/ 342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9" h="1172">
                  <a:moveTo>
                    <a:pt x="143" y="895"/>
                  </a:moveTo>
                  <a:lnTo>
                    <a:pt x="145" y="900"/>
                  </a:lnTo>
                  <a:lnTo>
                    <a:pt x="141" y="902"/>
                  </a:lnTo>
                  <a:lnTo>
                    <a:pt x="138" y="897"/>
                  </a:lnTo>
                  <a:lnTo>
                    <a:pt x="143" y="895"/>
                  </a:lnTo>
                  <a:close/>
                  <a:moveTo>
                    <a:pt x="70" y="795"/>
                  </a:moveTo>
                  <a:lnTo>
                    <a:pt x="75" y="798"/>
                  </a:lnTo>
                  <a:lnTo>
                    <a:pt x="70" y="800"/>
                  </a:lnTo>
                  <a:lnTo>
                    <a:pt x="70" y="795"/>
                  </a:lnTo>
                  <a:close/>
                  <a:moveTo>
                    <a:pt x="1642" y="361"/>
                  </a:moveTo>
                  <a:lnTo>
                    <a:pt x="1651" y="368"/>
                  </a:lnTo>
                  <a:lnTo>
                    <a:pt x="1644" y="371"/>
                  </a:lnTo>
                  <a:lnTo>
                    <a:pt x="1642" y="380"/>
                  </a:lnTo>
                  <a:lnTo>
                    <a:pt x="1636" y="376"/>
                  </a:lnTo>
                  <a:lnTo>
                    <a:pt x="1630" y="388"/>
                  </a:lnTo>
                  <a:lnTo>
                    <a:pt x="1630" y="393"/>
                  </a:lnTo>
                  <a:lnTo>
                    <a:pt x="1641" y="390"/>
                  </a:lnTo>
                  <a:lnTo>
                    <a:pt x="1646" y="392"/>
                  </a:lnTo>
                  <a:lnTo>
                    <a:pt x="1653" y="397"/>
                  </a:lnTo>
                  <a:lnTo>
                    <a:pt x="1651" y="400"/>
                  </a:lnTo>
                  <a:lnTo>
                    <a:pt x="1659" y="405"/>
                  </a:lnTo>
                  <a:lnTo>
                    <a:pt x="1654" y="412"/>
                  </a:lnTo>
                  <a:lnTo>
                    <a:pt x="1649" y="417"/>
                  </a:lnTo>
                  <a:lnTo>
                    <a:pt x="1651" y="420"/>
                  </a:lnTo>
                  <a:lnTo>
                    <a:pt x="1637" y="420"/>
                  </a:lnTo>
                  <a:lnTo>
                    <a:pt x="1634" y="429"/>
                  </a:lnTo>
                  <a:lnTo>
                    <a:pt x="1637" y="431"/>
                  </a:lnTo>
                  <a:lnTo>
                    <a:pt x="1627" y="436"/>
                  </a:lnTo>
                  <a:lnTo>
                    <a:pt x="1625" y="448"/>
                  </a:lnTo>
                  <a:lnTo>
                    <a:pt x="1629" y="441"/>
                  </a:lnTo>
                  <a:lnTo>
                    <a:pt x="1636" y="444"/>
                  </a:lnTo>
                  <a:lnTo>
                    <a:pt x="1636" y="451"/>
                  </a:lnTo>
                  <a:lnTo>
                    <a:pt x="1627" y="458"/>
                  </a:lnTo>
                  <a:lnTo>
                    <a:pt x="1629" y="458"/>
                  </a:lnTo>
                  <a:lnTo>
                    <a:pt x="1625" y="461"/>
                  </a:lnTo>
                  <a:lnTo>
                    <a:pt x="1619" y="460"/>
                  </a:lnTo>
                  <a:lnTo>
                    <a:pt x="1610" y="460"/>
                  </a:lnTo>
                  <a:lnTo>
                    <a:pt x="1612" y="466"/>
                  </a:lnTo>
                  <a:lnTo>
                    <a:pt x="1608" y="470"/>
                  </a:lnTo>
                  <a:lnTo>
                    <a:pt x="1596" y="470"/>
                  </a:lnTo>
                  <a:lnTo>
                    <a:pt x="1590" y="473"/>
                  </a:lnTo>
                  <a:lnTo>
                    <a:pt x="1583" y="480"/>
                  </a:lnTo>
                  <a:lnTo>
                    <a:pt x="1571" y="485"/>
                  </a:lnTo>
                  <a:lnTo>
                    <a:pt x="1561" y="482"/>
                  </a:lnTo>
                  <a:lnTo>
                    <a:pt x="1557" y="480"/>
                  </a:lnTo>
                  <a:lnTo>
                    <a:pt x="1552" y="473"/>
                  </a:lnTo>
                  <a:lnTo>
                    <a:pt x="1547" y="470"/>
                  </a:lnTo>
                  <a:lnTo>
                    <a:pt x="1540" y="465"/>
                  </a:lnTo>
                  <a:lnTo>
                    <a:pt x="1535" y="471"/>
                  </a:lnTo>
                  <a:lnTo>
                    <a:pt x="1525" y="477"/>
                  </a:lnTo>
                  <a:lnTo>
                    <a:pt x="1520" y="480"/>
                  </a:lnTo>
                  <a:lnTo>
                    <a:pt x="1515" y="482"/>
                  </a:lnTo>
                  <a:lnTo>
                    <a:pt x="1512" y="488"/>
                  </a:lnTo>
                  <a:lnTo>
                    <a:pt x="1508" y="497"/>
                  </a:lnTo>
                  <a:lnTo>
                    <a:pt x="1517" y="505"/>
                  </a:lnTo>
                  <a:lnTo>
                    <a:pt x="1513" y="509"/>
                  </a:lnTo>
                  <a:lnTo>
                    <a:pt x="1512" y="509"/>
                  </a:lnTo>
                  <a:lnTo>
                    <a:pt x="1495" y="509"/>
                  </a:lnTo>
                  <a:lnTo>
                    <a:pt x="1484" y="507"/>
                  </a:lnTo>
                  <a:lnTo>
                    <a:pt x="1476" y="505"/>
                  </a:lnTo>
                  <a:lnTo>
                    <a:pt x="1471" y="505"/>
                  </a:lnTo>
                  <a:lnTo>
                    <a:pt x="1457" y="504"/>
                  </a:lnTo>
                  <a:lnTo>
                    <a:pt x="1450" y="512"/>
                  </a:lnTo>
                  <a:lnTo>
                    <a:pt x="1447" y="521"/>
                  </a:lnTo>
                  <a:lnTo>
                    <a:pt x="1442" y="519"/>
                  </a:lnTo>
                  <a:lnTo>
                    <a:pt x="1432" y="514"/>
                  </a:lnTo>
                  <a:lnTo>
                    <a:pt x="1427" y="511"/>
                  </a:lnTo>
                  <a:lnTo>
                    <a:pt x="1423" y="519"/>
                  </a:lnTo>
                  <a:lnTo>
                    <a:pt x="1420" y="523"/>
                  </a:lnTo>
                  <a:lnTo>
                    <a:pt x="1411" y="524"/>
                  </a:lnTo>
                  <a:lnTo>
                    <a:pt x="1398" y="531"/>
                  </a:lnTo>
                  <a:lnTo>
                    <a:pt x="1404" y="541"/>
                  </a:lnTo>
                  <a:lnTo>
                    <a:pt x="1404" y="545"/>
                  </a:lnTo>
                  <a:lnTo>
                    <a:pt x="1403" y="555"/>
                  </a:lnTo>
                  <a:lnTo>
                    <a:pt x="1413" y="565"/>
                  </a:lnTo>
                  <a:lnTo>
                    <a:pt x="1416" y="572"/>
                  </a:lnTo>
                  <a:lnTo>
                    <a:pt x="1418" y="580"/>
                  </a:lnTo>
                  <a:lnTo>
                    <a:pt x="1416" y="591"/>
                  </a:lnTo>
                  <a:lnTo>
                    <a:pt x="1408" y="596"/>
                  </a:lnTo>
                  <a:lnTo>
                    <a:pt x="1410" y="597"/>
                  </a:lnTo>
                  <a:lnTo>
                    <a:pt x="1423" y="606"/>
                  </a:lnTo>
                  <a:lnTo>
                    <a:pt x="1428" y="613"/>
                  </a:lnTo>
                  <a:lnTo>
                    <a:pt x="1428" y="621"/>
                  </a:lnTo>
                  <a:lnTo>
                    <a:pt x="1440" y="621"/>
                  </a:lnTo>
                  <a:lnTo>
                    <a:pt x="1435" y="638"/>
                  </a:lnTo>
                  <a:lnTo>
                    <a:pt x="1416" y="633"/>
                  </a:lnTo>
                  <a:lnTo>
                    <a:pt x="1403" y="628"/>
                  </a:lnTo>
                  <a:lnTo>
                    <a:pt x="1389" y="626"/>
                  </a:lnTo>
                  <a:lnTo>
                    <a:pt x="1386" y="621"/>
                  </a:lnTo>
                  <a:lnTo>
                    <a:pt x="1376" y="621"/>
                  </a:lnTo>
                  <a:lnTo>
                    <a:pt x="1360" y="630"/>
                  </a:lnTo>
                  <a:lnTo>
                    <a:pt x="1360" y="631"/>
                  </a:lnTo>
                  <a:lnTo>
                    <a:pt x="1367" y="645"/>
                  </a:lnTo>
                  <a:lnTo>
                    <a:pt x="1367" y="647"/>
                  </a:lnTo>
                  <a:lnTo>
                    <a:pt x="1362" y="650"/>
                  </a:lnTo>
                  <a:lnTo>
                    <a:pt x="1338" y="650"/>
                  </a:lnTo>
                  <a:lnTo>
                    <a:pt x="1338" y="657"/>
                  </a:lnTo>
                  <a:lnTo>
                    <a:pt x="1323" y="670"/>
                  </a:lnTo>
                  <a:lnTo>
                    <a:pt x="1328" y="682"/>
                  </a:lnTo>
                  <a:lnTo>
                    <a:pt x="1318" y="689"/>
                  </a:lnTo>
                  <a:lnTo>
                    <a:pt x="1325" y="696"/>
                  </a:lnTo>
                  <a:lnTo>
                    <a:pt x="1323" y="703"/>
                  </a:lnTo>
                  <a:lnTo>
                    <a:pt x="1314" y="713"/>
                  </a:lnTo>
                  <a:lnTo>
                    <a:pt x="1308" y="722"/>
                  </a:lnTo>
                  <a:lnTo>
                    <a:pt x="1302" y="733"/>
                  </a:lnTo>
                  <a:lnTo>
                    <a:pt x="1296" y="740"/>
                  </a:lnTo>
                  <a:lnTo>
                    <a:pt x="1292" y="742"/>
                  </a:lnTo>
                  <a:lnTo>
                    <a:pt x="1289" y="749"/>
                  </a:lnTo>
                  <a:lnTo>
                    <a:pt x="1285" y="754"/>
                  </a:lnTo>
                  <a:lnTo>
                    <a:pt x="1279" y="766"/>
                  </a:lnTo>
                  <a:lnTo>
                    <a:pt x="1275" y="766"/>
                  </a:lnTo>
                  <a:lnTo>
                    <a:pt x="1275" y="771"/>
                  </a:lnTo>
                  <a:lnTo>
                    <a:pt x="1265" y="771"/>
                  </a:lnTo>
                  <a:lnTo>
                    <a:pt x="1265" y="784"/>
                  </a:lnTo>
                  <a:lnTo>
                    <a:pt x="1265" y="790"/>
                  </a:lnTo>
                  <a:lnTo>
                    <a:pt x="1274" y="796"/>
                  </a:lnTo>
                  <a:lnTo>
                    <a:pt x="1289" y="795"/>
                  </a:lnTo>
                  <a:lnTo>
                    <a:pt x="1314" y="798"/>
                  </a:lnTo>
                  <a:lnTo>
                    <a:pt x="1325" y="796"/>
                  </a:lnTo>
                  <a:lnTo>
                    <a:pt x="1336" y="793"/>
                  </a:lnTo>
                  <a:lnTo>
                    <a:pt x="1348" y="791"/>
                  </a:lnTo>
                  <a:lnTo>
                    <a:pt x="1360" y="791"/>
                  </a:lnTo>
                  <a:lnTo>
                    <a:pt x="1367" y="788"/>
                  </a:lnTo>
                  <a:lnTo>
                    <a:pt x="1382" y="786"/>
                  </a:lnTo>
                  <a:lnTo>
                    <a:pt x="1408" y="788"/>
                  </a:lnTo>
                  <a:lnTo>
                    <a:pt x="1413" y="791"/>
                  </a:lnTo>
                  <a:lnTo>
                    <a:pt x="1415" y="793"/>
                  </a:lnTo>
                  <a:lnTo>
                    <a:pt x="1425" y="807"/>
                  </a:lnTo>
                  <a:lnTo>
                    <a:pt x="1423" y="801"/>
                  </a:lnTo>
                  <a:lnTo>
                    <a:pt x="1433" y="803"/>
                  </a:lnTo>
                  <a:lnTo>
                    <a:pt x="1440" y="801"/>
                  </a:lnTo>
                  <a:lnTo>
                    <a:pt x="1452" y="803"/>
                  </a:lnTo>
                  <a:lnTo>
                    <a:pt x="1459" y="801"/>
                  </a:lnTo>
                  <a:lnTo>
                    <a:pt x="1464" y="807"/>
                  </a:lnTo>
                  <a:lnTo>
                    <a:pt x="1471" y="810"/>
                  </a:lnTo>
                  <a:lnTo>
                    <a:pt x="1479" y="813"/>
                  </a:lnTo>
                  <a:lnTo>
                    <a:pt x="1486" y="817"/>
                  </a:lnTo>
                  <a:lnTo>
                    <a:pt x="1486" y="818"/>
                  </a:lnTo>
                  <a:lnTo>
                    <a:pt x="1484" y="824"/>
                  </a:lnTo>
                  <a:lnTo>
                    <a:pt x="1483" y="836"/>
                  </a:lnTo>
                  <a:lnTo>
                    <a:pt x="1489" y="836"/>
                  </a:lnTo>
                  <a:lnTo>
                    <a:pt x="1489" y="841"/>
                  </a:lnTo>
                  <a:lnTo>
                    <a:pt x="1503" y="851"/>
                  </a:lnTo>
                  <a:lnTo>
                    <a:pt x="1501" y="858"/>
                  </a:lnTo>
                  <a:lnTo>
                    <a:pt x="1501" y="863"/>
                  </a:lnTo>
                  <a:lnTo>
                    <a:pt x="1491" y="863"/>
                  </a:lnTo>
                  <a:lnTo>
                    <a:pt x="1479" y="863"/>
                  </a:lnTo>
                  <a:lnTo>
                    <a:pt x="1472" y="858"/>
                  </a:lnTo>
                  <a:lnTo>
                    <a:pt x="1472" y="863"/>
                  </a:lnTo>
                  <a:lnTo>
                    <a:pt x="1467" y="870"/>
                  </a:lnTo>
                  <a:lnTo>
                    <a:pt x="1464" y="871"/>
                  </a:lnTo>
                  <a:lnTo>
                    <a:pt x="1450" y="875"/>
                  </a:lnTo>
                  <a:lnTo>
                    <a:pt x="1442" y="875"/>
                  </a:lnTo>
                  <a:lnTo>
                    <a:pt x="1440" y="885"/>
                  </a:lnTo>
                  <a:lnTo>
                    <a:pt x="1438" y="887"/>
                  </a:lnTo>
                  <a:lnTo>
                    <a:pt x="1430" y="895"/>
                  </a:lnTo>
                  <a:lnTo>
                    <a:pt x="1435" y="895"/>
                  </a:lnTo>
                  <a:lnTo>
                    <a:pt x="1449" y="898"/>
                  </a:lnTo>
                  <a:lnTo>
                    <a:pt x="1454" y="898"/>
                  </a:lnTo>
                  <a:lnTo>
                    <a:pt x="1454" y="895"/>
                  </a:lnTo>
                  <a:lnTo>
                    <a:pt x="1462" y="892"/>
                  </a:lnTo>
                  <a:lnTo>
                    <a:pt x="1471" y="895"/>
                  </a:lnTo>
                  <a:lnTo>
                    <a:pt x="1472" y="905"/>
                  </a:lnTo>
                  <a:lnTo>
                    <a:pt x="1484" y="905"/>
                  </a:lnTo>
                  <a:lnTo>
                    <a:pt x="1486" y="909"/>
                  </a:lnTo>
                  <a:lnTo>
                    <a:pt x="1508" y="914"/>
                  </a:lnTo>
                  <a:lnTo>
                    <a:pt x="1503" y="919"/>
                  </a:lnTo>
                  <a:lnTo>
                    <a:pt x="1493" y="922"/>
                  </a:lnTo>
                  <a:lnTo>
                    <a:pt x="1496" y="926"/>
                  </a:lnTo>
                  <a:lnTo>
                    <a:pt x="1491" y="927"/>
                  </a:lnTo>
                  <a:lnTo>
                    <a:pt x="1489" y="938"/>
                  </a:lnTo>
                  <a:lnTo>
                    <a:pt x="1493" y="944"/>
                  </a:lnTo>
                  <a:lnTo>
                    <a:pt x="1481" y="944"/>
                  </a:lnTo>
                  <a:lnTo>
                    <a:pt x="1474" y="946"/>
                  </a:lnTo>
                  <a:lnTo>
                    <a:pt x="1469" y="946"/>
                  </a:lnTo>
                  <a:lnTo>
                    <a:pt x="1462" y="949"/>
                  </a:lnTo>
                  <a:lnTo>
                    <a:pt x="1452" y="951"/>
                  </a:lnTo>
                  <a:lnTo>
                    <a:pt x="1442" y="951"/>
                  </a:lnTo>
                  <a:lnTo>
                    <a:pt x="1432" y="955"/>
                  </a:lnTo>
                  <a:lnTo>
                    <a:pt x="1423" y="963"/>
                  </a:lnTo>
                  <a:lnTo>
                    <a:pt x="1421" y="972"/>
                  </a:lnTo>
                  <a:lnTo>
                    <a:pt x="1421" y="977"/>
                  </a:lnTo>
                  <a:lnTo>
                    <a:pt x="1430" y="980"/>
                  </a:lnTo>
                  <a:lnTo>
                    <a:pt x="1420" y="977"/>
                  </a:lnTo>
                  <a:lnTo>
                    <a:pt x="1418" y="978"/>
                  </a:lnTo>
                  <a:lnTo>
                    <a:pt x="1415" y="977"/>
                  </a:lnTo>
                  <a:lnTo>
                    <a:pt x="1404" y="978"/>
                  </a:lnTo>
                  <a:lnTo>
                    <a:pt x="1394" y="977"/>
                  </a:lnTo>
                  <a:lnTo>
                    <a:pt x="1391" y="975"/>
                  </a:lnTo>
                  <a:lnTo>
                    <a:pt x="1381" y="975"/>
                  </a:lnTo>
                  <a:lnTo>
                    <a:pt x="1377" y="973"/>
                  </a:lnTo>
                  <a:lnTo>
                    <a:pt x="1369" y="972"/>
                  </a:lnTo>
                  <a:lnTo>
                    <a:pt x="1360" y="973"/>
                  </a:lnTo>
                  <a:lnTo>
                    <a:pt x="1352" y="972"/>
                  </a:lnTo>
                  <a:lnTo>
                    <a:pt x="1348" y="973"/>
                  </a:lnTo>
                  <a:lnTo>
                    <a:pt x="1336" y="973"/>
                  </a:lnTo>
                  <a:lnTo>
                    <a:pt x="1328" y="970"/>
                  </a:lnTo>
                  <a:lnTo>
                    <a:pt x="1321" y="972"/>
                  </a:lnTo>
                  <a:lnTo>
                    <a:pt x="1321" y="975"/>
                  </a:lnTo>
                  <a:lnTo>
                    <a:pt x="1316" y="973"/>
                  </a:lnTo>
                  <a:lnTo>
                    <a:pt x="1309" y="968"/>
                  </a:lnTo>
                  <a:lnTo>
                    <a:pt x="1296" y="965"/>
                  </a:lnTo>
                  <a:lnTo>
                    <a:pt x="1285" y="963"/>
                  </a:lnTo>
                  <a:lnTo>
                    <a:pt x="1274" y="958"/>
                  </a:lnTo>
                  <a:lnTo>
                    <a:pt x="1267" y="960"/>
                  </a:lnTo>
                  <a:lnTo>
                    <a:pt x="1255" y="956"/>
                  </a:lnTo>
                  <a:lnTo>
                    <a:pt x="1248" y="955"/>
                  </a:lnTo>
                  <a:lnTo>
                    <a:pt x="1241" y="953"/>
                  </a:lnTo>
                  <a:lnTo>
                    <a:pt x="1234" y="951"/>
                  </a:lnTo>
                  <a:lnTo>
                    <a:pt x="1231" y="951"/>
                  </a:lnTo>
                  <a:lnTo>
                    <a:pt x="1219" y="949"/>
                  </a:lnTo>
                  <a:lnTo>
                    <a:pt x="1212" y="949"/>
                  </a:lnTo>
                  <a:lnTo>
                    <a:pt x="1209" y="955"/>
                  </a:lnTo>
                  <a:lnTo>
                    <a:pt x="1202" y="958"/>
                  </a:lnTo>
                  <a:lnTo>
                    <a:pt x="1194" y="963"/>
                  </a:lnTo>
                  <a:lnTo>
                    <a:pt x="1190" y="963"/>
                  </a:lnTo>
                  <a:lnTo>
                    <a:pt x="1178" y="966"/>
                  </a:lnTo>
                  <a:lnTo>
                    <a:pt x="1170" y="965"/>
                  </a:lnTo>
                  <a:lnTo>
                    <a:pt x="1166" y="966"/>
                  </a:lnTo>
                  <a:lnTo>
                    <a:pt x="1161" y="965"/>
                  </a:lnTo>
                  <a:lnTo>
                    <a:pt x="1148" y="963"/>
                  </a:lnTo>
                  <a:lnTo>
                    <a:pt x="1139" y="965"/>
                  </a:lnTo>
                  <a:lnTo>
                    <a:pt x="1131" y="965"/>
                  </a:lnTo>
                  <a:lnTo>
                    <a:pt x="1121" y="968"/>
                  </a:lnTo>
                  <a:lnTo>
                    <a:pt x="1110" y="973"/>
                  </a:lnTo>
                  <a:lnTo>
                    <a:pt x="1102" y="980"/>
                  </a:lnTo>
                  <a:lnTo>
                    <a:pt x="1098" y="987"/>
                  </a:lnTo>
                  <a:lnTo>
                    <a:pt x="1097" y="994"/>
                  </a:lnTo>
                  <a:lnTo>
                    <a:pt x="1107" y="997"/>
                  </a:lnTo>
                  <a:lnTo>
                    <a:pt x="1110" y="1001"/>
                  </a:lnTo>
                  <a:lnTo>
                    <a:pt x="1097" y="1004"/>
                  </a:lnTo>
                  <a:lnTo>
                    <a:pt x="1093" y="1004"/>
                  </a:lnTo>
                  <a:lnTo>
                    <a:pt x="1092" y="1006"/>
                  </a:lnTo>
                  <a:lnTo>
                    <a:pt x="1085" y="1004"/>
                  </a:lnTo>
                  <a:lnTo>
                    <a:pt x="1080" y="1006"/>
                  </a:lnTo>
                  <a:lnTo>
                    <a:pt x="1071" y="1006"/>
                  </a:lnTo>
                  <a:lnTo>
                    <a:pt x="1064" y="1007"/>
                  </a:lnTo>
                  <a:lnTo>
                    <a:pt x="1058" y="1011"/>
                  </a:lnTo>
                  <a:lnTo>
                    <a:pt x="1049" y="1018"/>
                  </a:lnTo>
                  <a:lnTo>
                    <a:pt x="1046" y="1023"/>
                  </a:lnTo>
                  <a:lnTo>
                    <a:pt x="1046" y="1028"/>
                  </a:lnTo>
                  <a:lnTo>
                    <a:pt x="1054" y="1031"/>
                  </a:lnTo>
                  <a:lnTo>
                    <a:pt x="1044" y="1035"/>
                  </a:lnTo>
                  <a:lnTo>
                    <a:pt x="1046" y="1040"/>
                  </a:lnTo>
                  <a:lnTo>
                    <a:pt x="1037" y="1041"/>
                  </a:lnTo>
                  <a:lnTo>
                    <a:pt x="1034" y="1046"/>
                  </a:lnTo>
                  <a:lnTo>
                    <a:pt x="1025" y="1050"/>
                  </a:lnTo>
                  <a:lnTo>
                    <a:pt x="1015" y="1052"/>
                  </a:lnTo>
                  <a:lnTo>
                    <a:pt x="1002" y="1053"/>
                  </a:lnTo>
                  <a:lnTo>
                    <a:pt x="998" y="1055"/>
                  </a:lnTo>
                  <a:lnTo>
                    <a:pt x="990" y="1055"/>
                  </a:lnTo>
                  <a:lnTo>
                    <a:pt x="988" y="1055"/>
                  </a:lnTo>
                  <a:lnTo>
                    <a:pt x="986" y="1055"/>
                  </a:lnTo>
                  <a:lnTo>
                    <a:pt x="973" y="1052"/>
                  </a:lnTo>
                  <a:lnTo>
                    <a:pt x="961" y="1048"/>
                  </a:lnTo>
                  <a:lnTo>
                    <a:pt x="959" y="1046"/>
                  </a:lnTo>
                  <a:lnTo>
                    <a:pt x="949" y="1045"/>
                  </a:lnTo>
                  <a:lnTo>
                    <a:pt x="945" y="1045"/>
                  </a:lnTo>
                  <a:lnTo>
                    <a:pt x="937" y="1048"/>
                  </a:lnTo>
                  <a:lnTo>
                    <a:pt x="927" y="1048"/>
                  </a:lnTo>
                  <a:lnTo>
                    <a:pt x="922" y="1050"/>
                  </a:lnTo>
                  <a:lnTo>
                    <a:pt x="920" y="1055"/>
                  </a:lnTo>
                  <a:lnTo>
                    <a:pt x="918" y="1055"/>
                  </a:lnTo>
                  <a:lnTo>
                    <a:pt x="917" y="1057"/>
                  </a:lnTo>
                  <a:lnTo>
                    <a:pt x="906" y="1063"/>
                  </a:lnTo>
                  <a:lnTo>
                    <a:pt x="901" y="1062"/>
                  </a:lnTo>
                  <a:lnTo>
                    <a:pt x="896" y="1065"/>
                  </a:lnTo>
                  <a:lnTo>
                    <a:pt x="888" y="1067"/>
                  </a:lnTo>
                  <a:lnTo>
                    <a:pt x="884" y="1067"/>
                  </a:lnTo>
                  <a:lnTo>
                    <a:pt x="874" y="1062"/>
                  </a:lnTo>
                  <a:lnTo>
                    <a:pt x="867" y="1060"/>
                  </a:lnTo>
                  <a:lnTo>
                    <a:pt x="857" y="1055"/>
                  </a:lnTo>
                  <a:lnTo>
                    <a:pt x="845" y="1052"/>
                  </a:lnTo>
                  <a:lnTo>
                    <a:pt x="837" y="1050"/>
                  </a:lnTo>
                  <a:lnTo>
                    <a:pt x="828" y="1050"/>
                  </a:lnTo>
                  <a:lnTo>
                    <a:pt x="823" y="1048"/>
                  </a:lnTo>
                  <a:lnTo>
                    <a:pt x="821" y="1048"/>
                  </a:lnTo>
                  <a:lnTo>
                    <a:pt x="811" y="1046"/>
                  </a:lnTo>
                  <a:lnTo>
                    <a:pt x="806" y="1048"/>
                  </a:lnTo>
                  <a:lnTo>
                    <a:pt x="794" y="1048"/>
                  </a:lnTo>
                  <a:lnTo>
                    <a:pt x="784" y="1050"/>
                  </a:lnTo>
                  <a:lnTo>
                    <a:pt x="774" y="1057"/>
                  </a:lnTo>
                  <a:lnTo>
                    <a:pt x="772" y="1058"/>
                  </a:lnTo>
                  <a:lnTo>
                    <a:pt x="777" y="1065"/>
                  </a:lnTo>
                  <a:lnTo>
                    <a:pt x="777" y="1070"/>
                  </a:lnTo>
                  <a:lnTo>
                    <a:pt x="772" y="1077"/>
                  </a:lnTo>
                  <a:lnTo>
                    <a:pt x="769" y="1075"/>
                  </a:lnTo>
                  <a:lnTo>
                    <a:pt x="765" y="1075"/>
                  </a:lnTo>
                  <a:lnTo>
                    <a:pt x="755" y="1074"/>
                  </a:lnTo>
                  <a:lnTo>
                    <a:pt x="741" y="1070"/>
                  </a:lnTo>
                  <a:lnTo>
                    <a:pt x="740" y="1072"/>
                  </a:lnTo>
                  <a:lnTo>
                    <a:pt x="733" y="1070"/>
                  </a:lnTo>
                  <a:lnTo>
                    <a:pt x="724" y="1070"/>
                  </a:lnTo>
                  <a:lnTo>
                    <a:pt x="713" y="1070"/>
                  </a:lnTo>
                  <a:lnTo>
                    <a:pt x="702" y="1072"/>
                  </a:lnTo>
                  <a:lnTo>
                    <a:pt x="697" y="1074"/>
                  </a:lnTo>
                  <a:lnTo>
                    <a:pt x="690" y="1075"/>
                  </a:lnTo>
                  <a:lnTo>
                    <a:pt x="689" y="1077"/>
                  </a:lnTo>
                  <a:lnTo>
                    <a:pt x="677" y="1080"/>
                  </a:lnTo>
                  <a:lnTo>
                    <a:pt x="668" y="1086"/>
                  </a:lnTo>
                  <a:lnTo>
                    <a:pt x="663" y="1092"/>
                  </a:lnTo>
                  <a:lnTo>
                    <a:pt x="656" y="1103"/>
                  </a:lnTo>
                  <a:lnTo>
                    <a:pt x="653" y="1103"/>
                  </a:lnTo>
                  <a:lnTo>
                    <a:pt x="643" y="1108"/>
                  </a:lnTo>
                  <a:lnTo>
                    <a:pt x="638" y="1113"/>
                  </a:lnTo>
                  <a:lnTo>
                    <a:pt x="629" y="1116"/>
                  </a:lnTo>
                  <a:lnTo>
                    <a:pt x="622" y="1120"/>
                  </a:lnTo>
                  <a:lnTo>
                    <a:pt x="616" y="1121"/>
                  </a:lnTo>
                  <a:lnTo>
                    <a:pt x="612" y="1126"/>
                  </a:lnTo>
                  <a:lnTo>
                    <a:pt x="612" y="1135"/>
                  </a:lnTo>
                  <a:lnTo>
                    <a:pt x="609" y="1133"/>
                  </a:lnTo>
                  <a:lnTo>
                    <a:pt x="595" y="1135"/>
                  </a:lnTo>
                  <a:lnTo>
                    <a:pt x="583" y="1140"/>
                  </a:lnTo>
                  <a:lnTo>
                    <a:pt x="573" y="1147"/>
                  </a:lnTo>
                  <a:lnTo>
                    <a:pt x="566" y="1152"/>
                  </a:lnTo>
                  <a:lnTo>
                    <a:pt x="565" y="1157"/>
                  </a:lnTo>
                  <a:lnTo>
                    <a:pt x="568" y="1164"/>
                  </a:lnTo>
                  <a:lnTo>
                    <a:pt x="560" y="1167"/>
                  </a:lnTo>
                  <a:lnTo>
                    <a:pt x="553" y="1172"/>
                  </a:lnTo>
                  <a:lnTo>
                    <a:pt x="543" y="1171"/>
                  </a:lnTo>
                  <a:lnTo>
                    <a:pt x="541" y="1167"/>
                  </a:lnTo>
                  <a:lnTo>
                    <a:pt x="537" y="1167"/>
                  </a:lnTo>
                  <a:lnTo>
                    <a:pt x="532" y="1162"/>
                  </a:lnTo>
                  <a:lnTo>
                    <a:pt x="524" y="1159"/>
                  </a:lnTo>
                  <a:lnTo>
                    <a:pt x="519" y="1154"/>
                  </a:lnTo>
                  <a:lnTo>
                    <a:pt x="507" y="1154"/>
                  </a:lnTo>
                  <a:lnTo>
                    <a:pt x="500" y="1155"/>
                  </a:lnTo>
                  <a:lnTo>
                    <a:pt x="493" y="1154"/>
                  </a:lnTo>
                  <a:lnTo>
                    <a:pt x="488" y="1155"/>
                  </a:lnTo>
                  <a:lnTo>
                    <a:pt x="475" y="1154"/>
                  </a:lnTo>
                  <a:lnTo>
                    <a:pt x="469" y="1159"/>
                  </a:lnTo>
                  <a:lnTo>
                    <a:pt x="459" y="1159"/>
                  </a:lnTo>
                  <a:lnTo>
                    <a:pt x="458" y="1150"/>
                  </a:lnTo>
                  <a:lnTo>
                    <a:pt x="451" y="1150"/>
                  </a:lnTo>
                  <a:lnTo>
                    <a:pt x="449" y="1143"/>
                  </a:lnTo>
                  <a:lnTo>
                    <a:pt x="444" y="1143"/>
                  </a:lnTo>
                  <a:lnTo>
                    <a:pt x="444" y="1142"/>
                  </a:lnTo>
                  <a:lnTo>
                    <a:pt x="439" y="1138"/>
                  </a:lnTo>
                  <a:lnTo>
                    <a:pt x="432" y="1130"/>
                  </a:lnTo>
                  <a:lnTo>
                    <a:pt x="429" y="1128"/>
                  </a:lnTo>
                  <a:lnTo>
                    <a:pt x="427" y="1130"/>
                  </a:lnTo>
                  <a:lnTo>
                    <a:pt x="422" y="1126"/>
                  </a:lnTo>
                  <a:lnTo>
                    <a:pt x="412" y="1125"/>
                  </a:lnTo>
                  <a:lnTo>
                    <a:pt x="407" y="1114"/>
                  </a:lnTo>
                  <a:lnTo>
                    <a:pt x="401" y="1111"/>
                  </a:lnTo>
                  <a:lnTo>
                    <a:pt x="388" y="1114"/>
                  </a:lnTo>
                  <a:lnTo>
                    <a:pt x="386" y="1116"/>
                  </a:lnTo>
                  <a:lnTo>
                    <a:pt x="374" y="1118"/>
                  </a:lnTo>
                  <a:lnTo>
                    <a:pt x="381" y="1113"/>
                  </a:lnTo>
                  <a:lnTo>
                    <a:pt x="386" y="1106"/>
                  </a:lnTo>
                  <a:lnTo>
                    <a:pt x="388" y="1099"/>
                  </a:lnTo>
                  <a:lnTo>
                    <a:pt x="395" y="1094"/>
                  </a:lnTo>
                  <a:lnTo>
                    <a:pt x="391" y="1084"/>
                  </a:lnTo>
                  <a:lnTo>
                    <a:pt x="390" y="1079"/>
                  </a:lnTo>
                  <a:lnTo>
                    <a:pt x="386" y="1074"/>
                  </a:lnTo>
                  <a:lnTo>
                    <a:pt x="379" y="1065"/>
                  </a:lnTo>
                  <a:lnTo>
                    <a:pt x="371" y="1060"/>
                  </a:lnTo>
                  <a:lnTo>
                    <a:pt x="364" y="1060"/>
                  </a:lnTo>
                  <a:lnTo>
                    <a:pt x="354" y="1067"/>
                  </a:lnTo>
                  <a:lnTo>
                    <a:pt x="342" y="1062"/>
                  </a:lnTo>
                  <a:lnTo>
                    <a:pt x="335" y="1063"/>
                  </a:lnTo>
                  <a:lnTo>
                    <a:pt x="330" y="1060"/>
                  </a:lnTo>
                  <a:lnTo>
                    <a:pt x="330" y="1055"/>
                  </a:lnTo>
                  <a:lnTo>
                    <a:pt x="325" y="1050"/>
                  </a:lnTo>
                  <a:lnTo>
                    <a:pt x="316" y="1043"/>
                  </a:lnTo>
                  <a:lnTo>
                    <a:pt x="310" y="1041"/>
                  </a:lnTo>
                  <a:lnTo>
                    <a:pt x="299" y="1041"/>
                  </a:lnTo>
                  <a:lnTo>
                    <a:pt x="291" y="1046"/>
                  </a:lnTo>
                  <a:lnTo>
                    <a:pt x="282" y="1045"/>
                  </a:lnTo>
                  <a:lnTo>
                    <a:pt x="277" y="1045"/>
                  </a:lnTo>
                  <a:lnTo>
                    <a:pt x="272" y="1050"/>
                  </a:lnTo>
                  <a:lnTo>
                    <a:pt x="264" y="1050"/>
                  </a:lnTo>
                  <a:lnTo>
                    <a:pt x="264" y="1053"/>
                  </a:lnTo>
                  <a:lnTo>
                    <a:pt x="259" y="1052"/>
                  </a:lnTo>
                  <a:lnTo>
                    <a:pt x="255" y="1053"/>
                  </a:lnTo>
                  <a:lnTo>
                    <a:pt x="250" y="1043"/>
                  </a:lnTo>
                  <a:lnTo>
                    <a:pt x="255" y="1040"/>
                  </a:lnTo>
                  <a:lnTo>
                    <a:pt x="252" y="1029"/>
                  </a:lnTo>
                  <a:lnTo>
                    <a:pt x="254" y="1029"/>
                  </a:lnTo>
                  <a:lnTo>
                    <a:pt x="257" y="1024"/>
                  </a:lnTo>
                  <a:lnTo>
                    <a:pt x="264" y="1018"/>
                  </a:lnTo>
                  <a:lnTo>
                    <a:pt x="262" y="1014"/>
                  </a:lnTo>
                  <a:lnTo>
                    <a:pt x="257" y="1007"/>
                  </a:lnTo>
                  <a:lnTo>
                    <a:pt x="254" y="1001"/>
                  </a:lnTo>
                  <a:lnTo>
                    <a:pt x="257" y="997"/>
                  </a:lnTo>
                  <a:lnTo>
                    <a:pt x="267" y="992"/>
                  </a:lnTo>
                  <a:lnTo>
                    <a:pt x="264" y="990"/>
                  </a:lnTo>
                  <a:lnTo>
                    <a:pt x="255" y="980"/>
                  </a:lnTo>
                  <a:lnTo>
                    <a:pt x="252" y="977"/>
                  </a:lnTo>
                  <a:lnTo>
                    <a:pt x="245" y="973"/>
                  </a:lnTo>
                  <a:lnTo>
                    <a:pt x="233" y="970"/>
                  </a:lnTo>
                  <a:lnTo>
                    <a:pt x="223" y="970"/>
                  </a:lnTo>
                  <a:lnTo>
                    <a:pt x="221" y="970"/>
                  </a:lnTo>
                  <a:lnTo>
                    <a:pt x="211" y="970"/>
                  </a:lnTo>
                  <a:lnTo>
                    <a:pt x="203" y="970"/>
                  </a:lnTo>
                  <a:lnTo>
                    <a:pt x="196" y="972"/>
                  </a:lnTo>
                  <a:lnTo>
                    <a:pt x="187" y="973"/>
                  </a:lnTo>
                  <a:lnTo>
                    <a:pt x="174" y="977"/>
                  </a:lnTo>
                  <a:lnTo>
                    <a:pt x="167" y="978"/>
                  </a:lnTo>
                  <a:lnTo>
                    <a:pt x="157" y="985"/>
                  </a:lnTo>
                  <a:lnTo>
                    <a:pt x="157" y="990"/>
                  </a:lnTo>
                  <a:lnTo>
                    <a:pt x="153" y="1001"/>
                  </a:lnTo>
                  <a:lnTo>
                    <a:pt x="160" y="1002"/>
                  </a:lnTo>
                  <a:lnTo>
                    <a:pt x="167" y="1012"/>
                  </a:lnTo>
                  <a:lnTo>
                    <a:pt x="163" y="1021"/>
                  </a:lnTo>
                  <a:lnTo>
                    <a:pt x="165" y="1024"/>
                  </a:lnTo>
                  <a:lnTo>
                    <a:pt x="162" y="1035"/>
                  </a:lnTo>
                  <a:lnTo>
                    <a:pt x="163" y="1041"/>
                  </a:lnTo>
                  <a:lnTo>
                    <a:pt x="170" y="1045"/>
                  </a:lnTo>
                  <a:lnTo>
                    <a:pt x="163" y="1045"/>
                  </a:lnTo>
                  <a:lnTo>
                    <a:pt x="160" y="1040"/>
                  </a:lnTo>
                  <a:lnTo>
                    <a:pt x="153" y="1038"/>
                  </a:lnTo>
                  <a:lnTo>
                    <a:pt x="146" y="1033"/>
                  </a:lnTo>
                  <a:lnTo>
                    <a:pt x="141" y="1023"/>
                  </a:lnTo>
                  <a:lnTo>
                    <a:pt x="143" y="1021"/>
                  </a:lnTo>
                  <a:lnTo>
                    <a:pt x="141" y="1018"/>
                  </a:lnTo>
                  <a:lnTo>
                    <a:pt x="141" y="1011"/>
                  </a:lnTo>
                  <a:lnTo>
                    <a:pt x="138" y="1004"/>
                  </a:lnTo>
                  <a:lnTo>
                    <a:pt x="140" y="1002"/>
                  </a:lnTo>
                  <a:lnTo>
                    <a:pt x="131" y="997"/>
                  </a:lnTo>
                  <a:lnTo>
                    <a:pt x="126" y="990"/>
                  </a:lnTo>
                  <a:lnTo>
                    <a:pt x="135" y="982"/>
                  </a:lnTo>
                  <a:lnTo>
                    <a:pt x="135" y="975"/>
                  </a:lnTo>
                  <a:lnTo>
                    <a:pt x="140" y="966"/>
                  </a:lnTo>
                  <a:lnTo>
                    <a:pt x="138" y="963"/>
                  </a:lnTo>
                  <a:lnTo>
                    <a:pt x="133" y="966"/>
                  </a:lnTo>
                  <a:lnTo>
                    <a:pt x="124" y="961"/>
                  </a:lnTo>
                  <a:lnTo>
                    <a:pt x="129" y="956"/>
                  </a:lnTo>
                  <a:lnTo>
                    <a:pt x="135" y="948"/>
                  </a:lnTo>
                  <a:lnTo>
                    <a:pt x="141" y="943"/>
                  </a:lnTo>
                  <a:lnTo>
                    <a:pt x="143" y="939"/>
                  </a:lnTo>
                  <a:lnTo>
                    <a:pt x="143" y="929"/>
                  </a:lnTo>
                  <a:lnTo>
                    <a:pt x="148" y="924"/>
                  </a:lnTo>
                  <a:lnTo>
                    <a:pt x="158" y="922"/>
                  </a:lnTo>
                  <a:lnTo>
                    <a:pt x="153" y="926"/>
                  </a:lnTo>
                  <a:lnTo>
                    <a:pt x="162" y="929"/>
                  </a:lnTo>
                  <a:lnTo>
                    <a:pt x="158" y="924"/>
                  </a:lnTo>
                  <a:lnTo>
                    <a:pt x="165" y="927"/>
                  </a:lnTo>
                  <a:lnTo>
                    <a:pt x="170" y="919"/>
                  </a:lnTo>
                  <a:lnTo>
                    <a:pt x="172" y="910"/>
                  </a:lnTo>
                  <a:lnTo>
                    <a:pt x="170" y="907"/>
                  </a:lnTo>
                  <a:lnTo>
                    <a:pt x="163" y="897"/>
                  </a:lnTo>
                  <a:lnTo>
                    <a:pt x="165" y="897"/>
                  </a:lnTo>
                  <a:lnTo>
                    <a:pt x="162" y="890"/>
                  </a:lnTo>
                  <a:lnTo>
                    <a:pt x="158" y="880"/>
                  </a:lnTo>
                  <a:lnTo>
                    <a:pt x="160" y="868"/>
                  </a:lnTo>
                  <a:lnTo>
                    <a:pt x="155" y="864"/>
                  </a:lnTo>
                  <a:lnTo>
                    <a:pt x="158" y="864"/>
                  </a:lnTo>
                  <a:lnTo>
                    <a:pt x="157" y="864"/>
                  </a:lnTo>
                  <a:lnTo>
                    <a:pt x="157" y="861"/>
                  </a:lnTo>
                  <a:lnTo>
                    <a:pt x="152" y="853"/>
                  </a:lnTo>
                  <a:lnTo>
                    <a:pt x="143" y="844"/>
                  </a:lnTo>
                  <a:lnTo>
                    <a:pt x="140" y="844"/>
                  </a:lnTo>
                  <a:lnTo>
                    <a:pt x="140" y="837"/>
                  </a:lnTo>
                  <a:lnTo>
                    <a:pt x="128" y="834"/>
                  </a:lnTo>
                  <a:lnTo>
                    <a:pt x="129" y="825"/>
                  </a:lnTo>
                  <a:lnTo>
                    <a:pt x="133" y="822"/>
                  </a:lnTo>
                  <a:lnTo>
                    <a:pt x="128" y="812"/>
                  </a:lnTo>
                  <a:lnTo>
                    <a:pt x="119" y="803"/>
                  </a:lnTo>
                  <a:lnTo>
                    <a:pt x="111" y="795"/>
                  </a:lnTo>
                  <a:lnTo>
                    <a:pt x="104" y="790"/>
                  </a:lnTo>
                  <a:lnTo>
                    <a:pt x="94" y="783"/>
                  </a:lnTo>
                  <a:lnTo>
                    <a:pt x="92" y="783"/>
                  </a:lnTo>
                  <a:lnTo>
                    <a:pt x="87" y="778"/>
                  </a:lnTo>
                  <a:lnTo>
                    <a:pt x="90" y="771"/>
                  </a:lnTo>
                  <a:lnTo>
                    <a:pt x="87" y="764"/>
                  </a:lnTo>
                  <a:lnTo>
                    <a:pt x="84" y="757"/>
                  </a:lnTo>
                  <a:lnTo>
                    <a:pt x="78" y="749"/>
                  </a:lnTo>
                  <a:lnTo>
                    <a:pt x="72" y="742"/>
                  </a:lnTo>
                  <a:lnTo>
                    <a:pt x="67" y="735"/>
                  </a:lnTo>
                  <a:lnTo>
                    <a:pt x="56" y="727"/>
                  </a:lnTo>
                  <a:lnTo>
                    <a:pt x="55" y="725"/>
                  </a:lnTo>
                  <a:lnTo>
                    <a:pt x="43" y="720"/>
                  </a:lnTo>
                  <a:lnTo>
                    <a:pt x="44" y="715"/>
                  </a:lnTo>
                  <a:lnTo>
                    <a:pt x="39" y="713"/>
                  </a:lnTo>
                  <a:lnTo>
                    <a:pt x="46" y="708"/>
                  </a:lnTo>
                  <a:lnTo>
                    <a:pt x="44" y="701"/>
                  </a:lnTo>
                  <a:lnTo>
                    <a:pt x="50" y="703"/>
                  </a:lnTo>
                  <a:lnTo>
                    <a:pt x="53" y="708"/>
                  </a:lnTo>
                  <a:lnTo>
                    <a:pt x="46" y="710"/>
                  </a:lnTo>
                  <a:lnTo>
                    <a:pt x="55" y="710"/>
                  </a:lnTo>
                  <a:lnTo>
                    <a:pt x="55" y="716"/>
                  </a:lnTo>
                  <a:lnTo>
                    <a:pt x="60" y="718"/>
                  </a:lnTo>
                  <a:lnTo>
                    <a:pt x="58" y="722"/>
                  </a:lnTo>
                  <a:lnTo>
                    <a:pt x="63" y="725"/>
                  </a:lnTo>
                  <a:lnTo>
                    <a:pt x="67" y="730"/>
                  </a:lnTo>
                  <a:lnTo>
                    <a:pt x="73" y="735"/>
                  </a:lnTo>
                  <a:lnTo>
                    <a:pt x="75" y="739"/>
                  </a:lnTo>
                  <a:lnTo>
                    <a:pt x="82" y="735"/>
                  </a:lnTo>
                  <a:lnTo>
                    <a:pt x="82" y="732"/>
                  </a:lnTo>
                  <a:lnTo>
                    <a:pt x="73" y="730"/>
                  </a:lnTo>
                  <a:lnTo>
                    <a:pt x="75" y="722"/>
                  </a:lnTo>
                  <a:lnTo>
                    <a:pt x="67" y="718"/>
                  </a:lnTo>
                  <a:lnTo>
                    <a:pt x="60" y="711"/>
                  </a:lnTo>
                  <a:lnTo>
                    <a:pt x="58" y="706"/>
                  </a:lnTo>
                  <a:lnTo>
                    <a:pt x="63" y="698"/>
                  </a:lnTo>
                  <a:lnTo>
                    <a:pt x="60" y="691"/>
                  </a:lnTo>
                  <a:lnTo>
                    <a:pt x="53" y="686"/>
                  </a:lnTo>
                  <a:lnTo>
                    <a:pt x="48" y="693"/>
                  </a:lnTo>
                  <a:lnTo>
                    <a:pt x="51" y="684"/>
                  </a:lnTo>
                  <a:lnTo>
                    <a:pt x="44" y="682"/>
                  </a:lnTo>
                  <a:lnTo>
                    <a:pt x="38" y="689"/>
                  </a:lnTo>
                  <a:lnTo>
                    <a:pt x="44" y="696"/>
                  </a:lnTo>
                  <a:lnTo>
                    <a:pt x="38" y="691"/>
                  </a:lnTo>
                  <a:lnTo>
                    <a:pt x="29" y="698"/>
                  </a:lnTo>
                  <a:lnTo>
                    <a:pt x="24" y="694"/>
                  </a:lnTo>
                  <a:lnTo>
                    <a:pt x="27" y="688"/>
                  </a:lnTo>
                  <a:lnTo>
                    <a:pt x="19" y="682"/>
                  </a:lnTo>
                  <a:lnTo>
                    <a:pt x="22" y="679"/>
                  </a:lnTo>
                  <a:lnTo>
                    <a:pt x="21" y="677"/>
                  </a:lnTo>
                  <a:lnTo>
                    <a:pt x="22" y="674"/>
                  </a:lnTo>
                  <a:lnTo>
                    <a:pt x="22" y="665"/>
                  </a:lnTo>
                  <a:lnTo>
                    <a:pt x="16" y="659"/>
                  </a:lnTo>
                  <a:lnTo>
                    <a:pt x="22" y="652"/>
                  </a:lnTo>
                  <a:lnTo>
                    <a:pt x="22" y="647"/>
                  </a:lnTo>
                  <a:lnTo>
                    <a:pt x="22" y="643"/>
                  </a:lnTo>
                  <a:lnTo>
                    <a:pt x="12" y="638"/>
                  </a:lnTo>
                  <a:lnTo>
                    <a:pt x="22" y="631"/>
                  </a:lnTo>
                  <a:lnTo>
                    <a:pt x="27" y="631"/>
                  </a:lnTo>
                  <a:lnTo>
                    <a:pt x="29" y="625"/>
                  </a:lnTo>
                  <a:lnTo>
                    <a:pt x="27" y="616"/>
                  </a:lnTo>
                  <a:lnTo>
                    <a:pt x="33" y="608"/>
                  </a:lnTo>
                  <a:lnTo>
                    <a:pt x="41" y="609"/>
                  </a:lnTo>
                  <a:lnTo>
                    <a:pt x="46" y="604"/>
                  </a:lnTo>
                  <a:lnTo>
                    <a:pt x="50" y="606"/>
                  </a:lnTo>
                  <a:lnTo>
                    <a:pt x="48" y="611"/>
                  </a:lnTo>
                  <a:lnTo>
                    <a:pt x="58" y="614"/>
                  </a:lnTo>
                  <a:lnTo>
                    <a:pt x="56" y="618"/>
                  </a:lnTo>
                  <a:lnTo>
                    <a:pt x="65" y="621"/>
                  </a:lnTo>
                  <a:lnTo>
                    <a:pt x="68" y="626"/>
                  </a:lnTo>
                  <a:lnTo>
                    <a:pt x="73" y="625"/>
                  </a:lnTo>
                  <a:lnTo>
                    <a:pt x="82" y="626"/>
                  </a:lnTo>
                  <a:lnTo>
                    <a:pt x="89" y="623"/>
                  </a:lnTo>
                  <a:lnTo>
                    <a:pt x="95" y="618"/>
                  </a:lnTo>
                  <a:lnTo>
                    <a:pt x="102" y="611"/>
                  </a:lnTo>
                  <a:lnTo>
                    <a:pt x="104" y="608"/>
                  </a:lnTo>
                  <a:lnTo>
                    <a:pt x="112" y="602"/>
                  </a:lnTo>
                  <a:lnTo>
                    <a:pt x="118" y="599"/>
                  </a:lnTo>
                  <a:lnTo>
                    <a:pt x="121" y="594"/>
                  </a:lnTo>
                  <a:lnTo>
                    <a:pt x="126" y="585"/>
                  </a:lnTo>
                  <a:lnTo>
                    <a:pt x="129" y="580"/>
                  </a:lnTo>
                  <a:lnTo>
                    <a:pt x="133" y="574"/>
                  </a:lnTo>
                  <a:lnTo>
                    <a:pt x="136" y="563"/>
                  </a:lnTo>
                  <a:lnTo>
                    <a:pt x="138" y="560"/>
                  </a:lnTo>
                  <a:lnTo>
                    <a:pt x="140" y="550"/>
                  </a:lnTo>
                  <a:lnTo>
                    <a:pt x="141" y="541"/>
                  </a:lnTo>
                  <a:lnTo>
                    <a:pt x="141" y="534"/>
                  </a:lnTo>
                  <a:lnTo>
                    <a:pt x="141" y="526"/>
                  </a:lnTo>
                  <a:lnTo>
                    <a:pt x="140" y="516"/>
                  </a:lnTo>
                  <a:lnTo>
                    <a:pt x="136" y="507"/>
                  </a:lnTo>
                  <a:lnTo>
                    <a:pt x="136" y="502"/>
                  </a:lnTo>
                  <a:lnTo>
                    <a:pt x="143" y="502"/>
                  </a:lnTo>
                  <a:lnTo>
                    <a:pt x="145" y="492"/>
                  </a:lnTo>
                  <a:lnTo>
                    <a:pt x="143" y="482"/>
                  </a:lnTo>
                  <a:lnTo>
                    <a:pt x="140" y="473"/>
                  </a:lnTo>
                  <a:lnTo>
                    <a:pt x="140" y="471"/>
                  </a:lnTo>
                  <a:lnTo>
                    <a:pt x="136" y="465"/>
                  </a:lnTo>
                  <a:lnTo>
                    <a:pt x="136" y="460"/>
                  </a:lnTo>
                  <a:lnTo>
                    <a:pt x="136" y="458"/>
                  </a:lnTo>
                  <a:lnTo>
                    <a:pt x="135" y="448"/>
                  </a:lnTo>
                  <a:lnTo>
                    <a:pt x="138" y="436"/>
                  </a:lnTo>
                  <a:lnTo>
                    <a:pt x="136" y="432"/>
                  </a:lnTo>
                  <a:lnTo>
                    <a:pt x="133" y="424"/>
                  </a:lnTo>
                  <a:lnTo>
                    <a:pt x="133" y="420"/>
                  </a:lnTo>
                  <a:lnTo>
                    <a:pt x="131" y="417"/>
                  </a:lnTo>
                  <a:lnTo>
                    <a:pt x="131" y="414"/>
                  </a:lnTo>
                  <a:lnTo>
                    <a:pt x="128" y="403"/>
                  </a:lnTo>
                  <a:lnTo>
                    <a:pt x="126" y="402"/>
                  </a:lnTo>
                  <a:lnTo>
                    <a:pt x="131" y="390"/>
                  </a:lnTo>
                  <a:lnTo>
                    <a:pt x="126" y="381"/>
                  </a:lnTo>
                  <a:lnTo>
                    <a:pt x="119" y="371"/>
                  </a:lnTo>
                  <a:lnTo>
                    <a:pt x="119" y="369"/>
                  </a:lnTo>
                  <a:lnTo>
                    <a:pt x="118" y="369"/>
                  </a:lnTo>
                  <a:lnTo>
                    <a:pt x="119" y="368"/>
                  </a:lnTo>
                  <a:lnTo>
                    <a:pt x="118" y="364"/>
                  </a:lnTo>
                  <a:lnTo>
                    <a:pt x="116" y="354"/>
                  </a:lnTo>
                  <a:lnTo>
                    <a:pt x="118" y="349"/>
                  </a:lnTo>
                  <a:lnTo>
                    <a:pt x="116" y="349"/>
                  </a:lnTo>
                  <a:lnTo>
                    <a:pt x="109" y="339"/>
                  </a:lnTo>
                  <a:lnTo>
                    <a:pt x="107" y="339"/>
                  </a:lnTo>
                  <a:lnTo>
                    <a:pt x="107" y="335"/>
                  </a:lnTo>
                  <a:lnTo>
                    <a:pt x="101" y="327"/>
                  </a:lnTo>
                  <a:lnTo>
                    <a:pt x="99" y="327"/>
                  </a:lnTo>
                  <a:lnTo>
                    <a:pt x="94" y="317"/>
                  </a:lnTo>
                  <a:lnTo>
                    <a:pt x="94" y="313"/>
                  </a:lnTo>
                  <a:lnTo>
                    <a:pt x="90" y="312"/>
                  </a:lnTo>
                  <a:lnTo>
                    <a:pt x="89" y="305"/>
                  </a:lnTo>
                  <a:lnTo>
                    <a:pt x="85" y="300"/>
                  </a:lnTo>
                  <a:lnTo>
                    <a:pt x="78" y="293"/>
                  </a:lnTo>
                  <a:lnTo>
                    <a:pt x="72" y="288"/>
                  </a:lnTo>
                  <a:lnTo>
                    <a:pt x="70" y="283"/>
                  </a:lnTo>
                  <a:lnTo>
                    <a:pt x="63" y="278"/>
                  </a:lnTo>
                  <a:lnTo>
                    <a:pt x="60" y="272"/>
                  </a:lnTo>
                  <a:lnTo>
                    <a:pt x="56" y="267"/>
                  </a:lnTo>
                  <a:lnTo>
                    <a:pt x="48" y="259"/>
                  </a:lnTo>
                  <a:lnTo>
                    <a:pt x="43" y="252"/>
                  </a:lnTo>
                  <a:lnTo>
                    <a:pt x="36" y="245"/>
                  </a:lnTo>
                  <a:lnTo>
                    <a:pt x="31" y="237"/>
                  </a:lnTo>
                  <a:lnTo>
                    <a:pt x="31" y="227"/>
                  </a:lnTo>
                  <a:lnTo>
                    <a:pt x="27" y="220"/>
                  </a:lnTo>
                  <a:lnTo>
                    <a:pt x="19" y="213"/>
                  </a:lnTo>
                  <a:lnTo>
                    <a:pt x="16" y="211"/>
                  </a:lnTo>
                  <a:lnTo>
                    <a:pt x="16" y="210"/>
                  </a:lnTo>
                  <a:lnTo>
                    <a:pt x="10" y="206"/>
                  </a:lnTo>
                  <a:lnTo>
                    <a:pt x="9" y="203"/>
                  </a:lnTo>
                  <a:lnTo>
                    <a:pt x="4" y="198"/>
                  </a:lnTo>
                  <a:lnTo>
                    <a:pt x="0" y="192"/>
                  </a:lnTo>
                  <a:lnTo>
                    <a:pt x="5" y="192"/>
                  </a:lnTo>
                  <a:lnTo>
                    <a:pt x="7" y="194"/>
                  </a:lnTo>
                  <a:lnTo>
                    <a:pt x="21" y="199"/>
                  </a:lnTo>
                  <a:lnTo>
                    <a:pt x="14" y="175"/>
                  </a:lnTo>
                  <a:lnTo>
                    <a:pt x="21" y="170"/>
                  </a:lnTo>
                  <a:lnTo>
                    <a:pt x="27" y="165"/>
                  </a:lnTo>
                  <a:lnTo>
                    <a:pt x="33" y="162"/>
                  </a:lnTo>
                  <a:lnTo>
                    <a:pt x="34" y="162"/>
                  </a:lnTo>
                  <a:lnTo>
                    <a:pt x="44" y="155"/>
                  </a:lnTo>
                  <a:lnTo>
                    <a:pt x="41" y="148"/>
                  </a:lnTo>
                  <a:lnTo>
                    <a:pt x="33" y="138"/>
                  </a:lnTo>
                  <a:lnTo>
                    <a:pt x="33" y="131"/>
                  </a:lnTo>
                  <a:lnTo>
                    <a:pt x="43" y="131"/>
                  </a:lnTo>
                  <a:lnTo>
                    <a:pt x="48" y="130"/>
                  </a:lnTo>
                  <a:lnTo>
                    <a:pt x="56" y="128"/>
                  </a:lnTo>
                  <a:lnTo>
                    <a:pt x="63" y="130"/>
                  </a:lnTo>
                  <a:lnTo>
                    <a:pt x="63" y="126"/>
                  </a:lnTo>
                  <a:lnTo>
                    <a:pt x="63" y="106"/>
                  </a:lnTo>
                  <a:lnTo>
                    <a:pt x="63" y="104"/>
                  </a:lnTo>
                  <a:lnTo>
                    <a:pt x="67" y="96"/>
                  </a:lnTo>
                  <a:lnTo>
                    <a:pt x="80" y="92"/>
                  </a:lnTo>
                  <a:lnTo>
                    <a:pt x="85" y="94"/>
                  </a:lnTo>
                  <a:lnTo>
                    <a:pt x="89" y="96"/>
                  </a:lnTo>
                  <a:lnTo>
                    <a:pt x="95" y="101"/>
                  </a:lnTo>
                  <a:lnTo>
                    <a:pt x="101" y="106"/>
                  </a:lnTo>
                  <a:lnTo>
                    <a:pt x="107" y="111"/>
                  </a:lnTo>
                  <a:lnTo>
                    <a:pt x="118" y="107"/>
                  </a:lnTo>
                  <a:lnTo>
                    <a:pt x="116" y="102"/>
                  </a:lnTo>
                  <a:lnTo>
                    <a:pt x="119" y="101"/>
                  </a:lnTo>
                  <a:lnTo>
                    <a:pt x="129" y="106"/>
                  </a:lnTo>
                  <a:lnTo>
                    <a:pt x="133" y="102"/>
                  </a:lnTo>
                  <a:lnTo>
                    <a:pt x="136" y="97"/>
                  </a:lnTo>
                  <a:lnTo>
                    <a:pt x="146" y="84"/>
                  </a:lnTo>
                  <a:lnTo>
                    <a:pt x="157" y="67"/>
                  </a:lnTo>
                  <a:lnTo>
                    <a:pt x="162" y="62"/>
                  </a:lnTo>
                  <a:lnTo>
                    <a:pt x="162" y="43"/>
                  </a:lnTo>
                  <a:lnTo>
                    <a:pt x="170" y="31"/>
                  </a:lnTo>
                  <a:lnTo>
                    <a:pt x="170" y="29"/>
                  </a:lnTo>
                  <a:lnTo>
                    <a:pt x="174" y="26"/>
                  </a:lnTo>
                  <a:lnTo>
                    <a:pt x="170" y="21"/>
                  </a:lnTo>
                  <a:lnTo>
                    <a:pt x="165" y="9"/>
                  </a:lnTo>
                  <a:lnTo>
                    <a:pt x="165" y="7"/>
                  </a:lnTo>
                  <a:lnTo>
                    <a:pt x="180" y="21"/>
                  </a:lnTo>
                  <a:lnTo>
                    <a:pt x="196" y="39"/>
                  </a:lnTo>
                  <a:lnTo>
                    <a:pt x="201" y="46"/>
                  </a:lnTo>
                  <a:lnTo>
                    <a:pt x="197" y="38"/>
                  </a:lnTo>
                  <a:lnTo>
                    <a:pt x="194" y="29"/>
                  </a:lnTo>
                  <a:lnTo>
                    <a:pt x="191" y="24"/>
                  </a:lnTo>
                  <a:lnTo>
                    <a:pt x="192" y="22"/>
                  </a:lnTo>
                  <a:lnTo>
                    <a:pt x="194" y="14"/>
                  </a:lnTo>
                  <a:lnTo>
                    <a:pt x="196" y="4"/>
                  </a:lnTo>
                  <a:lnTo>
                    <a:pt x="214" y="0"/>
                  </a:lnTo>
                  <a:lnTo>
                    <a:pt x="220" y="9"/>
                  </a:lnTo>
                  <a:lnTo>
                    <a:pt x="225" y="16"/>
                  </a:lnTo>
                  <a:lnTo>
                    <a:pt x="230" y="24"/>
                  </a:lnTo>
                  <a:lnTo>
                    <a:pt x="235" y="34"/>
                  </a:lnTo>
                  <a:lnTo>
                    <a:pt x="262" y="36"/>
                  </a:lnTo>
                  <a:lnTo>
                    <a:pt x="264" y="39"/>
                  </a:lnTo>
                  <a:lnTo>
                    <a:pt x="267" y="46"/>
                  </a:lnTo>
                  <a:lnTo>
                    <a:pt x="271" y="51"/>
                  </a:lnTo>
                  <a:lnTo>
                    <a:pt x="271" y="63"/>
                  </a:lnTo>
                  <a:lnTo>
                    <a:pt x="272" y="65"/>
                  </a:lnTo>
                  <a:lnTo>
                    <a:pt x="279" y="70"/>
                  </a:lnTo>
                  <a:lnTo>
                    <a:pt x="288" y="77"/>
                  </a:lnTo>
                  <a:lnTo>
                    <a:pt x="296" y="79"/>
                  </a:lnTo>
                  <a:lnTo>
                    <a:pt x="303" y="82"/>
                  </a:lnTo>
                  <a:lnTo>
                    <a:pt x="311" y="84"/>
                  </a:lnTo>
                  <a:lnTo>
                    <a:pt x="311" y="90"/>
                  </a:lnTo>
                  <a:lnTo>
                    <a:pt x="311" y="94"/>
                  </a:lnTo>
                  <a:lnTo>
                    <a:pt x="311" y="102"/>
                  </a:lnTo>
                  <a:lnTo>
                    <a:pt x="311" y="116"/>
                  </a:lnTo>
                  <a:lnTo>
                    <a:pt x="291" y="121"/>
                  </a:lnTo>
                  <a:lnTo>
                    <a:pt x="293" y="123"/>
                  </a:lnTo>
                  <a:lnTo>
                    <a:pt x="303" y="130"/>
                  </a:lnTo>
                  <a:lnTo>
                    <a:pt x="318" y="136"/>
                  </a:lnTo>
                  <a:lnTo>
                    <a:pt x="299" y="147"/>
                  </a:lnTo>
                  <a:lnTo>
                    <a:pt x="296" y="162"/>
                  </a:lnTo>
                  <a:lnTo>
                    <a:pt x="298" y="167"/>
                  </a:lnTo>
                  <a:lnTo>
                    <a:pt x="306" y="179"/>
                  </a:lnTo>
                  <a:lnTo>
                    <a:pt x="308" y="182"/>
                  </a:lnTo>
                  <a:lnTo>
                    <a:pt x="308" y="204"/>
                  </a:lnTo>
                  <a:lnTo>
                    <a:pt x="306" y="215"/>
                  </a:lnTo>
                  <a:lnTo>
                    <a:pt x="311" y="227"/>
                  </a:lnTo>
                  <a:lnTo>
                    <a:pt x="323" y="233"/>
                  </a:lnTo>
                  <a:lnTo>
                    <a:pt x="320" y="238"/>
                  </a:lnTo>
                  <a:lnTo>
                    <a:pt x="315" y="245"/>
                  </a:lnTo>
                  <a:lnTo>
                    <a:pt x="315" y="247"/>
                  </a:lnTo>
                  <a:lnTo>
                    <a:pt x="323" y="250"/>
                  </a:lnTo>
                  <a:lnTo>
                    <a:pt x="327" y="255"/>
                  </a:lnTo>
                  <a:lnTo>
                    <a:pt x="330" y="264"/>
                  </a:lnTo>
                  <a:lnTo>
                    <a:pt x="328" y="276"/>
                  </a:lnTo>
                  <a:lnTo>
                    <a:pt x="323" y="284"/>
                  </a:lnTo>
                  <a:lnTo>
                    <a:pt x="320" y="288"/>
                  </a:lnTo>
                  <a:lnTo>
                    <a:pt x="325" y="286"/>
                  </a:lnTo>
                  <a:lnTo>
                    <a:pt x="328" y="289"/>
                  </a:lnTo>
                  <a:lnTo>
                    <a:pt x="340" y="291"/>
                  </a:lnTo>
                  <a:lnTo>
                    <a:pt x="335" y="298"/>
                  </a:lnTo>
                  <a:lnTo>
                    <a:pt x="332" y="305"/>
                  </a:lnTo>
                  <a:lnTo>
                    <a:pt x="340" y="303"/>
                  </a:lnTo>
                  <a:lnTo>
                    <a:pt x="342" y="310"/>
                  </a:lnTo>
                  <a:lnTo>
                    <a:pt x="335" y="318"/>
                  </a:lnTo>
                  <a:lnTo>
                    <a:pt x="337" y="329"/>
                  </a:lnTo>
                  <a:lnTo>
                    <a:pt x="332" y="330"/>
                  </a:lnTo>
                  <a:lnTo>
                    <a:pt x="333" y="339"/>
                  </a:lnTo>
                  <a:lnTo>
                    <a:pt x="337" y="342"/>
                  </a:lnTo>
                  <a:lnTo>
                    <a:pt x="342" y="351"/>
                  </a:lnTo>
                  <a:lnTo>
                    <a:pt x="333" y="356"/>
                  </a:lnTo>
                  <a:lnTo>
                    <a:pt x="339" y="363"/>
                  </a:lnTo>
                  <a:lnTo>
                    <a:pt x="332" y="368"/>
                  </a:lnTo>
                  <a:lnTo>
                    <a:pt x="328" y="373"/>
                  </a:lnTo>
                  <a:lnTo>
                    <a:pt x="323" y="373"/>
                  </a:lnTo>
                  <a:lnTo>
                    <a:pt x="323" y="385"/>
                  </a:lnTo>
                  <a:lnTo>
                    <a:pt x="332" y="386"/>
                  </a:lnTo>
                  <a:lnTo>
                    <a:pt x="339" y="390"/>
                  </a:lnTo>
                  <a:lnTo>
                    <a:pt x="344" y="390"/>
                  </a:lnTo>
                  <a:lnTo>
                    <a:pt x="347" y="393"/>
                  </a:lnTo>
                  <a:lnTo>
                    <a:pt x="352" y="395"/>
                  </a:lnTo>
                  <a:lnTo>
                    <a:pt x="356" y="392"/>
                  </a:lnTo>
                  <a:lnTo>
                    <a:pt x="367" y="393"/>
                  </a:lnTo>
                  <a:lnTo>
                    <a:pt x="369" y="403"/>
                  </a:lnTo>
                  <a:lnTo>
                    <a:pt x="379" y="395"/>
                  </a:lnTo>
                  <a:lnTo>
                    <a:pt x="381" y="392"/>
                  </a:lnTo>
                  <a:lnTo>
                    <a:pt x="391" y="381"/>
                  </a:lnTo>
                  <a:lnTo>
                    <a:pt x="388" y="397"/>
                  </a:lnTo>
                  <a:lnTo>
                    <a:pt x="383" y="409"/>
                  </a:lnTo>
                  <a:lnTo>
                    <a:pt x="386" y="412"/>
                  </a:lnTo>
                  <a:lnTo>
                    <a:pt x="390" y="409"/>
                  </a:lnTo>
                  <a:lnTo>
                    <a:pt x="398" y="414"/>
                  </a:lnTo>
                  <a:lnTo>
                    <a:pt x="400" y="420"/>
                  </a:lnTo>
                  <a:lnTo>
                    <a:pt x="408" y="429"/>
                  </a:lnTo>
                  <a:lnTo>
                    <a:pt x="417" y="422"/>
                  </a:lnTo>
                  <a:lnTo>
                    <a:pt x="425" y="426"/>
                  </a:lnTo>
                  <a:lnTo>
                    <a:pt x="429" y="431"/>
                  </a:lnTo>
                  <a:lnTo>
                    <a:pt x="435" y="437"/>
                  </a:lnTo>
                  <a:lnTo>
                    <a:pt x="441" y="437"/>
                  </a:lnTo>
                  <a:lnTo>
                    <a:pt x="441" y="449"/>
                  </a:lnTo>
                  <a:lnTo>
                    <a:pt x="446" y="441"/>
                  </a:lnTo>
                  <a:lnTo>
                    <a:pt x="447" y="448"/>
                  </a:lnTo>
                  <a:lnTo>
                    <a:pt x="446" y="451"/>
                  </a:lnTo>
                  <a:lnTo>
                    <a:pt x="437" y="456"/>
                  </a:lnTo>
                  <a:lnTo>
                    <a:pt x="442" y="466"/>
                  </a:lnTo>
                  <a:lnTo>
                    <a:pt x="442" y="473"/>
                  </a:lnTo>
                  <a:lnTo>
                    <a:pt x="439" y="480"/>
                  </a:lnTo>
                  <a:lnTo>
                    <a:pt x="441" y="485"/>
                  </a:lnTo>
                  <a:lnTo>
                    <a:pt x="418" y="495"/>
                  </a:lnTo>
                  <a:lnTo>
                    <a:pt x="422" y="509"/>
                  </a:lnTo>
                  <a:lnTo>
                    <a:pt x="424" y="516"/>
                  </a:lnTo>
                  <a:lnTo>
                    <a:pt x="425" y="516"/>
                  </a:lnTo>
                  <a:lnTo>
                    <a:pt x="427" y="521"/>
                  </a:lnTo>
                  <a:lnTo>
                    <a:pt x="432" y="528"/>
                  </a:lnTo>
                  <a:lnTo>
                    <a:pt x="434" y="534"/>
                  </a:lnTo>
                  <a:lnTo>
                    <a:pt x="439" y="545"/>
                  </a:lnTo>
                  <a:lnTo>
                    <a:pt x="444" y="546"/>
                  </a:lnTo>
                  <a:lnTo>
                    <a:pt x="439" y="550"/>
                  </a:lnTo>
                  <a:lnTo>
                    <a:pt x="437" y="568"/>
                  </a:lnTo>
                  <a:lnTo>
                    <a:pt x="439" y="580"/>
                  </a:lnTo>
                  <a:lnTo>
                    <a:pt x="444" y="589"/>
                  </a:lnTo>
                  <a:lnTo>
                    <a:pt x="447" y="597"/>
                  </a:lnTo>
                  <a:lnTo>
                    <a:pt x="463" y="591"/>
                  </a:lnTo>
                  <a:lnTo>
                    <a:pt x="466" y="585"/>
                  </a:lnTo>
                  <a:lnTo>
                    <a:pt x="468" y="579"/>
                  </a:lnTo>
                  <a:lnTo>
                    <a:pt x="469" y="568"/>
                  </a:lnTo>
                  <a:lnTo>
                    <a:pt x="468" y="563"/>
                  </a:lnTo>
                  <a:lnTo>
                    <a:pt x="469" y="558"/>
                  </a:lnTo>
                  <a:lnTo>
                    <a:pt x="473" y="551"/>
                  </a:lnTo>
                  <a:lnTo>
                    <a:pt x="471" y="543"/>
                  </a:lnTo>
                  <a:lnTo>
                    <a:pt x="481" y="534"/>
                  </a:lnTo>
                  <a:lnTo>
                    <a:pt x="486" y="541"/>
                  </a:lnTo>
                  <a:lnTo>
                    <a:pt x="492" y="538"/>
                  </a:lnTo>
                  <a:lnTo>
                    <a:pt x="500" y="536"/>
                  </a:lnTo>
                  <a:lnTo>
                    <a:pt x="495" y="529"/>
                  </a:lnTo>
                  <a:lnTo>
                    <a:pt x="500" y="528"/>
                  </a:lnTo>
                  <a:lnTo>
                    <a:pt x="502" y="521"/>
                  </a:lnTo>
                  <a:lnTo>
                    <a:pt x="509" y="528"/>
                  </a:lnTo>
                  <a:lnTo>
                    <a:pt x="519" y="523"/>
                  </a:lnTo>
                  <a:lnTo>
                    <a:pt x="524" y="514"/>
                  </a:lnTo>
                  <a:lnTo>
                    <a:pt x="531" y="516"/>
                  </a:lnTo>
                  <a:lnTo>
                    <a:pt x="537" y="519"/>
                  </a:lnTo>
                  <a:lnTo>
                    <a:pt x="539" y="519"/>
                  </a:lnTo>
                  <a:lnTo>
                    <a:pt x="554" y="517"/>
                  </a:lnTo>
                  <a:lnTo>
                    <a:pt x="561" y="511"/>
                  </a:lnTo>
                  <a:lnTo>
                    <a:pt x="571" y="505"/>
                  </a:lnTo>
                  <a:lnTo>
                    <a:pt x="580" y="497"/>
                  </a:lnTo>
                  <a:lnTo>
                    <a:pt x="582" y="495"/>
                  </a:lnTo>
                  <a:lnTo>
                    <a:pt x="585" y="485"/>
                  </a:lnTo>
                  <a:lnTo>
                    <a:pt x="595" y="485"/>
                  </a:lnTo>
                  <a:lnTo>
                    <a:pt x="600" y="473"/>
                  </a:lnTo>
                  <a:lnTo>
                    <a:pt x="605" y="468"/>
                  </a:lnTo>
                  <a:lnTo>
                    <a:pt x="617" y="466"/>
                  </a:lnTo>
                  <a:lnTo>
                    <a:pt x="614" y="478"/>
                  </a:lnTo>
                  <a:lnTo>
                    <a:pt x="633" y="477"/>
                  </a:lnTo>
                  <a:lnTo>
                    <a:pt x="634" y="485"/>
                  </a:lnTo>
                  <a:lnTo>
                    <a:pt x="634" y="492"/>
                  </a:lnTo>
                  <a:lnTo>
                    <a:pt x="636" y="500"/>
                  </a:lnTo>
                  <a:lnTo>
                    <a:pt x="626" y="499"/>
                  </a:lnTo>
                  <a:lnTo>
                    <a:pt x="612" y="511"/>
                  </a:lnTo>
                  <a:lnTo>
                    <a:pt x="614" y="519"/>
                  </a:lnTo>
                  <a:lnTo>
                    <a:pt x="612" y="521"/>
                  </a:lnTo>
                  <a:lnTo>
                    <a:pt x="604" y="529"/>
                  </a:lnTo>
                  <a:lnTo>
                    <a:pt x="590" y="524"/>
                  </a:lnTo>
                  <a:lnTo>
                    <a:pt x="594" y="540"/>
                  </a:lnTo>
                  <a:lnTo>
                    <a:pt x="594" y="545"/>
                  </a:lnTo>
                  <a:lnTo>
                    <a:pt x="594" y="551"/>
                  </a:lnTo>
                  <a:lnTo>
                    <a:pt x="600" y="567"/>
                  </a:lnTo>
                  <a:lnTo>
                    <a:pt x="599" y="570"/>
                  </a:lnTo>
                  <a:lnTo>
                    <a:pt x="604" y="580"/>
                  </a:lnTo>
                  <a:lnTo>
                    <a:pt x="604" y="589"/>
                  </a:lnTo>
                  <a:lnTo>
                    <a:pt x="614" y="596"/>
                  </a:lnTo>
                  <a:lnTo>
                    <a:pt x="617" y="601"/>
                  </a:lnTo>
                  <a:lnTo>
                    <a:pt x="616" y="618"/>
                  </a:lnTo>
                  <a:lnTo>
                    <a:pt x="622" y="626"/>
                  </a:lnTo>
                  <a:lnTo>
                    <a:pt x="633" y="631"/>
                  </a:lnTo>
                  <a:lnTo>
                    <a:pt x="645" y="631"/>
                  </a:lnTo>
                  <a:lnTo>
                    <a:pt x="651" y="643"/>
                  </a:lnTo>
                  <a:lnTo>
                    <a:pt x="655" y="647"/>
                  </a:lnTo>
                  <a:lnTo>
                    <a:pt x="658" y="648"/>
                  </a:lnTo>
                  <a:lnTo>
                    <a:pt x="660" y="653"/>
                  </a:lnTo>
                  <a:lnTo>
                    <a:pt x="660" y="660"/>
                  </a:lnTo>
                  <a:lnTo>
                    <a:pt x="663" y="659"/>
                  </a:lnTo>
                  <a:lnTo>
                    <a:pt x="679" y="669"/>
                  </a:lnTo>
                  <a:lnTo>
                    <a:pt x="694" y="669"/>
                  </a:lnTo>
                  <a:lnTo>
                    <a:pt x="709" y="653"/>
                  </a:lnTo>
                  <a:lnTo>
                    <a:pt x="711" y="652"/>
                  </a:lnTo>
                  <a:lnTo>
                    <a:pt x="718" y="664"/>
                  </a:lnTo>
                  <a:lnTo>
                    <a:pt x="718" y="669"/>
                  </a:lnTo>
                  <a:lnTo>
                    <a:pt x="726" y="669"/>
                  </a:lnTo>
                  <a:lnTo>
                    <a:pt x="733" y="665"/>
                  </a:lnTo>
                  <a:lnTo>
                    <a:pt x="735" y="665"/>
                  </a:lnTo>
                  <a:lnTo>
                    <a:pt x="750" y="669"/>
                  </a:lnTo>
                  <a:lnTo>
                    <a:pt x="753" y="669"/>
                  </a:lnTo>
                  <a:lnTo>
                    <a:pt x="757" y="660"/>
                  </a:lnTo>
                  <a:lnTo>
                    <a:pt x="772" y="655"/>
                  </a:lnTo>
                  <a:lnTo>
                    <a:pt x="775" y="647"/>
                  </a:lnTo>
                  <a:lnTo>
                    <a:pt x="781" y="635"/>
                  </a:lnTo>
                  <a:lnTo>
                    <a:pt x="781" y="626"/>
                  </a:lnTo>
                  <a:lnTo>
                    <a:pt x="774" y="618"/>
                  </a:lnTo>
                  <a:lnTo>
                    <a:pt x="770" y="613"/>
                  </a:lnTo>
                  <a:lnTo>
                    <a:pt x="770" y="608"/>
                  </a:lnTo>
                  <a:lnTo>
                    <a:pt x="779" y="602"/>
                  </a:lnTo>
                  <a:lnTo>
                    <a:pt x="784" y="594"/>
                  </a:lnTo>
                  <a:lnTo>
                    <a:pt x="816" y="587"/>
                  </a:lnTo>
                  <a:lnTo>
                    <a:pt x="835" y="591"/>
                  </a:lnTo>
                  <a:lnTo>
                    <a:pt x="840" y="592"/>
                  </a:lnTo>
                  <a:lnTo>
                    <a:pt x="849" y="592"/>
                  </a:lnTo>
                  <a:lnTo>
                    <a:pt x="854" y="589"/>
                  </a:lnTo>
                  <a:lnTo>
                    <a:pt x="866" y="585"/>
                  </a:lnTo>
                  <a:lnTo>
                    <a:pt x="862" y="575"/>
                  </a:lnTo>
                  <a:lnTo>
                    <a:pt x="872" y="553"/>
                  </a:lnTo>
                  <a:lnTo>
                    <a:pt x="877" y="551"/>
                  </a:lnTo>
                  <a:lnTo>
                    <a:pt x="886" y="541"/>
                  </a:lnTo>
                  <a:lnTo>
                    <a:pt x="896" y="538"/>
                  </a:lnTo>
                  <a:lnTo>
                    <a:pt x="900" y="534"/>
                  </a:lnTo>
                  <a:lnTo>
                    <a:pt x="905" y="524"/>
                  </a:lnTo>
                  <a:lnTo>
                    <a:pt x="905" y="517"/>
                  </a:lnTo>
                  <a:lnTo>
                    <a:pt x="918" y="523"/>
                  </a:lnTo>
                  <a:lnTo>
                    <a:pt x="932" y="516"/>
                  </a:lnTo>
                  <a:lnTo>
                    <a:pt x="937" y="517"/>
                  </a:lnTo>
                  <a:lnTo>
                    <a:pt x="942" y="512"/>
                  </a:lnTo>
                  <a:lnTo>
                    <a:pt x="949" y="505"/>
                  </a:lnTo>
                  <a:lnTo>
                    <a:pt x="961" y="507"/>
                  </a:lnTo>
                  <a:lnTo>
                    <a:pt x="969" y="505"/>
                  </a:lnTo>
                  <a:lnTo>
                    <a:pt x="973" y="502"/>
                  </a:lnTo>
                  <a:lnTo>
                    <a:pt x="969" y="495"/>
                  </a:lnTo>
                  <a:lnTo>
                    <a:pt x="968" y="485"/>
                  </a:lnTo>
                  <a:lnTo>
                    <a:pt x="966" y="478"/>
                  </a:lnTo>
                  <a:lnTo>
                    <a:pt x="978" y="477"/>
                  </a:lnTo>
                  <a:lnTo>
                    <a:pt x="985" y="473"/>
                  </a:lnTo>
                  <a:lnTo>
                    <a:pt x="995" y="473"/>
                  </a:lnTo>
                  <a:lnTo>
                    <a:pt x="1002" y="482"/>
                  </a:lnTo>
                  <a:lnTo>
                    <a:pt x="1007" y="483"/>
                  </a:lnTo>
                  <a:lnTo>
                    <a:pt x="1012" y="478"/>
                  </a:lnTo>
                  <a:lnTo>
                    <a:pt x="1017" y="471"/>
                  </a:lnTo>
                  <a:lnTo>
                    <a:pt x="1020" y="478"/>
                  </a:lnTo>
                  <a:lnTo>
                    <a:pt x="1027" y="478"/>
                  </a:lnTo>
                  <a:lnTo>
                    <a:pt x="1029" y="485"/>
                  </a:lnTo>
                  <a:lnTo>
                    <a:pt x="1032" y="485"/>
                  </a:lnTo>
                  <a:lnTo>
                    <a:pt x="1047" y="492"/>
                  </a:lnTo>
                  <a:lnTo>
                    <a:pt x="1053" y="492"/>
                  </a:lnTo>
                  <a:lnTo>
                    <a:pt x="1059" y="490"/>
                  </a:lnTo>
                  <a:lnTo>
                    <a:pt x="1061" y="485"/>
                  </a:lnTo>
                  <a:lnTo>
                    <a:pt x="1066" y="487"/>
                  </a:lnTo>
                  <a:lnTo>
                    <a:pt x="1070" y="477"/>
                  </a:lnTo>
                  <a:lnTo>
                    <a:pt x="1078" y="475"/>
                  </a:lnTo>
                  <a:lnTo>
                    <a:pt x="1085" y="471"/>
                  </a:lnTo>
                  <a:lnTo>
                    <a:pt x="1085" y="473"/>
                  </a:lnTo>
                  <a:lnTo>
                    <a:pt x="1087" y="465"/>
                  </a:lnTo>
                  <a:lnTo>
                    <a:pt x="1090" y="448"/>
                  </a:lnTo>
                  <a:lnTo>
                    <a:pt x="1105" y="439"/>
                  </a:lnTo>
                  <a:lnTo>
                    <a:pt x="1109" y="456"/>
                  </a:lnTo>
                  <a:lnTo>
                    <a:pt x="1117" y="437"/>
                  </a:lnTo>
                  <a:lnTo>
                    <a:pt x="1121" y="434"/>
                  </a:lnTo>
                  <a:lnTo>
                    <a:pt x="1110" y="431"/>
                  </a:lnTo>
                  <a:lnTo>
                    <a:pt x="1107" y="422"/>
                  </a:lnTo>
                  <a:lnTo>
                    <a:pt x="1112" y="419"/>
                  </a:lnTo>
                  <a:lnTo>
                    <a:pt x="1110" y="410"/>
                  </a:lnTo>
                  <a:lnTo>
                    <a:pt x="1105" y="402"/>
                  </a:lnTo>
                  <a:lnTo>
                    <a:pt x="1114" y="398"/>
                  </a:lnTo>
                  <a:lnTo>
                    <a:pt x="1114" y="392"/>
                  </a:lnTo>
                  <a:lnTo>
                    <a:pt x="1110" y="385"/>
                  </a:lnTo>
                  <a:lnTo>
                    <a:pt x="1109" y="380"/>
                  </a:lnTo>
                  <a:lnTo>
                    <a:pt x="1119" y="381"/>
                  </a:lnTo>
                  <a:lnTo>
                    <a:pt x="1122" y="386"/>
                  </a:lnTo>
                  <a:lnTo>
                    <a:pt x="1131" y="390"/>
                  </a:lnTo>
                  <a:lnTo>
                    <a:pt x="1134" y="369"/>
                  </a:lnTo>
                  <a:lnTo>
                    <a:pt x="1131" y="368"/>
                  </a:lnTo>
                  <a:lnTo>
                    <a:pt x="1143" y="363"/>
                  </a:lnTo>
                  <a:lnTo>
                    <a:pt x="1141" y="354"/>
                  </a:lnTo>
                  <a:lnTo>
                    <a:pt x="1146" y="347"/>
                  </a:lnTo>
                  <a:lnTo>
                    <a:pt x="1151" y="339"/>
                  </a:lnTo>
                  <a:lnTo>
                    <a:pt x="1155" y="329"/>
                  </a:lnTo>
                  <a:lnTo>
                    <a:pt x="1156" y="329"/>
                  </a:lnTo>
                  <a:lnTo>
                    <a:pt x="1161" y="310"/>
                  </a:lnTo>
                  <a:lnTo>
                    <a:pt x="1172" y="306"/>
                  </a:lnTo>
                  <a:lnTo>
                    <a:pt x="1182" y="313"/>
                  </a:lnTo>
                  <a:lnTo>
                    <a:pt x="1202" y="322"/>
                  </a:lnTo>
                  <a:lnTo>
                    <a:pt x="1217" y="330"/>
                  </a:lnTo>
                  <a:lnTo>
                    <a:pt x="1219" y="330"/>
                  </a:lnTo>
                  <a:lnTo>
                    <a:pt x="1229" y="332"/>
                  </a:lnTo>
                  <a:lnTo>
                    <a:pt x="1234" y="332"/>
                  </a:lnTo>
                  <a:lnTo>
                    <a:pt x="1236" y="342"/>
                  </a:lnTo>
                  <a:lnTo>
                    <a:pt x="1248" y="344"/>
                  </a:lnTo>
                  <a:lnTo>
                    <a:pt x="1246" y="349"/>
                  </a:lnTo>
                  <a:lnTo>
                    <a:pt x="1243" y="356"/>
                  </a:lnTo>
                  <a:lnTo>
                    <a:pt x="1238" y="366"/>
                  </a:lnTo>
                  <a:lnTo>
                    <a:pt x="1246" y="371"/>
                  </a:lnTo>
                  <a:lnTo>
                    <a:pt x="1257" y="369"/>
                  </a:lnTo>
                  <a:lnTo>
                    <a:pt x="1263" y="369"/>
                  </a:lnTo>
                  <a:lnTo>
                    <a:pt x="1279" y="364"/>
                  </a:lnTo>
                  <a:lnTo>
                    <a:pt x="1284" y="371"/>
                  </a:lnTo>
                  <a:lnTo>
                    <a:pt x="1289" y="380"/>
                  </a:lnTo>
                  <a:lnTo>
                    <a:pt x="1301" y="375"/>
                  </a:lnTo>
                  <a:lnTo>
                    <a:pt x="1309" y="369"/>
                  </a:lnTo>
                  <a:lnTo>
                    <a:pt x="1313" y="381"/>
                  </a:lnTo>
                  <a:lnTo>
                    <a:pt x="1321" y="385"/>
                  </a:lnTo>
                  <a:lnTo>
                    <a:pt x="1333" y="381"/>
                  </a:lnTo>
                  <a:lnTo>
                    <a:pt x="1340" y="381"/>
                  </a:lnTo>
                  <a:lnTo>
                    <a:pt x="1347" y="383"/>
                  </a:lnTo>
                  <a:lnTo>
                    <a:pt x="1355" y="385"/>
                  </a:lnTo>
                  <a:lnTo>
                    <a:pt x="1364" y="388"/>
                  </a:lnTo>
                  <a:lnTo>
                    <a:pt x="1359" y="393"/>
                  </a:lnTo>
                  <a:lnTo>
                    <a:pt x="1360" y="405"/>
                  </a:lnTo>
                  <a:lnTo>
                    <a:pt x="1370" y="412"/>
                  </a:lnTo>
                  <a:lnTo>
                    <a:pt x="1372" y="407"/>
                  </a:lnTo>
                  <a:lnTo>
                    <a:pt x="1381" y="405"/>
                  </a:lnTo>
                  <a:lnTo>
                    <a:pt x="1389" y="397"/>
                  </a:lnTo>
                  <a:lnTo>
                    <a:pt x="1394" y="392"/>
                  </a:lnTo>
                  <a:lnTo>
                    <a:pt x="1404" y="385"/>
                  </a:lnTo>
                  <a:lnTo>
                    <a:pt x="1404" y="380"/>
                  </a:lnTo>
                  <a:lnTo>
                    <a:pt x="1404" y="378"/>
                  </a:lnTo>
                  <a:lnTo>
                    <a:pt x="1413" y="369"/>
                  </a:lnTo>
                  <a:lnTo>
                    <a:pt x="1415" y="359"/>
                  </a:lnTo>
                  <a:lnTo>
                    <a:pt x="1415" y="357"/>
                  </a:lnTo>
                  <a:lnTo>
                    <a:pt x="1425" y="346"/>
                  </a:lnTo>
                  <a:lnTo>
                    <a:pt x="1437" y="340"/>
                  </a:lnTo>
                  <a:lnTo>
                    <a:pt x="1447" y="342"/>
                  </a:lnTo>
                  <a:lnTo>
                    <a:pt x="1452" y="342"/>
                  </a:lnTo>
                  <a:lnTo>
                    <a:pt x="1455" y="330"/>
                  </a:lnTo>
                  <a:lnTo>
                    <a:pt x="1455" y="334"/>
                  </a:lnTo>
                  <a:lnTo>
                    <a:pt x="1464" y="335"/>
                  </a:lnTo>
                  <a:lnTo>
                    <a:pt x="1474" y="339"/>
                  </a:lnTo>
                  <a:lnTo>
                    <a:pt x="1483" y="339"/>
                  </a:lnTo>
                  <a:lnTo>
                    <a:pt x="1484" y="335"/>
                  </a:lnTo>
                  <a:lnTo>
                    <a:pt x="1495" y="335"/>
                  </a:lnTo>
                  <a:lnTo>
                    <a:pt x="1501" y="329"/>
                  </a:lnTo>
                  <a:lnTo>
                    <a:pt x="1506" y="325"/>
                  </a:lnTo>
                  <a:lnTo>
                    <a:pt x="1512" y="327"/>
                  </a:lnTo>
                  <a:lnTo>
                    <a:pt x="1525" y="325"/>
                  </a:lnTo>
                  <a:lnTo>
                    <a:pt x="1532" y="323"/>
                  </a:lnTo>
                  <a:lnTo>
                    <a:pt x="1537" y="325"/>
                  </a:lnTo>
                  <a:lnTo>
                    <a:pt x="1542" y="337"/>
                  </a:lnTo>
                  <a:lnTo>
                    <a:pt x="1547" y="337"/>
                  </a:lnTo>
                  <a:lnTo>
                    <a:pt x="1557" y="342"/>
                  </a:lnTo>
                  <a:lnTo>
                    <a:pt x="1564" y="342"/>
                  </a:lnTo>
                  <a:lnTo>
                    <a:pt x="1566" y="346"/>
                  </a:lnTo>
                  <a:lnTo>
                    <a:pt x="1554" y="354"/>
                  </a:lnTo>
                  <a:lnTo>
                    <a:pt x="1562" y="356"/>
                  </a:lnTo>
                  <a:lnTo>
                    <a:pt x="1559" y="359"/>
                  </a:lnTo>
                  <a:lnTo>
                    <a:pt x="1562" y="359"/>
                  </a:lnTo>
                  <a:lnTo>
                    <a:pt x="1573" y="373"/>
                  </a:lnTo>
                  <a:lnTo>
                    <a:pt x="1576" y="375"/>
                  </a:lnTo>
                  <a:lnTo>
                    <a:pt x="1581" y="371"/>
                  </a:lnTo>
                  <a:lnTo>
                    <a:pt x="1583" y="363"/>
                  </a:lnTo>
                  <a:lnTo>
                    <a:pt x="1591" y="357"/>
                  </a:lnTo>
                  <a:lnTo>
                    <a:pt x="1591" y="351"/>
                  </a:lnTo>
                  <a:lnTo>
                    <a:pt x="1596" y="342"/>
                  </a:lnTo>
                  <a:lnTo>
                    <a:pt x="1595" y="340"/>
                  </a:lnTo>
                  <a:lnTo>
                    <a:pt x="1603" y="339"/>
                  </a:lnTo>
                  <a:lnTo>
                    <a:pt x="1617" y="340"/>
                  </a:lnTo>
                  <a:lnTo>
                    <a:pt x="1612" y="346"/>
                  </a:lnTo>
                  <a:lnTo>
                    <a:pt x="1615" y="356"/>
                  </a:lnTo>
                  <a:lnTo>
                    <a:pt x="1619" y="357"/>
                  </a:lnTo>
                  <a:lnTo>
                    <a:pt x="1622" y="366"/>
                  </a:lnTo>
                  <a:lnTo>
                    <a:pt x="1630" y="363"/>
                  </a:lnTo>
                  <a:lnTo>
                    <a:pt x="1642"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grpSp>
        <p:nvGrpSpPr>
          <p:cNvPr id="35" name="Group 34">
            <a:extLst>
              <a:ext uri="{FF2B5EF4-FFF2-40B4-BE49-F238E27FC236}">
                <a16:creationId xmlns:a16="http://schemas.microsoft.com/office/drawing/2014/main" id="{ECF9F4F2-041C-459D-A5B8-2A77FB0C24DE}"/>
              </a:ext>
            </a:extLst>
          </p:cNvPr>
          <p:cNvGrpSpPr/>
          <p:nvPr/>
        </p:nvGrpSpPr>
        <p:grpSpPr>
          <a:xfrm>
            <a:off x="200472" y="2564904"/>
            <a:ext cx="1584176" cy="215444"/>
            <a:chOff x="200472" y="2564904"/>
            <a:chExt cx="1584176" cy="215444"/>
          </a:xfrm>
        </p:grpSpPr>
        <p:sp>
          <p:nvSpPr>
            <p:cNvPr id="13" name="Oval 12">
              <a:extLst>
                <a:ext uri="{FF2B5EF4-FFF2-40B4-BE49-F238E27FC236}">
                  <a16:creationId xmlns:a16="http://schemas.microsoft.com/office/drawing/2014/main" id="{A5D2C158-A3B7-4168-BFCC-450084C73A00}"/>
                </a:ext>
              </a:extLst>
            </p:cNvPr>
            <p:cNvSpPr/>
            <p:nvPr/>
          </p:nvSpPr>
          <p:spPr>
            <a:xfrm>
              <a:off x="200472" y="2581186"/>
              <a:ext cx="182880" cy="18288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29" name="TextBox 28">
              <a:extLst>
                <a:ext uri="{FF2B5EF4-FFF2-40B4-BE49-F238E27FC236}">
                  <a16:creationId xmlns:a16="http://schemas.microsoft.com/office/drawing/2014/main" id="{DA0C2636-4E48-4278-B709-43EB37AF8D80}"/>
                </a:ext>
              </a:extLst>
            </p:cNvPr>
            <p:cNvSpPr txBox="1"/>
            <p:nvPr/>
          </p:nvSpPr>
          <p:spPr>
            <a:xfrm>
              <a:off x="479804" y="2564904"/>
              <a:ext cx="1304844" cy="215444"/>
            </a:xfrm>
            <a:prstGeom prst="rect">
              <a:avLst/>
            </a:prstGeom>
          </p:spPr>
          <p:txBody>
            <a:bodyPr vert="horz" wrap="non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CA" sz="1400" dirty="0">
                  <a:ea typeface="HGP創英角ｺﾞｼｯｸUB" panose="020B0A00000000000000" pitchFamily="34" charset="-128"/>
                </a:rPr>
                <a:t>Designated SEZ</a:t>
              </a:r>
            </a:p>
          </p:txBody>
        </p:sp>
      </p:grpSp>
      <p:sp>
        <p:nvSpPr>
          <p:cNvPr id="31" name="TextBox 30">
            <a:extLst>
              <a:ext uri="{FF2B5EF4-FFF2-40B4-BE49-F238E27FC236}">
                <a16:creationId xmlns:a16="http://schemas.microsoft.com/office/drawing/2014/main" id="{61FDBCE4-2F4F-4A31-B377-21AA84353E2B}"/>
              </a:ext>
            </a:extLst>
          </p:cNvPr>
          <p:cNvSpPr txBox="1"/>
          <p:nvPr/>
        </p:nvSpPr>
        <p:spPr>
          <a:xfrm>
            <a:off x="200593" y="2204864"/>
            <a:ext cx="6840639" cy="215444"/>
          </a:xfrm>
          <a:prstGeom prst="rect">
            <a:avLst/>
          </a:prstGeom>
        </p:spPr>
        <p:txBody>
          <a:bodyPr vert="horz" wrap="squar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ea typeface="HGP創英角ｺﾞｼｯｸUB" panose="020B0A00000000000000" pitchFamily="34" charset="-128"/>
              </a:rPr>
              <a:t>南アフリカの経済特別区</a:t>
            </a:r>
            <a:endParaRPr lang="en-CA" sz="1400" dirty="0">
              <a:ea typeface="HGP創英角ｺﾞｼｯｸUB" panose="020B0A00000000000000" pitchFamily="34" charset="-128"/>
            </a:endParaRPr>
          </a:p>
        </p:txBody>
      </p:sp>
      <p:sp>
        <p:nvSpPr>
          <p:cNvPr id="34" name="Oval 33">
            <a:extLst>
              <a:ext uri="{FF2B5EF4-FFF2-40B4-BE49-F238E27FC236}">
                <a16:creationId xmlns:a16="http://schemas.microsoft.com/office/drawing/2014/main" id="{E3C48523-F3B1-494C-A1EE-9DA9607DEC94}"/>
              </a:ext>
            </a:extLst>
          </p:cNvPr>
          <p:cNvSpPr/>
          <p:nvPr/>
        </p:nvSpPr>
        <p:spPr>
          <a:xfrm>
            <a:off x="1784648" y="5647586"/>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6" name="Oval 35">
            <a:extLst>
              <a:ext uri="{FF2B5EF4-FFF2-40B4-BE49-F238E27FC236}">
                <a16:creationId xmlns:a16="http://schemas.microsoft.com/office/drawing/2014/main" id="{7F128EB5-7DB4-461D-9AE1-3E9D852E280C}"/>
              </a:ext>
            </a:extLst>
          </p:cNvPr>
          <p:cNvSpPr/>
          <p:nvPr/>
        </p:nvSpPr>
        <p:spPr>
          <a:xfrm>
            <a:off x="1856656" y="5902474"/>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7" name="Oval 36">
            <a:extLst>
              <a:ext uri="{FF2B5EF4-FFF2-40B4-BE49-F238E27FC236}">
                <a16:creationId xmlns:a16="http://schemas.microsoft.com/office/drawing/2014/main" id="{5AED59D8-E4C1-492B-8574-604064981AC9}"/>
              </a:ext>
            </a:extLst>
          </p:cNvPr>
          <p:cNvSpPr/>
          <p:nvPr/>
        </p:nvSpPr>
        <p:spPr>
          <a:xfrm>
            <a:off x="3983752" y="57916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8" name="Oval 37">
            <a:extLst>
              <a:ext uri="{FF2B5EF4-FFF2-40B4-BE49-F238E27FC236}">
                <a16:creationId xmlns:a16="http://schemas.microsoft.com/office/drawing/2014/main" id="{10165758-660B-4440-B199-66A70262583C}"/>
              </a:ext>
            </a:extLst>
          </p:cNvPr>
          <p:cNvSpPr/>
          <p:nvPr/>
        </p:nvSpPr>
        <p:spPr>
          <a:xfrm>
            <a:off x="4592960" y="557557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9" name="Oval 38">
            <a:extLst>
              <a:ext uri="{FF2B5EF4-FFF2-40B4-BE49-F238E27FC236}">
                <a16:creationId xmlns:a16="http://schemas.microsoft.com/office/drawing/2014/main" id="{89052F31-49CD-46B6-AC8E-F59765898E5B}"/>
              </a:ext>
            </a:extLst>
          </p:cNvPr>
          <p:cNvSpPr/>
          <p:nvPr/>
        </p:nvSpPr>
        <p:spPr>
          <a:xfrm>
            <a:off x="5457056" y="471148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0" name="Oval 39">
            <a:extLst>
              <a:ext uri="{FF2B5EF4-FFF2-40B4-BE49-F238E27FC236}">
                <a16:creationId xmlns:a16="http://schemas.microsoft.com/office/drawing/2014/main" id="{9A324343-C9F8-4880-8809-554AE6CB06AD}"/>
              </a:ext>
            </a:extLst>
          </p:cNvPr>
          <p:cNvSpPr/>
          <p:nvPr/>
        </p:nvSpPr>
        <p:spPr>
          <a:xfrm>
            <a:off x="5745088" y="442345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1" name="Oval 40">
            <a:extLst>
              <a:ext uri="{FF2B5EF4-FFF2-40B4-BE49-F238E27FC236}">
                <a16:creationId xmlns:a16="http://schemas.microsoft.com/office/drawing/2014/main" id="{3403D934-78C0-4619-8EC6-5750DF985030}"/>
              </a:ext>
            </a:extLst>
          </p:cNvPr>
          <p:cNvSpPr/>
          <p:nvPr/>
        </p:nvSpPr>
        <p:spPr>
          <a:xfrm>
            <a:off x="4880992" y="269525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2" name="Oval 41">
            <a:extLst>
              <a:ext uri="{FF2B5EF4-FFF2-40B4-BE49-F238E27FC236}">
                <a16:creationId xmlns:a16="http://schemas.microsoft.com/office/drawing/2014/main" id="{23BCD7AC-5393-4D69-8AF9-3B3718DF4D62}"/>
              </a:ext>
            </a:extLst>
          </p:cNvPr>
          <p:cNvSpPr/>
          <p:nvPr/>
        </p:nvSpPr>
        <p:spPr>
          <a:xfrm>
            <a:off x="5567928" y="34542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3" name="Oval 42">
            <a:extLst>
              <a:ext uri="{FF2B5EF4-FFF2-40B4-BE49-F238E27FC236}">
                <a16:creationId xmlns:a16="http://schemas.microsoft.com/office/drawing/2014/main" id="{8AFC04E8-3ADE-4B03-8673-B0513C078E2F}"/>
              </a:ext>
            </a:extLst>
          </p:cNvPr>
          <p:cNvSpPr/>
          <p:nvPr/>
        </p:nvSpPr>
        <p:spPr>
          <a:xfrm>
            <a:off x="4592960" y="370337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4" name="Oval 43">
            <a:extLst>
              <a:ext uri="{FF2B5EF4-FFF2-40B4-BE49-F238E27FC236}">
                <a16:creationId xmlns:a16="http://schemas.microsoft.com/office/drawing/2014/main" id="{1CDA4A8F-15A0-49CA-AB99-D2653C3AA83D}"/>
              </a:ext>
            </a:extLst>
          </p:cNvPr>
          <p:cNvSpPr/>
          <p:nvPr/>
        </p:nvSpPr>
        <p:spPr>
          <a:xfrm>
            <a:off x="4592960" y="413541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pic>
        <p:nvPicPr>
          <p:cNvPr id="48" name="Picture 47">
            <a:extLst>
              <a:ext uri="{FF2B5EF4-FFF2-40B4-BE49-F238E27FC236}">
                <a16:creationId xmlns:a16="http://schemas.microsoft.com/office/drawing/2014/main" id="{B4F2F911-10C0-4DEE-8CBB-652DF35D5DCE}"/>
              </a:ext>
            </a:extLst>
          </p:cNvPr>
          <p:cNvPicPr>
            <a:picLocks noChangeAspect="1"/>
          </p:cNvPicPr>
          <p:nvPr/>
        </p:nvPicPr>
        <p:blipFill>
          <a:blip r:embed="rId7"/>
          <a:stretch>
            <a:fillRect/>
          </a:stretch>
        </p:blipFill>
        <p:spPr>
          <a:xfrm>
            <a:off x="331618" y="5575578"/>
            <a:ext cx="1402875" cy="301694"/>
          </a:xfrm>
          <a:prstGeom prst="rect">
            <a:avLst/>
          </a:prstGeom>
        </p:spPr>
      </p:pic>
      <p:pic>
        <p:nvPicPr>
          <p:cNvPr id="50" name="Picture 49">
            <a:extLst>
              <a:ext uri="{FF2B5EF4-FFF2-40B4-BE49-F238E27FC236}">
                <a16:creationId xmlns:a16="http://schemas.microsoft.com/office/drawing/2014/main" id="{A6BA6441-E036-4660-8520-48BA03263993}"/>
              </a:ext>
            </a:extLst>
          </p:cNvPr>
          <p:cNvPicPr>
            <a:picLocks noChangeAspect="1"/>
          </p:cNvPicPr>
          <p:nvPr/>
        </p:nvPicPr>
        <p:blipFill>
          <a:blip r:embed="rId8"/>
          <a:stretch>
            <a:fillRect/>
          </a:stretch>
        </p:blipFill>
        <p:spPr>
          <a:xfrm>
            <a:off x="1424608" y="5949280"/>
            <a:ext cx="352474" cy="342948"/>
          </a:xfrm>
          <a:prstGeom prst="rect">
            <a:avLst/>
          </a:prstGeom>
        </p:spPr>
      </p:pic>
      <p:pic>
        <p:nvPicPr>
          <p:cNvPr id="52" name="Picture 51">
            <a:extLst>
              <a:ext uri="{FF2B5EF4-FFF2-40B4-BE49-F238E27FC236}">
                <a16:creationId xmlns:a16="http://schemas.microsoft.com/office/drawing/2014/main" id="{F074ED3B-B14A-4987-9A3F-6AF0E1D8F23C}"/>
              </a:ext>
            </a:extLst>
          </p:cNvPr>
          <p:cNvPicPr>
            <a:picLocks noChangeAspect="1"/>
          </p:cNvPicPr>
          <p:nvPr/>
        </p:nvPicPr>
        <p:blipFill>
          <a:blip r:embed="rId9"/>
          <a:stretch>
            <a:fillRect/>
          </a:stretch>
        </p:blipFill>
        <p:spPr>
          <a:xfrm>
            <a:off x="3872880" y="5949280"/>
            <a:ext cx="521234" cy="537716"/>
          </a:xfrm>
          <a:prstGeom prst="rect">
            <a:avLst/>
          </a:prstGeom>
        </p:spPr>
      </p:pic>
      <p:pic>
        <p:nvPicPr>
          <p:cNvPr id="54" name="Picture 53">
            <a:extLst>
              <a:ext uri="{FF2B5EF4-FFF2-40B4-BE49-F238E27FC236}">
                <a16:creationId xmlns:a16="http://schemas.microsoft.com/office/drawing/2014/main" id="{DAC23042-9FD8-4D27-8165-8D3FC76D5791}"/>
              </a:ext>
            </a:extLst>
          </p:cNvPr>
          <p:cNvPicPr>
            <a:picLocks noChangeAspect="1"/>
          </p:cNvPicPr>
          <p:nvPr/>
        </p:nvPicPr>
        <p:blipFill>
          <a:blip r:embed="rId10"/>
          <a:stretch>
            <a:fillRect/>
          </a:stretch>
        </p:blipFill>
        <p:spPr>
          <a:xfrm>
            <a:off x="4592960" y="5733256"/>
            <a:ext cx="1037254" cy="444536"/>
          </a:xfrm>
          <a:prstGeom prst="rect">
            <a:avLst/>
          </a:prstGeom>
        </p:spPr>
      </p:pic>
      <p:pic>
        <p:nvPicPr>
          <p:cNvPr id="56" name="Picture 55">
            <a:extLst>
              <a:ext uri="{FF2B5EF4-FFF2-40B4-BE49-F238E27FC236}">
                <a16:creationId xmlns:a16="http://schemas.microsoft.com/office/drawing/2014/main" id="{4E2011DD-17C0-4198-BDDE-0E611717636D}"/>
              </a:ext>
            </a:extLst>
          </p:cNvPr>
          <p:cNvPicPr>
            <a:picLocks noChangeAspect="1"/>
          </p:cNvPicPr>
          <p:nvPr/>
        </p:nvPicPr>
        <p:blipFill>
          <a:blip r:embed="rId11"/>
          <a:stretch>
            <a:fillRect/>
          </a:stretch>
        </p:blipFill>
        <p:spPr>
          <a:xfrm>
            <a:off x="5601072" y="4711482"/>
            <a:ext cx="432048" cy="245728"/>
          </a:xfrm>
          <a:prstGeom prst="rect">
            <a:avLst/>
          </a:prstGeom>
        </p:spPr>
      </p:pic>
      <p:pic>
        <p:nvPicPr>
          <p:cNvPr id="61" name="Picture 60">
            <a:extLst>
              <a:ext uri="{FF2B5EF4-FFF2-40B4-BE49-F238E27FC236}">
                <a16:creationId xmlns:a16="http://schemas.microsoft.com/office/drawing/2014/main" id="{803A2FC5-0B45-4BB8-A6BF-44389B897CAD}"/>
              </a:ext>
            </a:extLst>
          </p:cNvPr>
          <p:cNvPicPr>
            <a:picLocks noChangeAspect="1"/>
          </p:cNvPicPr>
          <p:nvPr/>
        </p:nvPicPr>
        <p:blipFill>
          <a:blip r:embed="rId12"/>
          <a:stretch>
            <a:fillRect/>
          </a:stretch>
        </p:blipFill>
        <p:spPr>
          <a:xfrm>
            <a:off x="5889104" y="3356992"/>
            <a:ext cx="370842" cy="288032"/>
          </a:xfrm>
          <a:prstGeom prst="rect">
            <a:avLst/>
          </a:prstGeom>
        </p:spPr>
      </p:pic>
      <p:pic>
        <p:nvPicPr>
          <p:cNvPr id="63" name="Picture 62">
            <a:extLst>
              <a:ext uri="{FF2B5EF4-FFF2-40B4-BE49-F238E27FC236}">
                <a16:creationId xmlns:a16="http://schemas.microsoft.com/office/drawing/2014/main" id="{1E3788BD-34A6-44AB-8CB7-3DFF82AD05B0}"/>
              </a:ext>
            </a:extLst>
          </p:cNvPr>
          <p:cNvPicPr>
            <a:picLocks noChangeAspect="1"/>
          </p:cNvPicPr>
          <p:nvPr/>
        </p:nvPicPr>
        <p:blipFill>
          <a:blip r:embed="rId13"/>
          <a:stretch>
            <a:fillRect/>
          </a:stretch>
        </p:blipFill>
        <p:spPr>
          <a:xfrm>
            <a:off x="4257455" y="2276872"/>
            <a:ext cx="479521" cy="405368"/>
          </a:xfrm>
          <a:prstGeom prst="rect">
            <a:avLst/>
          </a:prstGeom>
        </p:spPr>
      </p:pic>
      <p:pic>
        <p:nvPicPr>
          <p:cNvPr id="65" name="Picture 64">
            <a:extLst>
              <a:ext uri="{FF2B5EF4-FFF2-40B4-BE49-F238E27FC236}">
                <a16:creationId xmlns:a16="http://schemas.microsoft.com/office/drawing/2014/main" id="{39611C18-187F-4CA4-8F0D-3F875332C06B}"/>
              </a:ext>
            </a:extLst>
          </p:cNvPr>
          <p:cNvPicPr>
            <a:picLocks noChangeAspect="1"/>
          </p:cNvPicPr>
          <p:nvPr/>
        </p:nvPicPr>
        <p:blipFill>
          <a:blip r:embed="rId14"/>
          <a:stretch>
            <a:fillRect/>
          </a:stretch>
        </p:blipFill>
        <p:spPr>
          <a:xfrm>
            <a:off x="2936776" y="2780928"/>
            <a:ext cx="982470" cy="579818"/>
          </a:xfrm>
          <a:prstGeom prst="rect">
            <a:avLst/>
          </a:prstGeom>
        </p:spPr>
      </p:pic>
      <p:cxnSp>
        <p:nvCxnSpPr>
          <p:cNvPr id="67" name="Straight Arrow Connector 66">
            <a:extLst>
              <a:ext uri="{FF2B5EF4-FFF2-40B4-BE49-F238E27FC236}">
                <a16:creationId xmlns:a16="http://schemas.microsoft.com/office/drawing/2014/main" id="{BDBC200B-3267-428A-A60B-7C1C804A6091}"/>
              </a:ext>
            </a:extLst>
          </p:cNvPr>
          <p:cNvCxnSpPr>
            <a:cxnSpLocks/>
            <a:stCxn id="65" idx="3"/>
            <a:endCxn id="43" idx="1"/>
          </p:cNvCxnSpPr>
          <p:nvPr/>
        </p:nvCxnSpPr>
        <p:spPr>
          <a:xfrm>
            <a:off x="3919246" y="3070837"/>
            <a:ext cx="689113" cy="647932"/>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7819F524-F8BD-4F08-B307-0A0AB9FCDDBF}"/>
              </a:ext>
            </a:extLst>
          </p:cNvPr>
          <p:cNvPicPr>
            <a:picLocks noChangeAspect="1"/>
          </p:cNvPicPr>
          <p:nvPr/>
        </p:nvPicPr>
        <p:blipFill>
          <a:blip r:embed="rId15"/>
          <a:stretch>
            <a:fillRect/>
          </a:stretch>
        </p:blipFill>
        <p:spPr>
          <a:xfrm>
            <a:off x="560512" y="3645024"/>
            <a:ext cx="1488058" cy="562416"/>
          </a:xfrm>
          <a:prstGeom prst="rect">
            <a:avLst/>
          </a:prstGeom>
        </p:spPr>
      </p:pic>
      <p:cxnSp>
        <p:nvCxnSpPr>
          <p:cNvPr id="71" name="Straight Arrow Connector 70">
            <a:extLst>
              <a:ext uri="{FF2B5EF4-FFF2-40B4-BE49-F238E27FC236}">
                <a16:creationId xmlns:a16="http://schemas.microsoft.com/office/drawing/2014/main" id="{77A07C63-E769-4DDF-8C5D-6B870CC4EFF9}"/>
              </a:ext>
            </a:extLst>
          </p:cNvPr>
          <p:cNvCxnSpPr>
            <a:cxnSpLocks/>
          </p:cNvCxnSpPr>
          <p:nvPr/>
        </p:nvCxnSpPr>
        <p:spPr>
          <a:xfrm>
            <a:off x="1856656" y="4149080"/>
            <a:ext cx="2751703" cy="0"/>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326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9C0B41-1A8A-4A9D-B0E5-2DB422B44C0F}"/>
              </a:ext>
            </a:extLst>
          </p:cNvPr>
          <p:cNvGraphicFramePr>
            <a:graphicFrameLocks noChangeAspect="1"/>
          </p:cNvGraphicFramePr>
          <p:nvPr>
            <p:custDataLst>
              <p:tags r:id="rId1"/>
            </p:custDataLst>
            <p:extLst>
              <p:ext uri="{D42A27DB-BD31-4B8C-83A1-F6EECF244321}">
                <p14:modId xmlns:p14="http://schemas.microsoft.com/office/powerpoint/2010/main" val="38827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F9C0B41-1A8A-4A9D-B0E5-2DB422B44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1.5</a:t>
            </a:r>
            <a:r>
              <a:rPr lang="ja-JP" altLang="en-US" dirty="0"/>
              <a:t>歳、健康寿命は</a:t>
            </a:r>
            <a:r>
              <a:rPr lang="en-US" altLang="ja-JP" dirty="0"/>
              <a:t>52.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16" name="表 15"/>
          <p:cNvGraphicFramePr>
            <a:graphicFrameLocks noGrp="1"/>
          </p:cNvGraphicFramePr>
          <p:nvPr>
            <p:extLst>
              <p:ext uri="{D42A27DB-BD31-4B8C-83A1-F6EECF244321}">
                <p14:modId xmlns:p14="http://schemas.microsoft.com/office/powerpoint/2010/main" val="137518095"/>
              </p:ext>
            </p:extLst>
          </p:nvPr>
        </p:nvGraphicFramePr>
        <p:xfrm>
          <a:off x="1352600" y="1700808"/>
          <a:ext cx="7295827" cy="4436452"/>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01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2819">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2819">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0556">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0556">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dirty="0"/>
                    </a:p>
                  </a:txBody>
                  <a:tcPr marL="35002" marR="35002" marT="17501" marB="17501"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20175">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7.5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3.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4.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8.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541985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2" imgW="270" imgH="270" progId="TCLayout.ActiveDocument.1">
                  <p:embed/>
                </p:oleObj>
              </mc:Choice>
              <mc:Fallback>
                <p:oleObj name="think-cellスライド" r:id="rId152" imgW="270" imgH="270" progId="TCLayout.ActiveDocument.1">
                  <p:embed/>
                  <p:pic>
                    <p:nvPicPr>
                      <p:cNvPr id="8" name="オブジェクト 7" hidden="1"/>
                      <p:cNvPicPr>
                        <a:picLocks noChangeAspect="1" noChangeArrowheads="1"/>
                      </p:cNvPicPr>
                      <p:nvPr/>
                    </p:nvPicPr>
                    <p:blipFill>
                      <a:blip r:embed="rId1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90" name="Chart 489">
            <a:extLst>
              <a:ext uri="{FF2B5EF4-FFF2-40B4-BE49-F238E27FC236}">
                <a16:creationId xmlns:a16="http://schemas.microsoft.com/office/drawing/2014/main" id="{A203138A-3EAB-046A-9E29-DE902E854D23}"/>
              </a:ext>
            </a:extLst>
          </p:cNvPr>
          <p:cNvGraphicFramePr/>
          <p:nvPr>
            <p:custDataLst>
              <p:tags r:id="rId2"/>
            </p:custDataLst>
            <p:extLst>
              <p:ext uri="{D42A27DB-BD31-4B8C-83A1-F6EECF244321}">
                <p14:modId xmlns:p14="http://schemas.microsoft.com/office/powerpoint/2010/main" val="2907155066"/>
              </p:ext>
            </p:extLst>
          </p:nvPr>
        </p:nvGraphicFramePr>
        <p:xfrm>
          <a:off x="723900" y="2043113"/>
          <a:ext cx="7824788" cy="722312"/>
        </p:xfrm>
        <a:graphic>
          <a:graphicData uri="http://schemas.openxmlformats.org/drawingml/2006/chart">
            <c:chart xmlns:c="http://schemas.openxmlformats.org/drawingml/2006/chart" xmlns:r="http://schemas.openxmlformats.org/officeDocument/2006/relationships" r:id="rId154"/>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3" name="テキスト ボックス 32"/>
          <p:cNvSpPr txBox="1"/>
          <p:nvPr/>
        </p:nvSpPr>
        <p:spPr>
          <a:xfrm>
            <a:off x="503252" y="452243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29" name="直線コネクタ 28"/>
          <p:cNvCxnSpPr/>
          <p:nvPr/>
        </p:nvCxnSpPr>
        <p:spPr>
          <a:xfrm>
            <a:off x="630723" y="1968501"/>
            <a:ext cx="863392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2" name="グループ化 7"/>
          <p:cNvGrpSpPr/>
          <p:nvPr/>
        </p:nvGrpSpPr>
        <p:grpSpPr>
          <a:xfrm>
            <a:off x="597596" y="4173538"/>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93" name="Chart 292">
            <a:extLst>
              <a:ext uri="{FF2B5EF4-FFF2-40B4-BE49-F238E27FC236}">
                <a16:creationId xmlns:a16="http://schemas.microsoft.com/office/drawing/2014/main" id="{BD7597F4-7D17-2098-F442-CADD3888AAAE}"/>
              </a:ext>
            </a:extLst>
          </p:cNvPr>
          <p:cNvGraphicFramePr/>
          <p:nvPr>
            <p:custDataLst>
              <p:tags r:id="rId4"/>
            </p:custDataLst>
            <p:extLst>
              <p:ext uri="{D42A27DB-BD31-4B8C-83A1-F6EECF244321}">
                <p14:modId xmlns:p14="http://schemas.microsoft.com/office/powerpoint/2010/main" val="3842796026"/>
              </p:ext>
            </p:extLst>
          </p:nvPr>
        </p:nvGraphicFramePr>
        <p:xfrm>
          <a:off x="263525" y="4578350"/>
          <a:ext cx="8075613" cy="1668463"/>
        </p:xfrm>
        <a:graphic>
          <a:graphicData uri="http://schemas.openxmlformats.org/drawingml/2006/chart">
            <c:chart xmlns:c="http://schemas.openxmlformats.org/drawingml/2006/chart" xmlns:r="http://schemas.openxmlformats.org/officeDocument/2006/relationships" r:id="rId155"/>
          </a:graphicData>
        </a:graphic>
      </p:graphicFrame>
      <p:sp>
        <p:nvSpPr>
          <p:cNvPr id="81" name="テキスト プレースホルダ 9">
            <a:extLst>
              <a:ext uri="{FF2B5EF4-FFF2-40B4-BE49-F238E27FC236}">
                <a16:creationId xmlns:a16="http://schemas.microsoft.com/office/drawing/2014/main" id="{40224A84-850D-5ABF-158B-2631E362D20B}"/>
              </a:ext>
            </a:extLst>
          </p:cNvPr>
          <p:cNvSpPr>
            <a:spLocks noGrp="1"/>
          </p:cNvSpPr>
          <p:nvPr>
            <p:custDataLst>
              <p:tags r:id="rId5"/>
            </p:custDataLst>
          </p:nvPr>
        </p:nvSpPr>
        <p:spPr bwMode="auto">
          <a:xfrm>
            <a:off x="110013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E4EC5D-7DA8-4D98-8BA7-143E18B6EFF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CBF7D055-AD48-82D5-5279-7B71083AFECB}"/>
              </a:ext>
            </a:extLst>
          </p:cNvPr>
          <p:cNvSpPr>
            <a:spLocks noGrp="1"/>
          </p:cNvSpPr>
          <p:nvPr>
            <p:custDataLst>
              <p:tags r:id="rId6"/>
            </p:custDataLst>
          </p:nvPr>
        </p:nvSpPr>
        <p:spPr bwMode="auto">
          <a:xfrm>
            <a:off x="141446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98217-4DBC-4E9A-9840-72F9AC3E4588}"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B944F0CF-E04D-C0BB-D8D2-D7C0B753F00A}"/>
              </a:ext>
            </a:extLst>
          </p:cNvPr>
          <p:cNvSpPr>
            <a:spLocks noGrp="1"/>
          </p:cNvSpPr>
          <p:nvPr>
            <p:custDataLst>
              <p:tags r:id="rId7"/>
            </p:custDataLst>
          </p:nvPr>
        </p:nvSpPr>
        <p:spPr bwMode="auto">
          <a:xfrm>
            <a:off x="17303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648DB-354D-412B-AF21-7BA72BD463B8}"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68A6B7FF-CDF4-32ED-8D30-BEDA24D32069}"/>
              </a:ext>
            </a:extLst>
          </p:cNvPr>
          <p:cNvSpPr>
            <a:spLocks noGrp="1"/>
          </p:cNvSpPr>
          <p:nvPr>
            <p:custDataLst>
              <p:tags r:id="rId8"/>
            </p:custDataLst>
          </p:nvPr>
        </p:nvSpPr>
        <p:spPr bwMode="auto">
          <a:xfrm>
            <a:off x="204470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A24352-7935-48CF-AE9A-2E1FBBBBCCAE}"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F7E64A1D-9E67-E56E-9060-1CD8FDC0EE5F}"/>
              </a:ext>
            </a:extLst>
          </p:cNvPr>
          <p:cNvSpPr>
            <a:spLocks noGrp="1"/>
          </p:cNvSpPr>
          <p:nvPr>
            <p:custDataLst>
              <p:tags r:id="rId9"/>
            </p:custDataLst>
          </p:nvPr>
        </p:nvSpPr>
        <p:spPr bwMode="auto">
          <a:xfrm>
            <a:off x="235902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B55159-4A32-49DC-BBDD-D588B610EEA1}"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4B153727-6ACF-32EA-69D4-46E32F54DC1A}"/>
              </a:ext>
            </a:extLst>
          </p:cNvPr>
          <p:cNvSpPr>
            <a:spLocks noGrp="1"/>
          </p:cNvSpPr>
          <p:nvPr>
            <p:custDataLst>
              <p:tags r:id="rId10"/>
            </p:custDataLst>
          </p:nvPr>
        </p:nvSpPr>
        <p:spPr bwMode="auto">
          <a:xfrm>
            <a:off x="267335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E3EB0D-FA2B-4D33-B0FD-FF0C66320A1A}"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926DBC99-CCB8-8A8A-53C6-70DB78A3F7EB}"/>
              </a:ext>
            </a:extLst>
          </p:cNvPr>
          <p:cNvSpPr>
            <a:spLocks noGrp="1"/>
          </p:cNvSpPr>
          <p:nvPr>
            <p:custDataLst>
              <p:tags r:id="rId11"/>
            </p:custDataLst>
          </p:nvPr>
        </p:nvSpPr>
        <p:spPr bwMode="auto">
          <a:xfrm>
            <a:off x="29876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302BF9-C577-4362-8ADD-D1D5C423695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45529580-904E-E218-AE12-1F9937B265F0}"/>
              </a:ext>
            </a:extLst>
          </p:cNvPr>
          <p:cNvSpPr>
            <a:spLocks noGrp="1"/>
          </p:cNvSpPr>
          <p:nvPr>
            <p:custDataLst>
              <p:tags r:id="rId12"/>
            </p:custDataLst>
          </p:nvPr>
        </p:nvSpPr>
        <p:spPr bwMode="auto">
          <a:xfrm>
            <a:off x="330358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DEE10-4773-4987-BA5E-76E524314A4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33BC66FC-D06B-FA6B-9791-DFBB417C748D}"/>
              </a:ext>
            </a:extLst>
          </p:cNvPr>
          <p:cNvSpPr>
            <a:spLocks noGrp="1"/>
          </p:cNvSpPr>
          <p:nvPr>
            <p:custDataLst>
              <p:tags r:id="rId13"/>
            </p:custDataLst>
          </p:nvPr>
        </p:nvSpPr>
        <p:spPr bwMode="auto">
          <a:xfrm>
            <a:off x="361791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4906E6-2F99-4055-B5B0-091D5734B1C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299B636E-120A-3091-2EDF-DDE3B78B22BF}"/>
              </a:ext>
            </a:extLst>
          </p:cNvPr>
          <p:cNvSpPr>
            <a:spLocks noGrp="1"/>
          </p:cNvSpPr>
          <p:nvPr>
            <p:custDataLst>
              <p:tags r:id="rId14"/>
            </p:custDataLst>
          </p:nvPr>
        </p:nvSpPr>
        <p:spPr bwMode="auto">
          <a:xfrm>
            <a:off x="393223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250C6-224C-431F-972C-EA6F47117090}"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B2669455-DE7C-B220-3704-392EB9C57E8E}"/>
              </a:ext>
            </a:extLst>
          </p:cNvPr>
          <p:cNvSpPr>
            <a:spLocks noGrp="1"/>
          </p:cNvSpPr>
          <p:nvPr>
            <p:custDataLst>
              <p:tags r:id="rId15"/>
            </p:custDataLst>
          </p:nvPr>
        </p:nvSpPr>
        <p:spPr bwMode="auto">
          <a:xfrm>
            <a:off x="424656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3FBD6D-7182-46E8-95EB-FD0167FC0A3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D54ED498-3646-40DF-582E-D866F09BD095}"/>
              </a:ext>
            </a:extLst>
          </p:cNvPr>
          <p:cNvSpPr>
            <a:spLocks noGrp="1"/>
          </p:cNvSpPr>
          <p:nvPr>
            <p:custDataLst>
              <p:tags r:id="rId16"/>
            </p:custDataLst>
          </p:nvPr>
        </p:nvSpPr>
        <p:spPr bwMode="auto">
          <a:xfrm>
            <a:off x="45624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B49A71-053F-4F4D-806B-0A07FD38E85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4C7B8413-E05A-21A9-338B-4C58B6C4D2A1}"/>
              </a:ext>
            </a:extLst>
          </p:cNvPr>
          <p:cNvSpPr>
            <a:spLocks noGrp="1"/>
          </p:cNvSpPr>
          <p:nvPr>
            <p:custDataLst>
              <p:tags r:id="rId17"/>
            </p:custDataLst>
          </p:nvPr>
        </p:nvSpPr>
        <p:spPr bwMode="auto">
          <a:xfrm>
            <a:off x="487680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CF9716-BCCB-4BF0-AACC-1C3972D63165}"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373D3A3E-16D4-2EC2-E6A4-999D50073ABE}"/>
              </a:ext>
            </a:extLst>
          </p:cNvPr>
          <p:cNvSpPr>
            <a:spLocks noGrp="1"/>
          </p:cNvSpPr>
          <p:nvPr>
            <p:custDataLst>
              <p:tags r:id="rId18"/>
            </p:custDataLst>
          </p:nvPr>
        </p:nvSpPr>
        <p:spPr bwMode="auto">
          <a:xfrm>
            <a:off x="519112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CCD9D3-24ED-4C6F-BFB6-34A418C31F0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1C53D1CA-452D-EA8D-02C6-FCDF62B820DB}"/>
              </a:ext>
            </a:extLst>
          </p:cNvPr>
          <p:cNvSpPr>
            <a:spLocks noGrp="1"/>
          </p:cNvSpPr>
          <p:nvPr>
            <p:custDataLst>
              <p:tags r:id="rId19"/>
            </p:custDataLst>
          </p:nvPr>
        </p:nvSpPr>
        <p:spPr bwMode="auto">
          <a:xfrm>
            <a:off x="550545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2B81C8-BDB1-461B-A1B3-8770671E3DF1}"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9136E98F-24DE-0C9C-D82C-B953F4FDD7B4}"/>
              </a:ext>
            </a:extLst>
          </p:cNvPr>
          <p:cNvSpPr>
            <a:spLocks noGrp="1"/>
          </p:cNvSpPr>
          <p:nvPr>
            <p:custDataLst>
              <p:tags r:id="rId20"/>
            </p:custDataLst>
          </p:nvPr>
        </p:nvSpPr>
        <p:spPr bwMode="auto">
          <a:xfrm>
            <a:off x="58197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27B2BF-5F27-406A-803B-AE3BD1F72FC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ECDC5CBC-3978-BD09-CBD1-EABC65B93957}"/>
              </a:ext>
            </a:extLst>
          </p:cNvPr>
          <p:cNvSpPr>
            <a:spLocks noGrp="1"/>
          </p:cNvSpPr>
          <p:nvPr>
            <p:custDataLst>
              <p:tags r:id="rId21"/>
            </p:custDataLst>
          </p:nvPr>
        </p:nvSpPr>
        <p:spPr bwMode="auto">
          <a:xfrm>
            <a:off x="613568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3DDAC-7018-42A4-95C7-75B9A419177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8CB01470-1D36-199D-1F3F-5E5C441DEE2B}"/>
              </a:ext>
            </a:extLst>
          </p:cNvPr>
          <p:cNvSpPr>
            <a:spLocks noGrp="1"/>
          </p:cNvSpPr>
          <p:nvPr>
            <p:custDataLst>
              <p:tags r:id="rId22"/>
            </p:custDataLst>
          </p:nvPr>
        </p:nvSpPr>
        <p:spPr bwMode="auto">
          <a:xfrm>
            <a:off x="645001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6EBF26-5C7E-4697-A564-248A4C3204E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D631E52B-B989-3934-D9D3-9866CE14EA44}"/>
              </a:ext>
            </a:extLst>
          </p:cNvPr>
          <p:cNvSpPr>
            <a:spLocks noGrp="1"/>
          </p:cNvSpPr>
          <p:nvPr>
            <p:custDataLst>
              <p:tags r:id="rId23"/>
            </p:custDataLst>
          </p:nvPr>
        </p:nvSpPr>
        <p:spPr bwMode="auto">
          <a:xfrm>
            <a:off x="676433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C42AE5-4A1A-42E0-B88E-103D5D5CFF6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1C166CFF-504F-86C2-F1C9-81CA58944083}"/>
              </a:ext>
            </a:extLst>
          </p:cNvPr>
          <p:cNvSpPr>
            <a:spLocks noGrp="1"/>
          </p:cNvSpPr>
          <p:nvPr>
            <p:custDataLst>
              <p:tags r:id="rId24"/>
            </p:custDataLst>
          </p:nvPr>
        </p:nvSpPr>
        <p:spPr bwMode="auto">
          <a:xfrm>
            <a:off x="707866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ECAFF5-2B55-4826-BB81-F2883A59A13B}"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4DA16AA5-6DDF-92BB-785C-9DE8814543F8}"/>
              </a:ext>
            </a:extLst>
          </p:cNvPr>
          <p:cNvSpPr>
            <a:spLocks noGrp="1"/>
          </p:cNvSpPr>
          <p:nvPr>
            <p:custDataLst>
              <p:tags r:id="rId25"/>
            </p:custDataLst>
          </p:nvPr>
        </p:nvSpPr>
        <p:spPr bwMode="auto">
          <a:xfrm>
            <a:off x="739298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560DB1-EC36-4BE1-AB5C-FB7478612ABA}"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B48BCA02-1B99-6966-19B0-A13F5493A798}"/>
              </a:ext>
            </a:extLst>
          </p:cNvPr>
          <p:cNvSpPr>
            <a:spLocks noGrp="1"/>
          </p:cNvSpPr>
          <p:nvPr>
            <p:custDataLst>
              <p:tags r:id="rId26"/>
            </p:custDataLst>
          </p:nvPr>
        </p:nvSpPr>
        <p:spPr bwMode="auto">
          <a:xfrm>
            <a:off x="770890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C70D3D-0F59-4218-8F94-D4FB50C3C61B}"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6377E7A3-E70A-13C9-A913-0AB03D2C7DAF}"/>
              </a:ext>
            </a:extLst>
          </p:cNvPr>
          <p:cNvSpPr>
            <a:spLocks noGrp="1"/>
          </p:cNvSpPr>
          <p:nvPr>
            <p:custDataLst>
              <p:tags r:id="rId27"/>
            </p:custDataLst>
          </p:nvPr>
        </p:nvSpPr>
        <p:spPr bwMode="auto">
          <a:xfrm>
            <a:off x="802322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653D7-B2E6-4939-9141-7C30389F980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DDB4EAA3-C223-D965-B3C8-D94E1111DB11}"/>
              </a:ext>
            </a:extLst>
          </p:cNvPr>
          <p:cNvSpPr>
            <a:spLocks noGrp="1"/>
          </p:cNvSpPr>
          <p:nvPr>
            <p:custDataLst>
              <p:tags r:id="rId28"/>
            </p:custDataLst>
          </p:nvPr>
        </p:nvSpPr>
        <p:spPr bwMode="gray">
          <a:xfrm>
            <a:off x="762000" y="54784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D215E7-96F5-4A62-9766-08F39A41D30E}" type="datetime'''''''''''''''''''''2''''''''''3''''''5'''''">
              <a:rPr lang="ja-JP" altLang="en-US" sz="800" smtClean="0">
                <a:effectLst/>
                <a:sym typeface="+mn-lt"/>
              </a:rPr>
              <a:pPr marL="0" lvl="0" indent="0" algn="ctr">
                <a:spcBef>
                  <a:spcPct val="0"/>
                </a:spcBef>
                <a:buNone/>
              </a:pPr>
              <a:t>235</a:t>
            </a:fld>
            <a:endParaRPr kumimoji="1" lang="ja-JP" altLang="en-US" sz="800" dirty="0">
              <a:sym typeface="+mn-lt"/>
            </a:endParaRPr>
          </a:p>
        </p:txBody>
      </p:sp>
      <p:sp>
        <p:nvSpPr>
          <p:cNvPr id="208" name="テキスト プレースホルダ 9">
            <a:extLst>
              <a:ext uri="{FF2B5EF4-FFF2-40B4-BE49-F238E27FC236}">
                <a16:creationId xmlns:a16="http://schemas.microsoft.com/office/drawing/2014/main" id="{9DBB8091-4792-A970-C5A1-4D7A0FBD797F}"/>
              </a:ext>
            </a:extLst>
          </p:cNvPr>
          <p:cNvSpPr>
            <a:spLocks noGrp="1"/>
          </p:cNvSpPr>
          <p:nvPr>
            <p:custDataLst>
              <p:tags r:id="rId29"/>
            </p:custDataLst>
          </p:nvPr>
        </p:nvSpPr>
        <p:spPr bwMode="gray">
          <a:xfrm>
            <a:off x="1076325" y="55403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B72078-4159-41D1-A68D-8DE0EC624D6C}" type="datetime'''20''''''''2'''''">
              <a:rPr lang="ja-JP" altLang="en-US" sz="800" smtClean="0">
                <a:effectLst/>
                <a:sym typeface="+mn-lt"/>
              </a:rPr>
              <a:pPr marL="0" lvl="0" indent="0" algn="ctr">
                <a:spcBef>
                  <a:spcPct val="0"/>
                </a:spcBef>
                <a:buNone/>
              </a:pPr>
              <a:t>202</a:t>
            </a:fld>
            <a:endParaRPr kumimoji="1" lang="ja-JP" altLang="en-US" sz="800" dirty="0">
              <a:sym typeface="+mn-lt"/>
            </a:endParaRPr>
          </a:p>
        </p:txBody>
      </p:sp>
      <p:sp>
        <p:nvSpPr>
          <p:cNvPr id="209" name="テキスト プレースホルダ 9">
            <a:extLst>
              <a:ext uri="{FF2B5EF4-FFF2-40B4-BE49-F238E27FC236}">
                <a16:creationId xmlns:a16="http://schemas.microsoft.com/office/drawing/2014/main" id="{01C5B4CC-9E1E-5138-101B-FE19177E87F2}"/>
              </a:ext>
            </a:extLst>
          </p:cNvPr>
          <p:cNvSpPr>
            <a:spLocks noGrp="1"/>
          </p:cNvSpPr>
          <p:nvPr>
            <p:custDataLst>
              <p:tags r:id="rId30"/>
            </p:custDataLst>
          </p:nvPr>
        </p:nvSpPr>
        <p:spPr bwMode="gray">
          <a:xfrm>
            <a:off x="1390650" y="55832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C30E5-A20C-482D-A4C4-53DCE201CD32}" type="datetime'1''''''''''''''''7''''''''''''''''8'''''''''''''">
              <a:rPr lang="ja-JP" altLang="en-US" sz="800" smtClean="0">
                <a:effectLst/>
                <a:sym typeface="+mn-lt"/>
              </a:rPr>
              <a:pPr marL="0" lvl="0" indent="0" algn="ctr">
                <a:spcBef>
                  <a:spcPct val="0"/>
                </a:spcBef>
                <a:buNone/>
              </a:pPr>
              <a:t>178</a:t>
            </a:fld>
            <a:endParaRPr kumimoji="1" lang="ja-JP" altLang="en-US" sz="800" dirty="0">
              <a:sym typeface="+mn-lt"/>
            </a:endParaRPr>
          </a:p>
        </p:txBody>
      </p:sp>
      <p:sp>
        <p:nvSpPr>
          <p:cNvPr id="210" name="テキスト プレースホルダ 9">
            <a:extLst>
              <a:ext uri="{FF2B5EF4-FFF2-40B4-BE49-F238E27FC236}">
                <a16:creationId xmlns:a16="http://schemas.microsoft.com/office/drawing/2014/main" id="{87380CEC-C519-726B-B55C-2EC5F8879921}"/>
              </a:ext>
            </a:extLst>
          </p:cNvPr>
          <p:cNvSpPr>
            <a:spLocks noGrp="1"/>
          </p:cNvSpPr>
          <p:nvPr>
            <p:custDataLst>
              <p:tags r:id="rId31"/>
            </p:custDataLst>
          </p:nvPr>
        </p:nvSpPr>
        <p:spPr bwMode="gray">
          <a:xfrm>
            <a:off x="1706563" y="54133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979969-39F5-4B05-A89E-70BAE6BF2BBA}" type="datetime'''''2''''''''7''''''''''''''''''''''0'''''''''''''">
              <a:rPr lang="ja-JP" altLang="en-US" sz="800" smtClean="0">
                <a:effectLst/>
                <a:sym typeface="+mn-lt"/>
              </a:rPr>
              <a:pPr marL="0" lvl="0" indent="0" algn="ctr">
                <a:spcBef>
                  <a:spcPct val="0"/>
                </a:spcBef>
                <a:buNone/>
              </a:pPr>
              <a:t>270</a:t>
            </a:fld>
            <a:endParaRPr kumimoji="1" lang="ja-JP" altLang="en-US" sz="800" dirty="0">
              <a:sym typeface="+mn-lt"/>
            </a:endParaRPr>
          </a:p>
        </p:txBody>
      </p:sp>
      <p:sp>
        <p:nvSpPr>
          <p:cNvPr id="211" name="テキスト プレースホルダ 9">
            <a:extLst>
              <a:ext uri="{FF2B5EF4-FFF2-40B4-BE49-F238E27FC236}">
                <a16:creationId xmlns:a16="http://schemas.microsoft.com/office/drawing/2014/main" id="{6BB14CA5-69D1-24DB-B36B-82E317CDEDF3}"/>
              </a:ext>
            </a:extLst>
          </p:cNvPr>
          <p:cNvSpPr>
            <a:spLocks noGrp="1"/>
          </p:cNvSpPr>
          <p:nvPr>
            <p:custDataLst>
              <p:tags r:id="rId32"/>
            </p:custDataLst>
          </p:nvPr>
        </p:nvSpPr>
        <p:spPr bwMode="gray">
          <a:xfrm>
            <a:off x="2020888" y="52784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DB7C6-7971-4300-A51B-91629DD3D765}" type="datetime'''''''''''''''''''''''3''''4''3'''''''''''''">
              <a:rPr lang="ja-JP" altLang="en-US" sz="800" smtClean="0">
                <a:effectLst/>
                <a:sym typeface="+mn-lt"/>
              </a:rPr>
              <a:pPr marL="0" lvl="0" indent="0" algn="ctr">
                <a:spcBef>
                  <a:spcPct val="0"/>
                </a:spcBef>
                <a:buNone/>
              </a:pPr>
              <a:t>343</a:t>
            </a:fld>
            <a:endParaRPr kumimoji="1" lang="ja-JP" altLang="en-US" sz="800" dirty="0">
              <a:sym typeface="+mn-lt"/>
            </a:endParaRPr>
          </a:p>
        </p:txBody>
      </p:sp>
      <p:sp>
        <p:nvSpPr>
          <p:cNvPr id="216" name="テキスト プレースホルダ 9">
            <a:extLst>
              <a:ext uri="{FF2B5EF4-FFF2-40B4-BE49-F238E27FC236}">
                <a16:creationId xmlns:a16="http://schemas.microsoft.com/office/drawing/2014/main" id="{5CFB776E-5AC6-5A9D-7398-722969C633B0}"/>
              </a:ext>
            </a:extLst>
          </p:cNvPr>
          <p:cNvSpPr>
            <a:spLocks noGrp="1"/>
          </p:cNvSpPr>
          <p:nvPr>
            <p:custDataLst>
              <p:tags r:id="rId33"/>
            </p:custDataLst>
          </p:nvPr>
        </p:nvSpPr>
        <p:spPr bwMode="gray">
          <a:xfrm>
            <a:off x="2335213" y="5259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67C219-499A-445F-965D-30EA6CD68118}" type="datetime'''''''''''''''''''''''''3''''''''''''''5''''''''3'''''''''">
              <a:rPr lang="ja-JP" altLang="en-US" sz="800" smtClean="0">
                <a:effectLst/>
                <a:sym typeface="+mn-lt"/>
              </a:rPr>
              <a:pPr marL="0" lvl="0" indent="0" algn="ctr">
                <a:spcBef>
                  <a:spcPct val="0"/>
                </a:spcBef>
                <a:buNone/>
              </a:pPr>
              <a:t>353</a:t>
            </a:fld>
            <a:endParaRPr kumimoji="1" lang="ja-JP" altLang="en-US" sz="800" dirty="0">
              <a:sym typeface="+mn-lt"/>
            </a:endParaRPr>
          </a:p>
        </p:txBody>
      </p:sp>
      <p:sp>
        <p:nvSpPr>
          <p:cNvPr id="255" name="テキスト プレースホルダ 9">
            <a:extLst>
              <a:ext uri="{FF2B5EF4-FFF2-40B4-BE49-F238E27FC236}">
                <a16:creationId xmlns:a16="http://schemas.microsoft.com/office/drawing/2014/main" id="{28D83841-9046-0581-16A0-43199C4DD38D}"/>
              </a:ext>
            </a:extLst>
          </p:cNvPr>
          <p:cNvSpPr>
            <a:spLocks noGrp="1"/>
          </p:cNvSpPr>
          <p:nvPr>
            <p:custDataLst>
              <p:tags r:id="rId34"/>
            </p:custDataLst>
          </p:nvPr>
        </p:nvSpPr>
        <p:spPr bwMode="gray">
          <a:xfrm>
            <a:off x="2649538" y="51895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C38C9-C806-4098-9E7A-570FBC55D075}" type="datetime'3''''9''''''''''1'''''''''''''''''''''''''''''">
              <a:rPr lang="ja-JP" altLang="en-US" sz="800" smtClean="0">
                <a:effectLst/>
                <a:sym typeface="+mn-lt"/>
              </a:rPr>
              <a:pPr marL="0" lvl="0" indent="0" algn="ctr">
                <a:spcBef>
                  <a:spcPct val="0"/>
                </a:spcBef>
                <a:buNone/>
              </a:pPr>
              <a:t>391</a:t>
            </a:fld>
            <a:endParaRPr kumimoji="1" lang="ja-JP" altLang="en-US" sz="800" dirty="0">
              <a:sym typeface="+mn-lt"/>
            </a:endParaRPr>
          </a:p>
        </p:txBody>
      </p:sp>
      <p:sp>
        <p:nvSpPr>
          <p:cNvPr id="256" name="テキスト プレースホルダ 9">
            <a:extLst>
              <a:ext uri="{FF2B5EF4-FFF2-40B4-BE49-F238E27FC236}">
                <a16:creationId xmlns:a16="http://schemas.microsoft.com/office/drawing/2014/main" id="{C7CE5B46-5054-E03D-0389-C1B51268FC02}"/>
              </a:ext>
            </a:extLst>
          </p:cNvPr>
          <p:cNvSpPr>
            <a:spLocks noGrp="1"/>
          </p:cNvSpPr>
          <p:nvPr>
            <p:custDataLst>
              <p:tags r:id="rId35"/>
            </p:custDataLst>
          </p:nvPr>
        </p:nvSpPr>
        <p:spPr bwMode="gray">
          <a:xfrm>
            <a:off x="2963863" y="5132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0D02F-BDE5-417E-B764-4895DEA39793}" type="datetime'''''''''''''''4''''''''''''''''''''''2''''''''''''''2'''''''">
              <a:rPr lang="ja-JP" altLang="en-US" sz="800" smtClean="0">
                <a:effectLst/>
                <a:sym typeface="+mn-lt"/>
              </a:rPr>
              <a:pPr marL="0" lvl="0" indent="0" algn="ctr">
                <a:spcBef>
                  <a:spcPct val="0"/>
                </a:spcBef>
                <a:buNone/>
              </a:pPr>
              <a:t>422</a:t>
            </a:fld>
            <a:endParaRPr kumimoji="1" lang="ja-JP" altLang="en-US" sz="800" dirty="0">
              <a:sym typeface="+mn-lt"/>
            </a:endParaRPr>
          </a:p>
        </p:txBody>
      </p:sp>
      <p:sp>
        <p:nvSpPr>
          <p:cNvPr id="258" name="テキスト プレースホルダ 9">
            <a:extLst>
              <a:ext uri="{FF2B5EF4-FFF2-40B4-BE49-F238E27FC236}">
                <a16:creationId xmlns:a16="http://schemas.microsoft.com/office/drawing/2014/main" id="{8079FCB9-9252-18C1-247F-A2DCBF60DEFA}"/>
              </a:ext>
            </a:extLst>
          </p:cNvPr>
          <p:cNvSpPr>
            <a:spLocks noGrp="1"/>
          </p:cNvSpPr>
          <p:nvPr>
            <p:custDataLst>
              <p:tags r:id="rId36"/>
            </p:custDataLst>
          </p:nvPr>
        </p:nvSpPr>
        <p:spPr bwMode="gray">
          <a:xfrm>
            <a:off x="3279775" y="51609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2CA822-08D9-49DD-8361-8DA0C6604B40}" type="datetime'''4''''''0''6'''''''''''''''''''''''''''">
              <a:rPr lang="ja-JP" altLang="en-US" sz="800" smtClean="0">
                <a:effectLst/>
                <a:sym typeface="+mn-lt"/>
              </a:rPr>
              <a:pPr marL="0" lvl="0" indent="0" algn="ctr">
                <a:spcBef>
                  <a:spcPct val="0"/>
                </a:spcBef>
                <a:buNone/>
              </a:pPr>
              <a:t>406</a:t>
            </a:fld>
            <a:endParaRPr kumimoji="1" lang="ja-JP" altLang="en-US" sz="800" dirty="0">
              <a:sym typeface="+mn-lt"/>
            </a:endParaRPr>
          </a:p>
        </p:txBody>
      </p:sp>
      <p:sp>
        <p:nvSpPr>
          <p:cNvPr id="259" name="テキスト プレースホルダ 9">
            <a:extLst>
              <a:ext uri="{FF2B5EF4-FFF2-40B4-BE49-F238E27FC236}">
                <a16:creationId xmlns:a16="http://schemas.microsoft.com/office/drawing/2014/main" id="{D69B3CD7-9AD7-14EE-D3CC-463CC6B02EA8}"/>
              </a:ext>
            </a:extLst>
          </p:cNvPr>
          <p:cNvSpPr>
            <a:spLocks noGrp="1"/>
          </p:cNvSpPr>
          <p:nvPr>
            <p:custDataLst>
              <p:tags r:id="rId37"/>
            </p:custDataLst>
          </p:nvPr>
        </p:nvSpPr>
        <p:spPr bwMode="gray">
          <a:xfrm>
            <a:off x="3594100" y="5083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01B2E-6F72-43D6-B5FE-109B221CE44B}" type="datetime'''''''''''4''''''''''''4''''''''''''''''''8'''''''''''">
              <a:rPr lang="ja-JP" altLang="en-US" sz="800" smtClean="0">
                <a:effectLst/>
                <a:sym typeface="+mn-lt"/>
              </a:rPr>
              <a:pPr marL="0" lvl="0" indent="0" algn="ctr">
                <a:spcBef>
                  <a:spcPct val="0"/>
                </a:spcBef>
                <a:buNone/>
              </a:pPr>
              <a:t>448</a:t>
            </a:fld>
            <a:endParaRPr kumimoji="1" lang="ja-JP" altLang="en-US" sz="800" dirty="0">
              <a:sym typeface="+mn-lt"/>
            </a:endParaRPr>
          </a:p>
        </p:txBody>
      </p:sp>
      <p:sp>
        <p:nvSpPr>
          <p:cNvPr id="260" name="テキスト プレースホルダ 9">
            <a:extLst>
              <a:ext uri="{FF2B5EF4-FFF2-40B4-BE49-F238E27FC236}">
                <a16:creationId xmlns:a16="http://schemas.microsoft.com/office/drawing/2014/main" id="{E84B6F2E-CB26-105D-7E91-9AE71DCEA516}"/>
              </a:ext>
            </a:extLst>
          </p:cNvPr>
          <p:cNvSpPr>
            <a:spLocks noGrp="1"/>
          </p:cNvSpPr>
          <p:nvPr>
            <p:custDataLst>
              <p:tags r:id="rId38"/>
            </p:custDataLst>
          </p:nvPr>
        </p:nvSpPr>
        <p:spPr bwMode="gray">
          <a:xfrm>
            <a:off x="3908425" y="48498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C6655-B2ED-402C-8989-EBB97989F5F5}" type="datetime'''''''''''''''''''''''5''''''''''''''''''7''''4'''''''">
              <a:rPr lang="ja-JP" altLang="en-US" sz="800" smtClean="0">
                <a:effectLst/>
                <a:sym typeface="+mn-lt"/>
              </a:rPr>
              <a:pPr marL="0" lvl="0" indent="0" algn="ctr">
                <a:spcBef>
                  <a:spcPct val="0"/>
                </a:spcBef>
                <a:buNone/>
              </a:pPr>
              <a:t>574</a:t>
            </a:fld>
            <a:endParaRPr kumimoji="1" lang="ja-JP" altLang="en-US" sz="800" dirty="0">
              <a:sym typeface="+mn-lt"/>
            </a:endParaRPr>
          </a:p>
        </p:txBody>
      </p:sp>
      <p:sp>
        <p:nvSpPr>
          <p:cNvPr id="261" name="テキスト プレースホルダ 9">
            <a:extLst>
              <a:ext uri="{FF2B5EF4-FFF2-40B4-BE49-F238E27FC236}">
                <a16:creationId xmlns:a16="http://schemas.microsoft.com/office/drawing/2014/main" id="{922E4326-0338-A1B0-356A-BDF14A9329AB}"/>
              </a:ext>
            </a:extLst>
          </p:cNvPr>
          <p:cNvSpPr>
            <a:spLocks noGrp="1"/>
          </p:cNvSpPr>
          <p:nvPr>
            <p:custDataLst>
              <p:tags r:id="rId39"/>
            </p:custDataLst>
          </p:nvPr>
        </p:nvSpPr>
        <p:spPr bwMode="gray">
          <a:xfrm>
            <a:off x="4222750" y="47307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469FAA-0812-4B1B-9AEB-E5F0F7A7F24A}" type="datetime'''''''''''''''''''''''''''''''''''''''6''''''''''3''8'''">
              <a:rPr lang="ja-JP" altLang="en-US" sz="800" smtClean="0">
                <a:effectLst/>
                <a:sym typeface="+mn-lt"/>
              </a:rPr>
              <a:pPr marL="0" lvl="0" indent="0" algn="ctr">
                <a:spcBef>
                  <a:spcPct val="0"/>
                </a:spcBef>
                <a:buNone/>
              </a:pPr>
              <a:t>638</a:t>
            </a:fld>
            <a:endParaRPr kumimoji="1" lang="ja-JP" altLang="en-US" sz="800" dirty="0">
              <a:sym typeface="+mn-lt"/>
            </a:endParaRPr>
          </a:p>
        </p:txBody>
      </p:sp>
      <p:sp>
        <p:nvSpPr>
          <p:cNvPr id="80" name="テキスト プレースホルダ 9">
            <a:extLst>
              <a:ext uri="{FF2B5EF4-FFF2-40B4-BE49-F238E27FC236}">
                <a16:creationId xmlns:a16="http://schemas.microsoft.com/office/drawing/2014/main" id="{8C27BBC8-A2CA-06BE-5910-E13B779E1021}"/>
              </a:ext>
            </a:extLst>
          </p:cNvPr>
          <p:cNvSpPr>
            <a:spLocks noGrp="1"/>
          </p:cNvSpPr>
          <p:nvPr>
            <p:custDataLst>
              <p:tags r:id="rId40"/>
            </p:custDataLst>
          </p:nvPr>
        </p:nvSpPr>
        <p:spPr bwMode="auto">
          <a:xfrm>
            <a:off x="715963" y="61468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A611EC-4EC4-498A-907D-299EE788D9C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533751B5-2FA9-F823-8272-231DAAFFCE11}"/>
              </a:ext>
            </a:extLst>
          </p:cNvPr>
          <p:cNvSpPr>
            <a:spLocks noGrp="1"/>
          </p:cNvSpPr>
          <p:nvPr>
            <p:custDataLst>
              <p:tags r:id="rId41"/>
            </p:custDataLst>
          </p:nvPr>
        </p:nvSpPr>
        <p:spPr bwMode="gray">
          <a:xfrm>
            <a:off x="4852988" y="48879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982CB-F1CA-4BCA-9F3F-F3A5350BB945}" type="datetime'''''''''''''''''''''''''5''''''''''''''''''''''''''5''4'''">
              <a:rPr lang="ja-JP" altLang="en-US" sz="800" smtClean="0">
                <a:effectLst/>
                <a:sym typeface="+mn-lt"/>
              </a:rPr>
              <a:pPr marL="0" lvl="0" indent="0" algn="ctr">
                <a:spcBef>
                  <a:spcPct val="0"/>
                </a:spcBef>
                <a:buNone/>
              </a:pPr>
              <a:t>554</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8E16FC58-8CC2-7789-D1DF-EB03D64318D6}"/>
              </a:ext>
            </a:extLst>
          </p:cNvPr>
          <p:cNvSpPr>
            <a:spLocks noGrp="1"/>
          </p:cNvSpPr>
          <p:nvPr>
            <p:custDataLst>
              <p:tags r:id="rId42"/>
            </p:custDataLst>
          </p:nvPr>
        </p:nvSpPr>
        <p:spPr bwMode="gray">
          <a:xfrm>
            <a:off x="5167313" y="49323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88547-CDC1-41C8-AFD5-8B6085B24FAA}" type="datetime'''''''''''5''''3''''''''''0'">
              <a:rPr lang="ja-JP" altLang="en-US" sz="800" smtClean="0">
                <a:effectLst/>
                <a:sym typeface="+mn-lt"/>
              </a:rPr>
              <a:pPr marL="0" lvl="0" indent="0" algn="ctr">
                <a:spcBef>
                  <a:spcPct val="0"/>
                </a:spcBef>
                <a:buNone/>
              </a:pPr>
              <a:t>530</a:t>
            </a:fld>
            <a:endParaRPr kumimoji="1" lang="ja-JP" altLang="en-US" sz="800" dirty="0">
              <a:sym typeface="+mn-lt"/>
            </a:endParaRPr>
          </a:p>
        </p:txBody>
      </p:sp>
      <p:sp>
        <p:nvSpPr>
          <p:cNvPr id="265" name="テキスト プレースホルダ 9">
            <a:extLst>
              <a:ext uri="{FF2B5EF4-FFF2-40B4-BE49-F238E27FC236}">
                <a16:creationId xmlns:a16="http://schemas.microsoft.com/office/drawing/2014/main" id="{11B91FF1-C68C-B0EB-0CFD-2C96C29A2FD7}"/>
              </a:ext>
            </a:extLst>
          </p:cNvPr>
          <p:cNvSpPr>
            <a:spLocks noGrp="1"/>
          </p:cNvSpPr>
          <p:nvPr>
            <p:custDataLst>
              <p:tags r:id="rId43"/>
            </p:custDataLst>
          </p:nvPr>
        </p:nvSpPr>
        <p:spPr bwMode="gray">
          <a:xfrm>
            <a:off x="5481638" y="50180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05D27D-4BD3-4D8C-884F-6674D43BDA75}" type="datetime'4''''''''''''''''''''''''''8''''''''''''''4'''''''''''''''''">
              <a:rPr lang="ja-JP" altLang="en-US" sz="800" smtClean="0">
                <a:effectLst/>
                <a:sym typeface="+mn-lt"/>
              </a:rPr>
              <a:pPr marL="0" lvl="0" indent="0" algn="ctr">
                <a:spcBef>
                  <a:spcPct val="0"/>
                </a:spcBef>
                <a:buNone/>
              </a:pPr>
              <a:t>484</a:t>
            </a:fld>
            <a:endParaRPr kumimoji="1" lang="ja-JP" altLang="en-US" sz="800" dirty="0">
              <a:sym typeface="+mn-lt"/>
            </a:endParaRPr>
          </a:p>
        </p:txBody>
      </p:sp>
      <p:sp>
        <p:nvSpPr>
          <p:cNvPr id="266" name="テキスト プレースホルダ 9">
            <a:extLst>
              <a:ext uri="{FF2B5EF4-FFF2-40B4-BE49-F238E27FC236}">
                <a16:creationId xmlns:a16="http://schemas.microsoft.com/office/drawing/2014/main" id="{28998193-4C8A-A5E0-5EE8-8834B396BA45}"/>
              </a:ext>
            </a:extLst>
          </p:cNvPr>
          <p:cNvSpPr>
            <a:spLocks noGrp="1"/>
          </p:cNvSpPr>
          <p:nvPr>
            <p:custDataLst>
              <p:tags r:id="rId44"/>
            </p:custDataLst>
          </p:nvPr>
        </p:nvSpPr>
        <p:spPr bwMode="gray">
          <a:xfrm>
            <a:off x="5795963" y="50847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94CDE-EF46-4E74-A818-DBE1A445F10B}" type="datetime'''''4''4''7'''''''''''''''''''''''''''''''">
              <a:rPr lang="ja-JP" altLang="en-US" sz="800" smtClean="0">
                <a:effectLst/>
                <a:sym typeface="+mn-lt"/>
              </a:rPr>
              <a:pPr marL="0" lvl="0" indent="0" algn="ctr">
                <a:spcBef>
                  <a:spcPct val="0"/>
                </a:spcBef>
                <a:buNone/>
              </a:pPr>
              <a:t>447</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436D4C8E-F76D-DC2D-A084-94D8094FCA91}"/>
              </a:ext>
            </a:extLst>
          </p:cNvPr>
          <p:cNvSpPr>
            <a:spLocks noGrp="1"/>
          </p:cNvSpPr>
          <p:nvPr>
            <p:custDataLst>
              <p:tags r:id="rId45"/>
            </p:custDataLst>
          </p:nvPr>
        </p:nvSpPr>
        <p:spPr bwMode="gray">
          <a:xfrm>
            <a:off x="6111875" y="49466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D36AFE-57BA-40FE-BBDF-3ECE1F447DBC}" type="datetime'''''''''''''''''''''''''''''''''''''52''''''''''''2'''">
              <a:rPr lang="ja-JP" altLang="en-US" sz="800" smtClean="0">
                <a:effectLst/>
                <a:sym typeface="+mn-lt"/>
              </a:rPr>
              <a:pPr marL="0" lvl="0" indent="0" algn="ctr">
                <a:spcBef>
                  <a:spcPct val="0"/>
                </a:spcBef>
                <a:buNone/>
              </a:pPr>
              <a:t>522</a:t>
            </a:fld>
            <a:endParaRPr kumimoji="1" lang="ja-JP" altLang="en-US" sz="800" dirty="0">
              <a:sym typeface="+mn-lt"/>
            </a:endParaRPr>
          </a:p>
        </p:txBody>
      </p:sp>
      <p:sp>
        <p:nvSpPr>
          <p:cNvPr id="262" name="テキスト プレースホルダ 9">
            <a:extLst>
              <a:ext uri="{FF2B5EF4-FFF2-40B4-BE49-F238E27FC236}">
                <a16:creationId xmlns:a16="http://schemas.microsoft.com/office/drawing/2014/main" id="{9BFBE28F-C0CD-2436-9566-F4D844928FC3}"/>
              </a:ext>
            </a:extLst>
          </p:cNvPr>
          <p:cNvSpPr>
            <a:spLocks noGrp="1"/>
          </p:cNvSpPr>
          <p:nvPr>
            <p:custDataLst>
              <p:tags r:id="rId46"/>
            </p:custDataLst>
          </p:nvPr>
        </p:nvSpPr>
        <p:spPr bwMode="gray">
          <a:xfrm>
            <a:off x="4538663" y="47958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1C5280-2D91-41AA-B93D-D0266D9E4F70}" type="datetime'60''''''''''''''''''4'''''''">
              <a:rPr lang="ja-JP" altLang="en-US" sz="800" smtClean="0">
                <a:effectLst/>
                <a:sym typeface="+mn-lt"/>
              </a:rPr>
              <a:pPr marL="0" lvl="0" indent="0" algn="ctr">
                <a:spcBef>
                  <a:spcPct val="0"/>
                </a:spcBef>
                <a:buNone/>
              </a:pPr>
              <a:t>604</a:t>
            </a:fld>
            <a:endParaRPr kumimoji="1" lang="ja-JP" altLang="en-US" sz="800" dirty="0">
              <a:sym typeface="+mn-lt"/>
            </a:endParaRPr>
          </a:p>
        </p:txBody>
      </p:sp>
      <p:sp>
        <p:nvSpPr>
          <p:cNvPr id="269" name="テキスト プレースホルダ 9">
            <a:extLst>
              <a:ext uri="{FF2B5EF4-FFF2-40B4-BE49-F238E27FC236}">
                <a16:creationId xmlns:a16="http://schemas.microsoft.com/office/drawing/2014/main" id="{EB2D8F70-BB17-3B56-D820-B0B5E053BCDD}"/>
              </a:ext>
            </a:extLst>
          </p:cNvPr>
          <p:cNvSpPr>
            <a:spLocks noGrp="1"/>
          </p:cNvSpPr>
          <p:nvPr>
            <p:custDataLst>
              <p:tags r:id="rId47"/>
            </p:custDataLst>
          </p:nvPr>
        </p:nvSpPr>
        <p:spPr bwMode="gray">
          <a:xfrm>
            <a:off x="6740525" y="49260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7B3727-630F-4691-A583-7CA6C87CB0E6}" type="datetime'''''''''''''''''''''''5''3''''''''''3'''''''''''''''''''''">
              <a:rPr lang="ja-JP" altLang="en-US" sz="800" smtClean="0">
                <a:effectLst/>
                <a:sym typeface="+mn-lt"/>
              </a:rPr>
              <a:pPr marL="0" lvl="0" indent="0" algn="ctr">
                <a:spcBef>
                  <a:spcPct val="0"/>
                </a:spcBef>
                <a:buNone/>
              </a:pPr>
              <a:t>533</a:t>
            </a:fld>
            <a:endParaRPr kumimoji="1" lang="ja-JP" altLang="en-US" sz="800" dirty="0">
              <a:sym typeface="+mn-lt"/>
            </a:endParaRPr>
          </a:p>
        </p:txBody>
      </p:sp>
      <p:sp>
        <p:nvSpPr>
          <p:cNvPr id="270" name="テキスト プレースホルダ 9">
            <a:extLst>
              <a:ext uri="{FF2B5EF4-FFF2-40B4-BE49-F238E27FC236}">
                <a16:creationId xmlns:a16="http://schemas.microsoft.com/office/drawing/2014/main" id="{E3A08969-EFE6-D5AF-BEA3-26830BF18BA5}"/>
              </a:ext>
            </a:extLst>
          </p:cNvPr>
          <p:cNvSpPr>
            <a:spLocks noGrp="1"/>
          </p:cNvSpPr>
          <p:nvPr>
            <p:custDataLst>
              <p:tags r:id="rId48"/>
            </p:custDataLst>
          </p:nvPr>
        </p:nvSpPr>
        <p:spPr bwMode="gray">
          <a:xfrm>
            <a:off x="7054850" y="49974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C28BA-4E53-42B7-98E3-9E78D7B9856D}" type="datetime'''''49''''''''''''''''''''''''''''''5'">
              <a:rPr lang="ja-JP" altLang="en-US" sz="800" smtClean="0">
                <a:effectLst/>
                <a:sym typeface="+mn-lt"/>
              </a:rPr>
              <a:pPr marL="0" lvl="0" indent="0" algn="ctr">
                <a:spcBef>
                  <a:spcPct val="0"/>
                </a:spcBef>
                <a:buNone/>
              </a:pPr>
              <a:t>495</a:t>
            </a:fld>
            <a:endParaRPr kumimoji="1" lang="ja-JP" altLang="en-US" sz="800" dirty="0">
              <a:sym typeface="+mn-lt"/>
            </a:endParaRPr>
          </a:p>
        </p:txBody>
      </p:sp>
      <p:sp>
        <p:nvSpPr>
          <p:cNvPr id="271" name="テキスト プレースホルダ 9">
            <a:extLst>
              <a:ext uri="{FF2B5EF4-FFF2-40B4-BE49-F238E27FC236}">
                <a16:creationId xmlns:a16="http://schemas.microsoft.com/office/drawing/2014/main" id="{0CB7B3DE-DAFB-7885-A0BF-D4755310F30F}"/>
              </a:ext>
            </a:extLst>
          </p:cNvPr>
          <p:cNvSpPr>
            <a:spLocks noGrp="1"/>
          </p:cNvSpPr>
          <p:nvPr>
            <p:custDataLst>
              <p:tags r:id="rId49"/>
            </p:custDataLst>
          </p:nvPr>
        </p:nvSpPr>
        <p:spPr bwMode="gray">
          <a:xfrm>
            <a:off x="7369175" y="4829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2D2B2E-A0EE-4777-AB88-9A9048AC6D50}" type="datetime'''''''5''''''''''''''''''''''8''5'''''''''''''''''''''''''''''">
              <a:rPr lang="ja-JP" altLang="en-US" sz="800" smtClean="0">
                <a:effectLst/>
                <a:sym typeface="+mn-lt"/>
              </a:rPr>
              <a:pPr marL="0" lvl="0" indent="0" algn="ctr">
                <a:spcBef>
                  <a:spcPct val="0"/>
                </a:spcBef>
                <a:buNone/>
              </a:pPr>
              <a:t>585</a:t>
            </a:fld>
            <a:endParaRPr kumimoji="1" lang="ja-JP" altLang="en-US" sz="800" dirty="0">
              <a:sym typeface="+mn-lt"/>
            </a:endParaRPr>
          </a:p>
        </p:txBody>
      </p:sp>
      <p:sp>
        <p:nvSpPr>
          <p:cNvPr id="272" name="テキスト プレースホルダ 9">
            <a:extLst>
              <a:ext uri="{FF2B5EF4-FFF2-40B4-BE49-F238E27FC236}">
                <a16:creationId xmlns:a16="http://schemas.microsoft.com/office/drawing/2014/main" id="{94060A67-29B7-3F8F-756B-8EDCBB4C6A77}"/>
              </a:ext>
            </a:extLst>
          </p:cNvPr>
          <p:cNvSpPr>
            <a:spLocks noGrp="1"/>
          </p:cNvSpPr>
          <p:nvPr>
            <p:custDataLst>
              <p:tags r:id="rId50"/>
            </p:custDataLst>
          </p:nvPr>
        </p:nvSpPr>
        <p:spPr bwMode="gray">
          <a:xfrm>
            <a:off x="7685088" y="48768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DD8E2B-FEAC-43B1-99FF-9A0C9A7FDB53}" type="datetime'''''5''6''0'''''''''''''''''''''''">
              <a:rPr lang="ja-JP" altLang="en-US" sz="800" smtClean="0">
                <a:effectLst/>
                <a:sym typeface="+mn-lt"/>
              </a:rPr>
              <a:pPr marL="0" lvl="0" indent="0" algn="ctr">
                <a:spcBef>
                  <a:spcPct val="0"/>
                </a:spcBef>
                <a:buNone/>
              </a:pPr>
              <a:t>560</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CB104222-BF58-3391-577C-071B994CCEA5}"/>
              </a:ext>
            </a:extLst>
          </p:cNvPr>
          <p:cNvSpPr>
            <a:spLocks noGrp="1"/>
          </p:cNvSpPr>
          <p:nvPr>
            <p:custDataLst>
              <p:tags r:id="rId51"/>
            </p:custDataLst>
          </p:nvPr>
        </p:nvSpPr>
        <p:spPr bwMode="gray">
          <a:xfrm>
            <a:off x="7999413" y="49403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1C7C1-CD5F-4404-9B8D-24BAE6E534DE}" type="datetime'''''''''''''''''''''''''''''''5''''2''''''''''''''''''''6'''">
              <a:rPr lang="ja-JP" altLang="en-US" sz="800" smtClean="0">
                <a:effectLst/>
                <a:sym typeface="+mn-lt"/>
              </a:rPr>
              <a:pPr marL="0" lvl="0" indent="0" algn="ctr">
                <a:spcBef>
                  <a:spcPct val="0"/>
                </a:spcBef>
                <a:buNone/>
              </a:pPr>
              <a:t>526</a:t>
            </a:fld>
            <a:endParaRPr kumimoji="1" lang="ja-JP" altLang="en-US" sz="800" dirty="0">
              <a:sym typeface="+mn-lt"/>
            </a:endParaRPr>
          </a:p>
        </p:txBody>
      </p:sp>
      <p:sp>
        <p:nvSpPr>
          <p:cNvPr id="268" name="テキスト プレースホルダ 9">
            <a:extLst>
              <a:ext uri="{FF2B5EF4-FFF2-40B4-BE49-F238E27FC236}">
                <a16:creationId xmlns:a16="http://schemas.microsoft.com/office/drawing/2014/main" id="{95485108-6359-676B-F741-4F5D15AD6378}"/>
              </a:ext>
            </a:extLst>
          </p:cNvPr>
          <p:cNvSpPr>
            <a:spLocks noGrp="1"/>
          </p:cNvSpPr>
          <p:nvPr>
            <p:custDataLst>
              <p:tags r:id="rId52"/>
            </p:custDataLst>
          </p:nvPr>
        </p:nvSpPr>
        <p:spPr bwMode="gray">
          <a:xfrm>
            <a:off x="6426200" y="48895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238889-FF42-4928-982F-C79D869D8C27}" type="datetime'5''''''''5''''''''''''''''''''''''''''''''''''2'''">
              <a:rPr lang="ja-JP" altLang="en-US" sz="800" smtClean="0">
                <a:effectLst/>
                <a:sym typeface="+mn-lt"/>
              </a:rPr>
              <a:pPr marL="0" lvl="0" indent="0" algn="ctr">
                <a:spcBef>
                  <a:spcPct val="0"/>
                </a:spcBef>
                <a:buNone/>
              </a:pPr>
              <a:t>552</a:t>
            </a:fld>
            <a:endParaRPr kumimoji="1" lang="ja-JP" altLang="en-US" sz="800" dirty="0">
              <a:sym typeface="+mn-lt"/>
            </a:endParaRPr>
          </a:p>
        </p:txBody>
      </p:sp>
      <p:sp>
        <p:nvSpPr>
          <p:cNvPr id="279" name="Rectangle 278"/>
          <p:cNvSpPr/>
          <p:nvPr>
            <p:custDataLst>
              <p:tags r:id="rId53"/>
            </p:custDataLst>
          </p:nvPr>
        </p:nvSpPr>
        <p:spPr bwMode="gray">
          <a:xfrm>
            <a:off x="8675688" y="542925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54"/>
            </p:custDataLst>
          </p:nvPr>
        </p:nvSpPr>
        <p:spPr bwMode="gray">
          <a:xfrm>
            <a:off x="8675688" y="56324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テキスト プレースホルダ 9"/>
          <p:cNvSpPr>
            <a:spLocks noGrp="1"/>
          </p:cNvSpPr>
          <p:nvPr>
            <p:custDataLst>
              <p:tags r:id="rId55"/>
            </p:custDataLst>
          </p:nvPr>
        </p:nvSpPr>
        <p:spPr bwMode="auto">
          <a:xfrm>
            <a:off x="8905875" y="5424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sp>
        <p:nvSpPr>
          <p:cNvPr id="277" name="テキスト プレースホルダ 9"/>
          <p:cNvSpPr>
            <a:spLocks noGrp="1"/>
          </p:cNvSpPr>
          <p:nvPr>
            <p:custDataLst>
              <p:tags r:id="rId56"/>
            </p:custDataLst>
          </p:nvPr>
        </p:nvSpPr>
        <p:spPr bwMode="auto">
          <a:xfrm>
            <a:off x="8905875" y="56276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337" name="テキスト ボックス 6"/>
          <p:cNvSpPr txBox="1"/>
          <p:nvPr/>
        </p:nvSpPr>
        <p:spPr>
          <a:xfrm>
            <a:off x="5745088" y="622935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固定価格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88318" y="1124813"/>
            <a:ext cx="936103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っているが、増加分のほとんどは政府負担で、政府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ている。</a:t>
            </a:r>
          </a:p>
        </p:txBody>
      </p:sp>
      <p:sp>
        <p:nvSpPr>
          <p:cNvPr id="66" name="Rectangle 65">
            <a:extLst>
              <a:ext uri="{FF2B5EF4-FFF2-40B4-BE49-F238E27FC236}">
                <a16:creationId xmlns:a16="http://schemas.microsoft.com/office/drawing/2014/main" id="{84012B64-F1D0-48FF-A9FC-521AEEC889C9}"/>
              </a:ext>
            </a:extLst>
          </p:cNvPr>
          <p:cNvSpPr/>
          <p:nvPr>
            <p:custDataLst>
              <p:tags r:id="rId57"/>
            </p:custDataLst>
          </p:nvPr>
        </p:nvSpPr>
        <p:spPr bwMode="auto">
          <a:xfrm>
            <a:off x="8718550" y="27400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7" name="Rectangle 116">
            <a:extLst>
              <a:ext uri="{FF2B5EF4-FFF2-40B4-BE49-F238E27FC236}">
                <a16:creationId xmlns:a16="http://schemas.microsoft.com/office/drawing/2014/main" id="{368D73BA-D21E-FEA5-BECF-7D0E8DCAE15D}"/>
              </a:ext>
            </a:extLst>
          </p:cNvPr>
          <p:cNvSpPr/>
          <p:nvPr>
            <p:custDataLst>
              <p:tags r:id="rId58"/>
            </p:custDataLst>
          </p:nvPr>
        </p:nvSpPr>
        <p:spPr bwMode="auto">
          <a:xfrm>
            <a:off x="8718550" y="29432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21" name="テキスト プレースホルダ 9">
            <a:extLst>
              <a:ext uri="{FF2B5EF4-FFF2-40B4-BE49-F238E27FC236}">
                <a16:creationId xmlns:a16="http://schemas.microsoft.com/office/drawing/2014/main" id="{986385B7-F94F-4FDB-A94B-13F7EE4370BB}"/>
              </a:ext>
            </a:extLst>
          </p:cNvPr>
          <p:cNvSpPr>
            <a:spLocks noGrp="1"/>
          </p:cNvSpPr>
          <p:nvPr>
            <p:custDataLst>
              <p:tags r:id="rId59"/>
            </p:custDataLst>
          </p:nvPr>
        </p:nvSpPr>
        <p:spPr bwMode="auto">
          <a:xfrm>
            <a:off x="8948738" y="2735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DA4650-FE03-4075-A5D4-83D968D82F55}" type="datetime'''''''''政''''''''''''府'''''''">
              <a:rPr kumimoji="0" lang="ja-JP" altLang="en-US" sz="1000" smtClean="0"/>
              <a:pPr/>
              <a:t>政府</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29941E21-C567-8511-5E40-8A3A2685F6ED}"/>
              </a:ext>
            </a:extLst>
          </p:cNvPr>
          <p:cNvSpPr>
            <a:spLocks noGrp="1"/>
          </p:cNvSpPr>
          <p:nvPr>
            <p:custDataLst>
              <p:tags r:id="rId60"/>
            </p:custDataLst>
          </p:nvPr>
        </p:nvSpPr>
        <p:spPr bwMode="auto">
          <a:xfrm>
            <a:off x="8948738" y="293846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E6097A-1655-4778-8FE5-050A58EBF861}" type="datetime'''''政''府''''''''''''''''''''''''''''''''''''''''以外'''">
              <a:rPr kumimoji="0" lang="ja-JP" altLang="en-US" sz="1000" smtClean="0"/>
              <a:pPr/>
              <a:t>政府以外</a:t>
            </a:fld>
            <a:endParaRPr kumimoji="0" lang="ja-JP" altLang="en-US" sz="1000" dirty="0">
              <a:sym typeface="+mn-lt"/>
            </a:endParaRPr>
          </a:p>
        </p:txBody>
      </p:sp>
      <p:sp>
        <p:nvSpPr>
          <p:cNvPr id="448" name="テキスト ボックス 15">
            <a:extLst>
              <a:ext uri="{FF2B5EF4-FFF2-40B4-BE49-F238E27FC236}">
                <a16:creationId xmlns:a16="http://schemas.microsoft.com/office/drawing/2014/main" id="{6308DD9E-4DE0-4488-8D56-F75A9C2E8BC1}"/>
              </a:ext>
            </a:extLst>
          </p:cNvPr>
          <p:cNvSpPr txBox="1"/>
          <p:nvPr/>
        </p:nvSpPr>
        <p:spPr>
          <a:xfrm>
            <a:off x="839788" y="2063750"/>
            <a:ext cx="827088"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49" name="テキスト ボックス 23">
            <a:extLst>
              <a:ext uri="{FF2B5EF4-FFF2-40B4-BE49-F238E27FC236}">
                <a16:creationId xmlns:a16="http://schemas.microsoft.com/office/drawing/2014/main" id="{E63BCA38-9671-4020-9F2E-7A32DBB2468C}"/>
              </a:ext>
            </a:extLst>
          </p:cNvPr>
          <p:cNvSpPr txBox="1"/>
          <p:nvPr/>
        </p:nvSpPr>
        <p:spPr>
          <a:xfrm>
            <a:off x="7823200" y="2063750"/>
            <a:ext cx="433388" cy="1444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5" name="Straight Connector 454">
            <a:extLst>
              <a:ext uri="{FF2B5EF4-FFF2-40B4-BE49-F238E27FC236}">
                <a16:creationId xmlns:a16="http://schemas.microsoft.com/office/drawing/2014/main" id="{0CCA9872-A274-4464-BAF0-C5A5D6E33346}"/>
              </a:ext>
            </a:extLst>
          </p:cNvPr>
          <p:cNvCxnSpPr/>
          <p:nvPr>
            <p:custDataLst>
              <p:tags r:id="rId61"/>
            </p:custDataLst>
          </p:nvPr>
        </p:nvCxnSpPr>
        <p:spPr bwMode="gray">
          <a:xfrm>
            <a:off x="8478838" y="3238500"/>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56" name="Oval 455">
            <a:extLst>
              <a:ext uri="{FF2B5EF4-FFF2-40B4-BE49-F238E27FC236}">
                <a16:creationId xmlns:a16="http://schemas.microsoft.com/office/drawing/2014/main" id="{44080F51-A47E-4359-87F5-F01084BBCD2D}"/>
              </a:ext>
            </a:extLst>
          </p:cNvPr>
          <p:cNvSpPr/>
          <p:nvPr>
            <p:custDataLst>
              <p:tags r:id="rId62"/>
            </p:custDataLst>
          </p:nvPr>
        </p:nvSpPr>
        <p:spPr bwMode="gray">
          <a:xfrm>
            <a:off x="8550275" y="32004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7" name="テキスト プレースホルダ 9">
            <a:extLst>
              <a:ext uri="{FF2B5EF4-FFF2-40B4-BE49-F238E27FC236}">
                <a16:creationId xmlns:a16="http://schemas.microsoft.com/office/drawing/2014/main" id="{B7FBCA43-793E-453D-93ED-3090CFD1A486}"/>
              </a:ext>
            </a:extLst>
          </p:cNvPr>
          <p:cNvSpPr>
            <a:spLocks noGrp="1"/>
          </p:cNvSpPr>
          <p:nvPr>
            <p:custDataLst>
              <p:tags r:id="rId63"/>
            </p:custDataLst>
          </p:nvPr>
        </p:nvSpPr>
        <p:spPr bwMode="auto">
          <a:xfrm>
            <a:off x="8753475" y="31813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E48BE8A-5F48-4665-A95E-01E9747264D8}"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graphicFrame>
        <p:nvGraphicFramePr>
          <p:cNvPr id="492" name="Chart 491">
            <a:extLst>
              <a:ext uri="{FF2B5EF4-FFF2-40B4-BE49-F238E27FC236}">
                <a16:creationId xmlns:a16="http://schemas.microsoft.com/office/drawing/2014/main" id="{34184FAF-0FFF-ECC4-E038-42EB7D9DC11B}"/>
              </a:ext>
            </a:extLst>
          </p:cNvPr>
          <p:cNvGraphicFramePr/>
          <p:nvPr>
            <p:custDataLst>
              <p:tags r:id="rId64"/>
            </p:custDataLst>
            <p:extLst>
              <p:ext uri="{D42A27DB-BD31-4B8C-83A1-F6EECF244321}">
                <p14:modId xmlns:p14="http://schemas.microsoft.com/office/powerpoint/2010/main" val="1361735360"/>
              </p:ext>
            </p:extLst>
          </p:nvPr>
        </p:nvGraphicFramePr>
        <p:xfrm>
          <a:off x="333375" y="2354263"/>
          <a:ext cx="8075613" cy="1520825"/>
        </p:xfrm>
        <a:graphic>
          <a:graphicData uri="http://schemas.openxmlformats.org/drawingml/2006/chart">
            <c:chart xmlns:c="http://schemas.openxmlformats.org/drawingml/2006/chart" xmlns:r="http://schemas.openxmlformats.org/officeDocument/2006/relationships" r:id="rId156"/>
          </a:graphicData>
        </a:graphic>
      </p:graphicFrame>
      <p:sp>
        <p:nvSpPr>
          <p:cNvPr id="217" name="テキスト プレースホルダ 9">
            <a:extLst>
              <a:ext uri="{FF2B5EF4-FFF2-40B4-BE49-F238E27FC236}">
                <a16:creationId xmlns:a16="http://schemas.microsoft.com/office/drawing/2014/main" id="{7914DA94-8126-3690-CBEA-DCC0AFA79001}"/>
              </a:ext>
            </a:extLst>
          </p:cNvPr>
          <p:cNvSpPr>
            <a:spLocks noGrp="1"/>
          </p:cNvSpPr>
          <p:nvPr>
            <p:custDataLst>
              <p:tags r:id="rId65"/>
            </p:custDataLst>
          </p:nvPr>
        </p:nvSpPr>
        <p:spPr bwMode="gray">
          <a:xfrm>
            <a:off x="1065213" y="33035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5B2D1C-68BC-4C4C-86D6-B98167568981}" type="datetime'''''''''''''''''''''''''''1''''1''''''''''''''''''.2'''''">
              <a:rPr lang="ja-JP" altLang="en-US" sz="800" smtClean="0">
                <a:effectLst/>
                <a:sym typeface="+mn-lt"/>
              </a:rPr>
              <a:pPr marL="0" lvl="0" indent="0" algn="ctr">
                <a:spcBef>
                  <a:spcPct val="0"/>
                </a:spcBef>
                <a:buNone/>
              </a:pPr>
              <a:t>11.2</a:t>
            </a:fld>
            <a:endParaRPr lang="ja-JP" altLang="en-US" sz="800" dirty="0">
              <a:sym typeface="+mn-lt"/>
            </a:endParaRPr>
          </a:p>
        </p:txBody>
      </p:sp>
      <p:sp>
        <p:nvSpPr>
          <p:cNvPr id="218" name="テキスト プレースホルダ 9">
            <a:extLst>
              <a:ext uri="{FF2B5EF4-FFF2-40B4-BE49-F238E27FC236}">
                <a16:creationId xmlns:a16="http://schemas.microsoft.com/office/drawing/2014/main" id="{F1DC2C2E-101C-8102-4FD6-993C50CBCC1F}"/>
              </a:ext>
            </a:extLst>
          </p:cNvPr>
          <p:cNvSpPr>
            <a:spLocks noGrp="1"/>
          </p:cNvSpPr>
          <p:nvPr>
            <p:custDataLst>
              <p:tags r:id="rId66"/>
            </p:custDataLst>
          </p:nvPr>
        </p:nvSpPr>
        <p:spPr bwMode="gray">
          <a:xfrm>
            <a:off x="1382713" y="33115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A004C3-1590-42C2-AD92-E46778203672}" type="datetime'''''1''''''''''''0.''''''''''''7'''''''''''''''''''''''''">
              <a:rPr lang="ja-JP" altLang="en-US" sz="800" smtClean="0">
                <a:effectLst/>
                <a:sym typeface="+mn-lt"/>
              </a:rPr>
              <a:pPr marL="0" lvl="0" indent="0" algn="ctr">
                <a:spcBef>
                  <a:spcPct val="0"/>
                </a:spcBef>
                <a:buNone/>
              </a:pPr>
              <a:t>10.7</a:t>
            </a:fld>
            <a:endParaRPr lang="ja-JP" altLang="en-US" sz="800" dirty="0">
              <a:sym typeface="+mn-lt"/>
            </a:endParaRPr>
          </a:p>
        </p:txBody>
      </p:sp>
      <p:sp>
        <p:nvSpPr>
          <p:cNvPr id="219" name="テキスト プレースホルダ 9">
            <a:extLst>
              <a:ext uri="{FF2B5EF4-FFF2-40B4-BE49-F238E27FC236}">
                <a16:creationId xmlns:a16="http://schemas.microsoft.com/office/drawing/2014/main" id="{80AE70B3-596B-E1BC-3BE1-3431ED7E7997}"/>
              </a:ext>
            </a:extLst>
          </p:cNvPr>
          <p:cNvSpPr>
            <a:spLocks noGrp="1"/>
          </p:cNvSpPr>
          <p:nvPr>
            <p:custDataLst>
              <p:tags r:id="rId67"/>
            </p:custDataLst>
          </p:nvPr>
        </p:nvSpPr>
        <p:spPr bwMode="gray">
          <a:xfrm>
            <a:off x="2017713" y="32734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FC0B86-F1A2-48AB-BF31-465A3B208E7B}" type="datetime'''''''''''1''''''''''''0''''''''''''.''''''''''2'">
              <a:rPr lang="ja-JP" altLang="en-US" sz="800" smtClean="0">
                <a:effectLst/>
                <a:sym typeface="+mn-lt"/>
              </a:rPr>
              <a:pPr marL="0" lvl="0" indent="0" algn="ctr">
                <a:spcBef>
                  <a:spcPct val="0"/>
                </a:spcBef>
                <a:buNone/>
              </a:pPr>
              <a:t>10.2</a:t>
            </a:fld>
            <a:endParaRPr lang="ja-JP" altLang="en-US" sz="800" dirty="0">
              <a:sym typeface="+mn-lt"/>
            </a:endParaRPr>
          </a:p>
        </p:txBody>
      </p:sp>
      <p:sp>
        <p:nvSpPr>
          <p:cNvPr id="220" name="テキスト プレースホルダ 9">
            <a:extLst>
              <a:ext uri="{FF2B5EF4-FFF2-40B4-BE49-F238E27FC236}">
                <a16:creationId xmlns:a16="http://schemas.microsoft.com/office/drawing/2014/main" id="{B03CFA64-1820-6FFD-A977-452CE9500764}"/>
              </a:ext>
            </a:extLst>
          </p:cNvPr>
          <p:cNvSpPr>
            <a:spLocks noGrp="1"/>
          </p:cNvSpPr>
          <p:nvPr>
            <p:custDataLst>
              <p:tags r:id="rId68"/>
            </p:custDataLst>
          </p:nvPr>
        </p:nvSpPr>
        <p:spPr bwMode="gray">
          <a:xfrm>
            <a:off x="2970213" y="3481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B83F5-D2B5-4935-B4B7-8E41C9BC389A}" type="datetime'''''''''''''''1''''''''''''''''''''''''''0.''''''''''''3'''">
              <a:rPr lang="ja-JP" altLang="en-US" sz="800" smtClean="0">
                <a:effectLst/>
                <a:sym typeface="+mn-lt"/>
              </a:rPr>
              <a:pPr marL="0" lvl="0" indent="0" algn="ctr">
                <a:spcBef>
                  <a:spcPct val="0"/>
                </a:spcBef>
                <a:buNone/>
              </a:pPr>
              <a:t>10.3</a:t>
            </a:fld>
            <a:endParaRPr lang="ja-JP" altLang="en-US" sz="800" dirty="0">
              <a:sym typeface="+mn-lt"/>
            </a:endParaRPr>
          </a:p>
        </p:txBody>
      </p:sp>
      <p:sp>
        <p:nvSpPr>
          <p:cNvPr id="221" name="テキスト プレースホルダ 9">
            <a:extLst>
              <a:ext uri="{FF2B5EF4-FFF2-40B4-BE49-F238E27FC236}">
                <a16:creationId xmlns:a16="http://schemas.microsoft.com/office/drawing/2014/main" id="{B6E15CEC-8AE6-EE2C-558B-818C6E0AC044}"/>
              </a:ext>
            </a:extLst>
          </p:cNvPr>
          <p:cNvSpPr>
            <a:spLocks noGrp="1"/>
          </p:cNvSpPr>
          <p:nvPr>
            <p:custDataLst>
              <p:tags r:id="rId69"/>
            </p:custDataLst>
          </p:nvPr>
        </p:nvSpPr>
        <p:spPr bwMode="gray">
          <a:xfrm>
            <a:off x="3287713" y="31686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004BD4-ADC5-420E-9B24-F0E4E8CC9EE5}" type="datetime'''''10''''''''''''''''''''''''''''.3'">
              <a:rPr lang="ja-JP" altLang="en-US" sz="800" smtClean="0">
                <a:effectLst/>
                <a:sym typeface="+mn-lt"/>
              </a:rPr>
              <a:pPr marL="0" lvl="0" indent="0" algn="ctr">
                <a:spcBef>
                  <a:spcPct val="0"/>
                </a:spcBef>
                <a:buNone/>
              </a:pPr>
              <a:t>10.3</a:t>
            </a:fld>
            <a:endParaRPr lang="ja-JP" altLang="en-US" sz="800" dirty="0">
              <a:sym typeface="+mn-lt"/>
            </a:endParaRPr>
          </a:p>
        </p:txBody>
      </p:sp>
      <p:sp>
        <p:nvSpPr>
          <p:cNvPr id="222" name="テキスト プレースホルダ 9">
            <a:extLst>
              <a:ext uri="{FF2B5EF4-FFF2-40B4-BE49-F238E27FC236}">
                <a16:creationId xmlns:a16="http://schemas.microsoft.com/office/drawing/2014/main" id="{31B16259-9732-C249-ACD5-2B26739727BC}"/>
              </a:ext>
            </a:extLst>
          </p:cNvPr>
          <p:cNvSpPr>
            <a:spLocks noGrp="1"/>
          </p:cNvSpPr>
          <p:nvPr>
            <p:custDataLst>
              <p:tags r:id="rId70"/>
            </p:custDataLst>
          </p:nvPr>
        </p:nvSpPr>
        <p:spPr bwMode="gray">
          <a:xfrm>
            <a:off x="3287713" y="34718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D760AF-8D1B-4E57-8B7E-BD1626BBB068}" type="datetime'''''''''''1''''''''''''''''0''''''''''''.9'''''''''''''''">
              <a:rPr lang="ja-JP" altLang="en-US" sz="800" smtClean="0">
                <a:effectLst/>
                <a:sym typeface="+mn-lt"/>
              </a:rPr>
              <a:pPr marL="0" lvl="0" indent="0" algn="ctr">
                <a:spcBef>
                  <a:spcPct val="0"/>
                </a:spcBef>
                <a:buNone/>
              </a:pPr>
              <a:t>10.9</a:t>
            </a:fld>
            <a:endParaRPr lang="ja-JP" altLang="en-US" sz="800" dirty="0">
              <a:sym typeface="+mn-lt"/>
            </a:endParaRPr>
          </a:p>
        </p:txBody>
      </p:sp>
      <p:sp>
        <p:nvSpPr>
          <p:cNvPr id="223" name="テキスト プレースホルダ 9">
            <a:extLst>
              <a:ext uri="{FF2B5EF4-FFF2-40B4-BE49-F238E27FC236}">
                <a16:creationId xmlns:a16="http://schemas.microsoft.com/office/drawing/2014/main" id="{CA6484DA-3974-0D25-824C-E22F59A1723C}"/>
              </a:ext>
            </a:extLst>
          </p:cNvPr>
          <p:cNvSpPr>
            <a:spLocks noGrp="1"/>
          </p:cNvSpPr>
          <p:nvPr>
            <p:custDataLst>
              <p:tags r:id="rId71"/>
            </p:custDataLst>
          </p:nvPr>
        </p:nvSpPr>
        <p:spPr bwMode="gray">
          <a:xfrm>
            <a:off x="3605213" y="31353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77BD2-4E14-4954-9A90-A6A1CFC0B8F8}" type="datetime'''1''''''''''''0''''''''''.2'''''''''''''">
              <a:rPr lang="ja-JP" altLang="en-US" sz="800" smtClean="0">
                <a:effectLst/>
                <a:sym typeface="+mn-lt"/>
              </a:rPr>
              <a:pPr marL="0" lvl="0" indent="0" algn="ctr">
                <a:spcBef>
                  <a:spcPct val="0"/>
                </a:spcBef>
                <a:buNone/>
              </a:pPr>
              <a:t>10.2</a:t>
            </a:fld>
            <a:endParaRPr lang="ja-JP" altLang="en-US" sz="800" dirty="0">
              <a:sym typeface="+mn-lt"/>
            </a:endParaRPr>
          </a:p>
        </p:txBody>
      </p:sp>
      <p:sp>
        <p:nvSpPr>
          <p:cNvPr id="224" name="テキスト プレースホルダ 9">
            <a:extLst>
              <a:ext uri="{FF2B5EF4-FFF2-40B4-BE49-F238E27FC236}">
                <a16:creationId xmlns:a16="http://schemas.microsoft.com/office/drawing/2014/main" id="{6433F304-F4E0-86CC-2B07-D4543E8F793D}"/>
              </a:ext>
            </a:extLst>
          </p:cNvPr>
          <p:cNvSpPr>
            <a:spLocks noGrp="1"/>
          </p:cNvSpPr>
          <p:nvPr>
            <p:custDataLst>
              <p:tags r:id="rId72"/>
            </p:custDataLst>
          </p:nvPr>
        </p:nvSpPr>
        <p:spPr bwMode="gray">
          <a:xfrm>
            <a:off x="3605213" y="34559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C9A564-9CA9-489D-9C7C-2C2607FD7BA1}"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25" name="テキスト プレースホルダ 9">
            <a:extLst>
              <a:ext uri="{FF2B5EF4-FFF2-40B4-BE49-F238E27FC236}">
                <a16:creationId xmlns:a16="http://schemas.microsoft.com/office/drawing/2014/main" id="{B2ABDA23-D070-1EA8-3B98-8E1632440626}"/>
              </a:ext>
            </a:extLst>
          </p:cNvPr>
          <p:cNvSpPr>
            <a:spLocks noGrp="1"/>
          </p:cNvSpPr>
          <p:nvPr>
            <p:custDataLst>
              <p:tags r:id="rId73"/>
            </p:custDataLst>
          </p:nvPr>
        </p:nvSpPr>
        <p:spPr bwMode="gray">
          <a:xfrm>
            <a:off x="3922713" y="31035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4751DD-1AF2-4CF6-A9C4-D7919835B606}" type="datetime'''1''''''''''''''''''''0''''''''''''''''''''''''.''''4'''''">
              <a:rPr lang="ja-JP" altLang="en-US" sz="800" smtClean="0">
                <a:effectLst/>
                <a:sym typeface="+mn-lt"/>
              </a:rPr>
              <a:pPr marL="0" lvl="0" indent="0" algn="ctr">
                <a:spcBef>
                  <a:spcPct val="0"/>
                </a:spcBef>
                <a:buNone/>
              </a:pPr>
              <a:t>10.4</a:t>
            </a:fld>
            <a:endParaRPr lang="ja-JP" altLang="en-US" sz="800" dirty="0">
              <a:sym typeface="+mn-lt"/>
            </a:endParaRPr>
          </a:p>
        </p:txBody>
      </p:sp>
      <p:sp>
        <p:nvSpPr>
          <p:cNvPr id="226" name="テキスト プレースホルダ 9">
            <a:extLst>
              <a:ext uri="{FF2B5EF4-FFF2-40B4-BE49-F238E27FC236}">
                <a16:creationId xmlns:a16="http://schemas.microsoft.com/office/drawing/2014/main" id="{E862F7DE-8A5B-5DD5-A4F2-90AC5CF13F69}"/>
              </a:ext>
            </a:extLst>
          </p:cNvPr>
          <p:cNvSpPr>
            <a:spLocks noGrp="1"/>
          </p:cNvSpPr>
          <p:nvPr>
            <p:custDataLst>
              <p:tags r:id="rId74"/>
            </p:custDataLst>
          </p:nvPr>
        </p:nvSpPr>
        <p:spPr bwMode="gray">
          <a:xfrm>
            <a:off x="3922713" y="34417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24CDB-0DA1-427F-9950-043FDB221A69}" type="datetime'''''1''''''''''''''''''3''''''''''''''''''''.''''''''''1'''''">
              <a:rPr lang="ja-JP" altLang="en-US" sz="800" smtClean="0">
                <a:effectLst/>
                <a:sym typeface="+mn-lt"/>
              </a:rPr>
              <a:pPr marL="0" lvl="0" indent="0" algn="ctr">
                <a:spcBef>
                  <a:spcPct val="0"/>
                </a:spcBef>
                <a:buNone/>
              </a:pPr>
              <a:t>13.1</a:t>
            </a:fld>
            <a:endParaRPr lang="ja-JP" altLang="en-US" sz="800" dirty="0">
              <a:sym typeface="+mn-lt"/>
            </a:endParaRPr>
          </a:p>
        </p:txBody>
      </p:sp>
      <p:sp>
        <p:nvSpPr>
          <p:cNvPr id="227" name="テキスト プレースホルダ 9">
            <a:extLst>
              <a:ext uri="{FF2B5EF4-FFF2-40B4-BE49-F238E27FC236}">
                <a16:creationId xmlns:a16="http://schemas.microsoft.com/office/drawing/2014/main" id="{1E33F01F-92E6-5ED7-0156-8D4EAD29B29F}"/>
              </a:ext>
            </a:extLst>
          </p:cNvPr>
          <p:cNvSpPr>
            <a:spLocks noGrp="1"/>
          </p:cNvSpPr>
          <p:nvPr>
            <p:custDataLst>
              <p:tags r:id="rId75"/>
            </p:custDataLst>
          </p:nvPr>
        </p:nvSpPr>
        <p:spPr bwMode="gray">
          <a:xfrm>
            <a:off x="4241800" y="30718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30CA7E-9D7E-4340-B663-99E2FA1BA937}" type="datetime'11''''''''''''''''''.''0'''''''''''''''">
              <a:rPr lang="ja-JP" altLang="en-US" sz="800" smtClean="0">
                <a:effectLst/>
                <a:sym typeface="+mn-lt"/>
              </a:rPr>
              <a:pPr marL="0" lvl="0" indent="0" algn="ctr">
                <a:spcBef>
                  <a:spcPct val="0"/>
                </a:spcBef>
                <a:buNone/>
              </a:pPr>
              <a:t>11.0</a:t>
            </a:fld>
            <a:endParaRPr lang="ja-JP" altLang="en-US" sz="800" dirty="0">
              <a:sym typeface="+mn-lt"/>
            </a:endParaRPr>
          </a:p>
        </p:txBody>
      </p:sp>
      <p:sp>
        <p:nvSpPr>
          <p:cNvPr id="228" name="テキスト プレースホルダ 9">
            <a:extLst>
              <a:ext uri="{FF2B5EF4-FFF2-40B4-BE49-F238E27FC236}">
                <a16:creationId xmlns:a16="http://schemas.microsoft.com/office/drawing/2014/main" id="{3AA0018C-0393-AA89-AC1C-C2D3B45C2574}"/>
              </a:ext>
            </a:extLst>
          </p:cNvPr>
          <p:cNvSpPr>
            <a:spLocks noGrp="1"/>
          </p:cNvSpPr>
          <p:nvPr>
            <p:custDataLst>
              <p:tags r:id="rId76"/>
            </p:custDataLst>
          </p:nvPr>
        </p:nvSpPr>
        <p:spPr bwMode="gray">
          <a:xfrm>
            <a:off x="4241800" y="34290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C8BF8-7D84-474C-BE97-57F88152CBB5}" type="datetime'1''''3''.''''''''''''''''''9'">
              <a:rPr lang="ja-JP" altLang="en-US" sz="800" smtClean="0">
                <a:effectLst/>
                <a:sym typeface="+mn-lt"/>
              </a:rPr>
              <a:pPr marL="0" lvl="0" indent="0" algn="ctr">
                <a:spcBef>
                  <a:spcPct val="0"/>
                </a:spcBef>
                <a:buNone/>
              </a:pPr>
              <a:t>13.9</a:t>
            </a:fld>
            <a:endParaRPr lang="ja-JP" altLang="en-US" sz="800" dirty="0">
              <a:sym typeface="+mn-lt"/>
            </a:endParaRPr>
          </a:p>
        </p:txBody>
      </p:sp>
      <p:sp>
        <p:nvSpPr>
          <p:cNvPr id="229" name="テキスト プレースホルダ 9">
            <a:extLst>
              <a:ext uri="{FF2B5EF4-FFF2-40B4-BE49-F238E27FC236}">
                <a16:creationId xmlns:a16="http://schemas.microsoft.com/office/drawing/2014/main" id="{F99E1BE2-8C0C-7AE2-9EC0-9E2C69318545}"/>
              </a:ext>
            </a:extLst>
          </p:cNvPr>
          <p:cNvSpPr>
            <a:spLocks noGrp="1"/>
          </p:cNvSpPr>
          <p:nvPr>
            <p:custDataLst>
              <p:tags r:id="rId77"/>
            </p:custDataLst>
          </p:nvPr>
        </p:nvSpPr>
        <p:spPr bwMode="gray">
          <a:xfrm>
            <a:off x="4559300" y="30527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D3E70E-B83C-4D5E-864E-DEFB0B06F00D}" type="datetime'1''''''''''''''1''''''''''.''''''''''''5'''''''''''''''''">
              <a:rPr lang="ja-JP" altLang="en-US" sz="800" smtClean="0">
                <a:effectLst/>
                <a:sym typeface="+mn-lt"/>
              </a:rPr>
              <a:pPr marL="0" lvl="0" indent="0" algn="ctr">
                <a:spcBef>
                  <a:spcPct val="0"/>
                </a:spcBef>
                <a:buNone/>
              </a:pPr>
              <a:t>11.5</a:t>
            </a:fld>
            <a:endParaRPr lang="ja-JP" altLang="en-US" sz="800" dirty="0">
              <a:sym typeface="+mn-lt"/>
            </a:endParaRPr>
          </a:p>
        </p:txBody>
      </p:sp>
      <p:sp>
        <p:nvSpPr>
          <p:cNvPr id="230" name="テキスト プレースホルダ 9">
            <a:extLst>
              <a:ext uri="{FF2B5EF4-FFF2-40B4-BE49-F238E27FC236}">
                <a16:creationId xmlns:a16="http://schemas.microsoft.com/office/drawing/2014/main" id="{E91F4E82-1A58-07CC-5FD7-0753A9E567C9}"/>
              </a:ext>
            </a:extLst>
          </p:cNvPr>
          <p:cNvSpPr>
            <a:spLocks noGrp="1"/>
          </p:cNvSpPr>
          <p:nvPr>
            <p:custDataLst>
              <p:tags r:id="rId78"/>
            </p:custDataLst>
          </p:nvPr>
        </p:nvSpPr>
        <p:spPr bwMode="gray">
          <a:xfrm>
            <a:off x="4559300" y="342265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976BD-0884-4858-AE02-B7720EE26C2A}" type="datetime'''1''''''''''''''''''''''''''''4''''''''''''''.3'''''''">
              <a:rPr lang="ja-JP" altLang="en-US" sz="800" smtClean="0">
                <a:effectLst/>
                <a:sym typeface="+mn-lt"/>
              </a:rPr>
              <a:pPr marL="0" lvl="0" indent="0" algn="ctr">
                <a:spcBef>
                  <a:spcPct val="0"/>
                </a:spcBef>
                <a:buNone/>
              </a:pPr>
              <a:t>14.3</a:t>
            </a:fld>
            <a:endParaRPr lang="ja-JP" altLang="en-US" sz="800" dirty="0">
              <a:sym typeface="+mn-lt"/>
            </a:endParaRPr>
          </a:p>
        </p:txBody>
      </p:sp>
      <p:sp>
        <p:nvSpPr>
          <p:cNvPr id="231" name="テキスト プレースホルダ 9">
            <a:extLst>
              <a:ext uri="{FF2B5EF4-FFF2-40B4-BE49-F238E27FC236}">
                <a16:creationId xmlns:a16="http://schemas.microsoft.com/office/drawing/2014/main" id="{C8C03751-1DEC-F82E-EE65-C22275A2B396}"/>
              </a:ext>
            </a:extLst>
          </p:cNvPr>
          <p:cNvSpPr>
            <a:spLocks noGrp="1"/>
          </p:cNvSpPr>
          <p:nvPr>
            <p:custDataLst>
              <p:tags r:id="rId79"/>
            </p:custDataLst>
          </p:nvPr>
        </p:nvSpPr>
        <p:spPr bwMode="gray">
          <a:xfrm>
            <a:off x="4876800" y="30337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D32D10-6ABB-45B7-9ACD-3C5296A0E4DE}"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32" name="テキスト プレースホルダ 9">
            <a:extLst>
              <a:ext uri="{FF2B5EF4-FFF2-40B4-BE49-F238E27FC236}">
                <a16:creationId xmlns:a16="http://schemas.microsoft.com/office/drawing/2014/main" id="{7CEE4F98-B2E2-B660-16A3-CAF8BC3F3017}"/>
              </a:ext>
            </a:extLst>
          </p:cNvPr>
          <p:cNvSpPr>
            <a:spLocks noGrp="1"/>
          </p:cNvSpPr>
          <p:nvPr>
            <p:custDataLst>
              <p:tags r:id="rId80"/>
            </p:custDataLst>
          </p:nvPr>
        </p:nvSpPr>
        <p:spPr bwMode="gray">
          <a:xfrm>
            <a:off x="4876800" y="34178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EA4654-DF02-46DB-A5B2-10092395CF08}" type="datetime'''1''''''''''4''.''''''''''''''''''''''''''''7'''''''''''''''">
              <a:rPr lang="ja-JP" altLang="en-US" sz="800" smtClean="0">
                <a:effectLst/>
                <a:sym typeface="+mn-lt"/>
              </a:rPr>
              <a:pPr marL="0" lvl="0" indent="0" algn="ctr">
                <a:spcBef>
                  <a:spcPct val="0"/>
                </a:spcBef>
                <a:buNone/>
              </a:pPr>
              <a:t>14.7</a:t>
            </a:fld>
            <a:endParaRPr lang="ja-JP" altLang="en-US" sz="800" dirty="0">
              <a:sym typeface="+mn-lt"/>
            </a:endParaRPr>
          </a:p>
        </p:txBody>
      </p:sp>
      <p:sp>
        <p:nvSpPr>
          <p:cNvPr id="235" name="テキスト プレースホルダ 9">
            <a:extLst>
              <a:ext uri="{FF2B5EF4-FFF2-40B4-BE49-F238E27FC236}">
                <a16:creationId xmlns:a16="http://schemas.microsoft.com/office/drawing/2014/main" id="{DE3F9034-5B9A-2CC5-72AD-7ABEFA3A8BA8}"/>
              </a:ext>
            </a:extLst>
          </p:cNvPr>
          <p:cNvSpPr>
            <a:spLocks noGrp="1"/>
          </p:cNvSpPr>
          <p:nvPr>
            <p:custDataLst>
              <p:tags r:id="rId81"/>
            </p:custDataLst>
          </p:nvPr>
        </p:nvSpPr>
        <p:spPr bwMode="gray">
          <a:xfrm>
            <a:off x="5194300" y="3005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F3B82C-F7B4-448A-A421-479BD8D21A22}"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36" name="テキスト プレースホルダ 9">
            <a:extLst>
              <a:ext uri="{FF2B5EF4-FFF2-40B4-BE49-F238E27FC236}">
                <a16:creationId xmlns:a16="http://schemas.microsoft.com/office/drawing/2014/main" id="{351D422E-63D8-2BA7-4FEE-A5DC061940A0}"/>
              </a:ext>
            </a:extLst>
          </p:cNvPr>
          <p:cNvSpPr>
            <a:spLocks noGrp="1"/>
          </p:cNvSpPr>
          <p:nvPr>
            <p:custDataLst>
              <p:tags r:id="rId82"/>
            </p:custDataLst>
          </p:nvPr>
        </p:nvSpPr>
        <p:spPr bwMode="gray">
          <a:xfrm>
            <a:off x="5194300" y="34036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C9D8C-6040-4EEE-8420-7C6977F2B60B}" type="datetime'''1''''''''''5''''''''''''''''''''''.''7'''''''">
              <a:rPr lang="ja-JP" altLang="en-US" sz="800" smtClean="0">
                <a:effectLst/>
                <a:sym typeface="+mn-lt"/>
              </a:rPr>
              <a:pPr marL="0" lvl="0" indent="0" algn="ctr">
                <a:spcBef>
                  <a:spcPct val="0"/>
                </a:spcBef>
                <a:buNone/>
              </a:pPr>
              <a:t>15.7</a:t>
            </a:fld>
            <a:endParaRPr lang="ja-JP" altLang="en-US" sz="800" dirty="0">
              <a:sym typeface="+mn-lt"/>
            </a:endParaRPr>
          </a:p>
        </p:txBody>
      </p:sp>
      <p:sp>
        <p:nvSpPr>
          <p:cNvPr id="237" name="テキスト プレースホルダ 9">
            <a:extLst>
              <a:ext uri="{FF2B5EF4-FFF2-40B4-BE49-F238E27FC236}">
                <a16:creationId xmlns:a16="http://schemas.microsoft.com/office/drawing/2014/main" id="{787BFE49-8E81-F3BB-22E6-5959BDFE6FA5}"/>
              </a:ext>
            </a:extLst>
          </p:cNvPr>
          <p:cNvSpPr>
            <a:spLocks noGrp="1"/>
          </p:cNvSpPr>
          <p:nvPr>
            <p:custDataLst>
              <p:tags r:id="rId83"/>
            </p:custDataLst>
          </p:nvPr>
        </p:nvSpPr>
        <p:spPr bwMode="gray">
          <a:xfrm>
            <a:off x="5511800" y="29749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7A2D00-59B9-49A5-85A7-C49CD14E9044}"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38" name="テキスト プレースホルダ 9">
            <a:extLst>
              <a:ext uri="{FF2B5EF4-FFF2-40B4-BE49-F238E27FC236}">
                <a16:creationId xmlns:a16="http://schemas.microsoft.com/office/drawing/2014/main" id="{33D16346-A59A-B104-0C0D-2C0C541A0D8D}"/>
              </a:ext>
            </a:extLst>
          </p:cNvPr>
          <p:cNvSpPr>
            <a:spLocks noGrp="1"/>
          </p:cNvSpPr>
          <p:nvPr>
            <p:custDataLst>
              <p:tags r:id="rId84"/>
            </p:custDataLst>
          </p:nvPr>
        </p:nvSpPr>
        <p:spPr bwMode="gray">
          <a:xfrm>
            <a:off x="5511800" y="338931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2EB4AE-5D96-496F-BF23-F641CBA526BA}" type="datetime'''''''''''1''''''''''''''''''''''''''6''''.''''''''7'''">
              <a:rPr lang="ja-JP" altLang="en-US" sz="800" smtClean="0">
                <a:effectLst/>
                <a:sym typeface="+mn-lt"/>
              </a:rPr>
              <a:pPr marL="0" lvl="0" indent="0" algn="ctr">
                <a:spcBef>
                  <a:spcPct val="0"/>
                </a:spcBef>
                <a:buNone/>
              </a:pPr>
              <a:t>16.7</a:t>
            </a:fld>
            <a:endParaRPr lang="ja-JP" altLang="en-US" sz="800" dirty="0">
              <a:sym typeface="+mn-lt"/>
            </a:endParaRPr>
          </a:p>
        </p:txBody>
      </p:sp>
      <p:sp>
        <p:nvSpPr>
          <p:cNvPr id="239" name="テキスト プレースホルダ 9">
            <a:extLst>
              <a:ext uri="{FF2B5EF4-FFF2-40B4-BE49-F238E27FC236}">
                <a16:creationId xmlns:a16="http://schemas.microsoft.com/office/drawing/2014/main" id="{55CB82ED-EA49-5336-8357-F4FB2CDE91BD}"/>
              </a:ext>
            </a:extLst>
          </p:cNvPr>
          <p:cNvSpPr>
            <a:spLocks noGrp="1"/>
          </p:cNvSpPr>
          <p:nvPr>
            <p:custDataLst>
              <p:tags r:id="rId85"/>
            </p:custDataLst>
          </p:nvPr>
        </p:nvSpPr>
        <p:spPr bwMode="gray">
          <a:xfrm>
            <a:off x="5829300" y="29718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8BEFA8-AB74-424E-82D3-9F86477BC49F}" type="datetime'1''''''''''2''''''''''''''''''''''''''''.''''''''''''''2'''">
              <a:rPr lang="ja-JP" altLang="en-US" sz="800" smtClean="0">
                <a:effectLst/>
                <a:sym typeface="+mn-lt"/>
              </a:rPr>
              <a:pPr marL="0" lvl="0" indent="0" algn="ctr">
                <a:spcBef>
                  <a:spcPct val="0"/>
                </a:spcBef>
                <a:buNone/>
              </a:pPr>
              <a:t>12.2</a:t>
            </a:fld>
            <a:endParaRPr lang="ja-JP" altLang="en-US" sz="800" dirty="0">
              <a:sym typeface="+mn-lt"/>
            </a:endParaRPr>
          </a:p>
        </p:txBody>
      </p:sp>
      <p:sp>
        <p:nvSpPr>
          <p:cNvPr id="240" name="テキスト プレースホルダ 9">
            <a:extLst>
              <a:ext uri="{FF2B5EF4-FFF2-40B4-BE49-F238E27FC236}">
                <a16:creationId xmlns:a16="http://schemas.microsoft.com/office/drawing/2014/main" id="{A068F675-731C-AA3D-D9D1-413E90E5656C}"/>
              </a:ext>
            </a:extLst>
          </p:cNvPr>
          <p:cNvSpPr>
            <a:spLocks noGrp="1"/>
          </p:cNvSpPr>
          <p:nvPr>
            <p:custDataLst>
              <p:tags r:id="rId86"/>
            </p:custDataLst>
          </p:nvPr>
        </p:nvSpPr>
        <p:spPr bwMode="gray">
          <a:xfrm>
            <a:off x="5829300" y="338772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EF1BD7-633F-46C2-92C9-C2E95B9EBB76}" type="datetime'''1''6''''''''''''.''''''''''''''''''''''''''7'''''''''''''''">
              <a:rPr lang="ja-JP" altLang="en-US" sz="800" smtClean="0">
                <a:effectLst/>
                <a:sym typeface="+mn-lt"/>
              </a:rPr>
              <a:pPr marL="0" lvl="0" indent="0" algn="ctr">
                <a:spcBef>
                  <a:spcPct val="0"/>
                </a:spcBef>
                <a:buNone/>
              </a:pPr>
              <a:t>16.7</a:t>
            </a:fld>
            <a:endParaRPr lang="ja-JP" altLang="en-US" sz="800" dirty="0">
              <a:sym typeface="+mn-lt"/>
            </a:endParaRPr>
          </a:p>
        </p:txBody>
      </p:sp>
      <p:sp>
        <p:nvSpPr>
          <p:cNvPr id="241" name="テキスト プレースホルダ 9">
            <a:extLst>
              <a:ext uri="{FF2B5EF4-FFF2-40B4-BE49-F238E27FC236}">
                <a16:creationId xmlns:a16="http://schemas.microsoft.com/office/drawing/2014/main" id="{4B849065-FBA0-5F94-085A-7CBCEBE0B971}"/>
              </a:ext>
            </a:extLst>
          </p:cNvPr>
          <p:cNvSpPr>
            <a:spLocks noGrp="1"/>
          </p:cNvSpPr>
          <p:nvPr>
            <p:custDataLst>
              <p:tags r:id="rId87"/>
            </p:custDataLst>
          </p:nvPr>
        </p:nvSpPr>
        <p:spPr bwMode="gray">
          <a:xfrm>
            <a:off x="6146800" y="29670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699B1B-2B53-4518-BC48-E9592927DC63}" type="datetime'''''''''''''''''''''''''1''''''''''2''.''''''''3'''''''''''''">
              <a:rPr lang="ja-JP" altLang="en-US" sz="800" smtClean="0">
                <a:effectLst/>
                <a:sym typeface="+mn-lt"/>
              </a:rPr>
              <a:pPr marL="0" lvl="0" indent="0" algn="ctr">
                <a:spcBef>
                  <a:spcPct val="0"/>
                </a:spcBef>
                <a:buNone/>
              </a:pPr>
              <a:t>12.3</a:t>
            </a:fld>
            <a:endParaRPr lang="ja-JP" altLang="en-US" sz="800" dirty="0">
              <a:sym typeface="+mn-lt"/>
            </a:endParaRPr>
          </a:p>
        </p:txBody>
      </p:sp>
      <p:sp>
        <p:nvSpPr>
          <p:cNvPr id="242" name="テキスト プレースホルダ 9">
            <a:extLst>
              <a:ext uri="{FF2B5EF4-FFF2-40B4-BE49-F238E27FC236}">
                <a16:creationId xmlns:a16="http://schemas.microsoft.com/office/drawing/2014/main" id="{2A55D062-21D0-77AC-5DF0-7335527AAEF6}"/>
              </a:ext>
            </a:extLst>
          </p:cNvPr>
          <p:cNvSpPr>
            <a:spLocks noGrp="1"/>
          </p:cNvSpPr>
          <p:nvPr>
            <p:custDataLst>
              <p:tags r:id="rId88"/>
            </p:custDataLst>
          </p:nvPr>
        </p:nvSpPr>
        <p:spPr bwMode="gray">
          <a:xfrm>
            <a:off x="6146800" y="33861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4C4D27-DD87-4014-9436-12924C5D82E2}"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243" name="テキスト プレースホルダ 9">
            <a:extLst>
              <a:ext uri="{FF2B5EF4-FFF2-40B4-BE49-F238E27FC236}">
                <a16:creationId xmlns:a16="http://schemas.microsoft.com/office/drawing/2014/main" id="{6B97E9E4-A886-0875-C548-EE4FD363765D}"/>
              </a:ext>
            </a:extLst>
          </p:cNvPr>
          <p:cNvSpPr>
            <a:spLocks noGrp="1"/>
          </p:cNvSpPr>
          <p:nvPr>
            <p:custDataLst>
              <p:tags r:id="rId89"/>
            </p:custDataLst>
          </p:nvPr>
        </p:nvSpPr>
        <p:spPr bwMode="gray">
          <a:xfrm>
            <a:off x="6464300" y="29479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BCF498-1467-4AE5-9B7F-0DDF4286A519}" type="datetime'''''''1''''''2''''''''''''''''''''''''.''''''7'''''''''''''">
              <a:rPr lang="ja-JP" altLang="en-US" sz="800" smtClean="0">
                <a:effectLst/>
                <a:sym typeface="+mn-lt"/>
              </a:rPr>
              <a:pPr marL="0" lvl="0" indent="0" algn="ctr">
                <a:spcBef>
                  <a:spcPct val="0"/>
                </a:spcBef>
                <a:buNone/>
              </a:pPr>
              <a:t>12.7</a:t>
            </a:fld>
            <a:endParaRPr lang="ja-JP" altLang="en-US" sz="800" dirty="0">
              <a:sym typeface="+mn-lt"/>
            </a:endParaRPr>
          </a:p>
        </p:txBody>
      </p:sp>
      <p:sp>
        <p:nvSpPr>
          <p:cNvPr id="244" name="テキスト プレースホルダ 9">
            <a:extLst>
              <a:ext uri="{FF2B5EF4-FFF2-40B4-BE49-F238E27FC236}">
                <a16:creationId xmlns:a16="http://schemas.microsoft.com/office/drawing/2014/main" id="{498EDAC4-71CD-48A5-F82B-866A1DF7756C}"/>
              </a:ext>
            </a:extLst>
          </p:cNvPr>
          <p:cNvSpPr>
            <a:spLocks noGrp="1"/>
          </p:cNvSpPr>
          <p:nvPr>
            <p:custDataLst>
              <p:tags r:id="rId90"/>
            </p:custDataLst>
          </p:nvPr>
        </p:nvSpPr>
        <p:spPr bwMode="gray">
          <a:xfrm>
            <a:off x="6464300" y="33797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82E4DC-3657-493D-9405-80C8B4E29C41}" type="datetime'1''''''7''''''.''3'''''''''''''''''''">
              <a:rPr lang="ja-JP" altLang="en-US" sz="800" smtClean="0">
                <a:effectLst/>
                <a:sym typeface="+mn-lt"/>
              </a:rPr>
              <a:pPr marL="0" lvl="0" indent="0" algn="ctr">
                <a:spcBef>
                  <a:spcPct val="0"/>
                </a:spcBef>
                <a:buNone/>
              </a:pPr>
              <a:t>17.3</a:t>
            </a:fld>
            <a:endParaRPr lang="ja-JP" altLang="en-US" sz="800" dirty="0">
              <a:sym typeface="+mn-lt"/>
            </a:endParaRPr>
          </a:p>
        </p:txBody>
      </p:sp>
      <p:sp>
        <p:nvSpPr>
          <p:cNvPr id="245" name="テキスト プレースホルダ 9">
            <a:extLst>
              <a:ext uri="{FF2B5EF4-FFF2-40B4-BE49-F238E27FC236}">
                <a16:creationId xmlns:a16="http://schemas.microsoft.com/office/drawing/2014/main" id="{E6857976-9EAB-244A-6D47-12EB39958CB3}"/>
              </a:ext>
            </a:extLst>
          </p:cNvPr>
          <p:cNvSpPr>
            <a:spLocks noGrp="1"/>
          </p:cNvSpPr>
          <p:nvPr>
            <p:custDataLst>
              <p:tags r:id="rId91"/>
            </p:custDataLst>
          </p:nvPr>
        </p:nvSpPr>
        <p:spPr bwMode="gray">
          <a:xfrm>
            <a:off x="6781800" y="29273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55D0B-F3B4-4D82-8139-463945251880}" type="datetime'''''''''''''''1''''''''''''''''''''''''''''''''2''.6'''''''''">
              <a:rPr lang="ja-JP" altLang="en-US" sz="800" smtClean="0">
                <a:effectLst/>
                <a:sym typeface="+mn-lt"/>
              </a:rPr>
              <a:pPr marL="0" lvl="0" indent="0" algn="ctr">
                <a:spcBef>
                  <a:spcPct val="0"/>
                </a:spcBef>
                <a:buNone/>
              </a:pPr>
              <a:t>12.6</a:t>
            </a:fld>
            <a:endParaRPr lang="ja-JP" altLang="en-US" sz="800" dirty="0">
              <a:sym typeface="+mn-lt"/>
            </a:endParaRPr>
          </a:p>
        </p:txBody>
      </p:sp>
      <p:sp>
        <p:nvSpPr>
          <p:cNvPr id="246" name="テキスト プレースホルダ 9">
            <a:extLst>
              <a:ext uri="{FF2B5EF4-FFF2-40B4-BE49-F238E27FC236}">
                <a16:creationId xmlns:a16="http://schemas.microsoft.com/office/drawing/2014/main" id="{04A28BFB-E22A-CF28-6187-B157AD32030F}"/>
              </a:ext>
            </a:extLst>
          </p:cNvPr>
          <p:cNvSpPr>
            <a:spLocks noGrp="1"/>
          </p:cNvSpPr>
          <p:nvPr>
            <p:custDataLst>
              <p:tags r:id="rId92"/>
            </p:custDataLst>
          </p:nvPr>
        </p:nvSpPr>
        <p:spPr bwMode="gray">
          <a:xfrm>
            <a:off x="6781800" y="33686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07D182-4749-47AA-9555-5056127108A5}" type="datetime'1''''''''''''''8''''''''''''''.''''''''''''''''''1'''''''''">
              <a:rPr lang="ja-JP" altLang="en-US" sz="800" smtClean="0">
                <a:effectLst/>
                <a:sym typeface="+mn-lt"/>
              </a:rPr>
              <a:pPr marL="0" lvl="0" indent="0" algn="ctr">
                <a:spcBef>
                  <a:spcPct val="0"/>
                </a:spcBef>
                <a:buNone/>
              </a:pPr>
              <a:t>18.1</a:t>
            </a:fld>
            <a:endParaRPr lang="ja-JP" altLang="en-US" sz="800" dirty="0">
              <a:sym typeface="+mn-lt"/>
            </a:endParaRPr>
          </a:p>
        </p:txBody>
      </p:sp>
      <p:sp>
        <p:nvSpPr>
          <p:cNvPr id="247" name="テキスト プレースホルダ 9">
            <a:extLst>
              <a:ext uri="{FF2B5EF4-FFF2-40B4-BE49-F238E27FC236}">
                <a16:creationId xmlns:a16="http://schemas.microsoft.com/office/drawing/2014/main" id="{42AF492B-8127-A8C7-118E-A70660BEE8B4}"/>
              </a:ext>
            </a:extLst>
          </p:cNvPr>
          <p:cNvSpPr>
            <a:spLocks noGrp="1"/>
          </p:cNvSpPr>
          <p:nvPr>
            <p:custDataLst>
              <p:tags r:id="rId93"/>
            </p:custDataLst>
          </p:nvPr>
        </p:nvSpPr>
        <p:spPr bwMode="gray">
          <a:xfrm>
            <a:off x="7099300" y="28813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EC9E46-6DFE-4241-B9B7-A99659C22041}" type="datetime'''''1''''''''''0.7'''''''''">
              <a:rPr lang="ja-JP" altLang="en-US" sz="800" smtClean="0">
                <a:effectLst/>
                <a:sym typeface="+mn-lt"/>
              </a:rPr>
              <a:pPr marL="0" lvl="0" indent="0" algn="ctr">
                <a:spcBef>
                  <a:spcPct val="0"/>
                </a:spcBef>
                <a:buNone/>
              </a:pPr>
              <a:t>10.7</a:t>
            </a:fld>
            <a:endParaRPr lang="ja-JP" altLang="en-US" sz="800" dirty="0">
              <a:sym typeface="+mn-lt"/>
            </a:endParaRPr>
          </a:p>
        </p:txBody>
      </p:sp>
      <p:sp>
        <p:nvSpPr>
          <p:cNvPr id="248" name="テキスト プレースホルダ 9">
            <a:extLst>
              <a:ext uri="{FF2B5EF4-FFF2-40B4-BE49-F238E27FC236}">
                <a16:creationId xmlns:a16="http://schemas.microsoft.com/office/drawing/2014/main" id="{30B81D72-284B-FCC0-5FD9-C0C92EF4C3E2}"/>
              </a:ext>
            </a:extLst>
          </p:cNvPr>
          <p:cNvSpPr>
            <a:spLocks noGrp="1"/>
          </p:cNvSpPr>
          <p:nvPr>
            <p:custDataLst>
              <p:tags r:id="rId94"/>
            </p:custDataLst>
          </p:nvPr>
        </p:nvSpPr>
        <p:spPr bwMode="gray">
          <a:xfrm>
            <a:off x="7099300" y="33321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0702AE-A7D9-4B32-936A-EA8FAC4AD0F3}" type="datetime'''''2''''''''''''''''0''''''.''''''''''''7'''''''''''">
              <a:rPr lang="ja-JP" altLang="en-US" sz="800" smtClean="0">
                <a:effectLst/>
                <a:sym typeface="+mn-lt"/>
              </a:rPr>
              <a:pPr marL="0" lvl="0" indent="0" algn="ctr">
                <a:spcBef>
                  <a:spcPct val="0"/>
                </a:spcBef>
                <a:buNone/>
              </a:pPr>
              <a:t>20.7</a:t>
            </a:fld>
            <a:endParaRPr lang="ja-JP" altLang="en-US" sz="800" dirty="0">
              <a:sym typeface="+mn-lt"/>
            </a:endParaRPr>
          </a:p>
        </p:txBody>
      </p:sp>
      <p:sp>
        <p:nvSpPr>
          <p:cNvPr id="249" name="テキスト プレースホルダ 9">
            <a:extLst>
              <a:ext uri="{FF2B5EF4-FFF2-40B4-BE49-F238E27FC236}">
                <a16:creationId xmlns:a16="http://schemas.microsoft.com/office/drawing/2014/main" id="{828029E9-B9A2-B8B4-C65D-FA0EF7007B2A}"/>
              </a:ext>
            </a:extLst>
          </p:cNvPr>
          <p:cNvSpPr>
            <a:spLocks noGrp="1"/>
          </p:cNvSpPr>
          <p:nvPr>
            <p:custDataLst>
              <p:tags r:id="rId95"/>
            </p:custDataLst>
          </p:nvPr>
        </p:nvSpPr>
        <p:spPr bwMode="gray">
          <a:xfrm>
            <a:off x="7416800" y="28797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408E38-F60E-43F2-8B10-05B65D445C1B}" type="datetime'''''''''''''''''''''''''1''''''''''''''1.''3'''''''">
              <a:rPr lang="ja-JP" altLang="en-US" sz="800" smtClean="0">
                <a:effectLst/>
                <a:sym typeface="+mn-lt"/>
              </a:rPr>
              <a:pPr marL="0" lvl="0" indent="0" algn="ctr">
                <a:spcBef>
                  <a:spcPct val="0"/>
                </a:spcBef>
                <a:buNone/>
              </a:pPr>
              <a:t>11.3</a:t>
            </a:fld>
            <a:endParaRPr lang="ja-JP" altLang="en-US" sz="800" dirty="0">
              <a:sym typeface="+mn-lt"/>
            </a:endParaRPr>
          </a:p>
        </p:txBody>
      </p:sp>
      <p:sp>
        <p:nvSpPr>
          <p:cNvPr id="250" name="テキスト プレースホルダ 9">
            <a:extLst>
              <a:ext uri="{FF2B5EF4-FFF2-40B4-BE49-F238E27FC236}">
                <a16:creationId xmlns:a16="http://schemas.microsoft.com/office/drawing/2014/main" id="{49651CD1-9BB5-5B2B-B01B-3A921E277373}"/>
              </a:ext>
            </a:extLst>
          </p:cNvPr>
          <p:cNvSpPr>
            <a:spLocks noGrp="1"/>
          </p:cNvSpPr>
          <p:nvPr>
            <p:custDataLst>
              <p:tags r:id="rId96"/>
            </p:custDataLst>
          </p:nvPr>
        </p:nvSpPr>
        <p:spPr bwMode="gray">
          <a:xfrm>
            <a:off x="7416800" y="33353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AE095-7864-4DC1-B5AB-2AB0E7EE0D27}" type="datetime'''''''''''''''''''''''''2''''''''''0''''''''''''''''''.4'''">
              <a:rPr lang="ja-JP" altLang="en-US" sz="800" smtClean="0">
                <a:effectLst/>
                <a:sym typeface="+mn-lt"/>
              </a:rPr>
              <a:pPr marL="0" lvl="0" indent="0" algn="ctr">
                <a:spcBef>
                  <a:spcPct val="0"/>
                </a:spcBef>
                <a:buNone/>
              </a:pPr>
              <a:t>20.4</a:t>
            </a:fld>
            <a:endParaRPr lang="ja-JP" altLang="en-US" sz="800" dirty="0">
              <a:sym typeface="+mn-lt"/>
            </a:endParaRPr>
          </a:p>
        </p:txBody>
      </p:sp>
      <p:sp>
        <p:nvSpPr>
          <p:cNvPr id="251" name="テキスト プレースホルダ 9">
            <a:extLst>
              <a:ext uri="{FF2B5EF4-FFF2-40B4-BE49-F238E27FC236}">
                <a16:creationId xmlns:a16="http://schemas.microsoft.com/office/drawing/2014/main" id="{A209F647-23F4-5C76-89FB-CBCBDC2AA203}"/>
              </a:ext>
            </a:extLst>
          </p:cNvPr>
          <p:cNvSpPr>
            <a:spLocks noGrp="1"/>
          </p:cNvSpPr>
          <p:nvPr>
            <p:custDataLst>
              <p:tags r:id="rId97"/>
            </p:custDataLst>
          </p:nvPr>
        </p:nvSpPr>
        <p:spPr bwMode="gray">
          <a:xfrm>
            <a:off x="7734300" y="28702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584FD-74D1-4AFA-8D29-A93855523FE6}"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52" name="テキスト プレースホルダ 9">
            <a:extLst>
              <a:ext uri="{FF2B5EF4-FFF2-40B4-BE49-F238E27FC236}">
                <a16:creationId xmlns:a16="http://schemas.microsoft.com/office/drawing/2014/main" id="{03F79764-FE43-32D9-84D5-16372BF29B43}"/>
              </a:ext>
            </a:extLst>
          </p:cNvPr>
          <p:cNvSpPr>
            <a:spLocks noGrp="1"/>
          </p:cNvSpPr>
          <p:nvPr>
            <p:custDataLst>
              <p:tags r:id="rId98"/>
            </p:custDataLst>
          </p:nvPr>
        </p:nvSpPr>
        <p:spPr bwMode="gray">
          <a:xfrm>
            <a:off x="7734300" y="333692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D1FEB2-68CC-4CA0-8CB8-0C4A62830D43}" type="datetime'''''''2''''''0''.''''''4'''''''''''''''''''''">
              <a:rPr lang="ja-JP" altLang="en-US" sz="800" smtClean="0">
                <a:effectLst/>
                <a:sym typeface="+mn-lt"/>
              </a:rPr>
              <a:pPr marL="0" lvl="0" indent="0" algn="ctr">
                <a:spcBef>
                  <a:spcPct val="0"/>
                </a:spcBef>
                <a:buNone/>
              </a:pPr>
              <a:t>20.4</a:t>
            </a:fld>
            <a:endParaRPr lang="ja-JP" altLang="en-US" sz="800" dirty="0">
              <a:sym typeface="+mn-lt"/>
            </a:endParaRPr>
          </a:p>
        </p:txBody>
      </p:sp>
      <p:sp>
        <p:nvSpPr>
          <p:cNvPr id="253" name="テキスト プレースホルダ 9">
            <a:extLst>
              <a:ext uri="{FF2B5EF4-FFF2-40B4-BE49-F238E27FC236}">
                <a16:creationId xmlns:a16="http://schemas.microsoft.com/office/drawing/2014/main" id="{E60B13F4-BFDE-2717-0F1B-A296BCFAA284}"/>
              </a:ext>
            </a:extLst>
          </p:cNvPr>
          <p:cNvSpPr>
            <a:spLocks noGrp="1"/>
          </p:cNvSpPr>
          <p:nvPr>
            <p:custDataLst>
              <p:tags r:id="rId99"/>
            </p:custDataLst>
          </p:nvPr>
        </p:nvSpPr>
        <p:spPr bwMode="gray">
          <a:xfrm>
            <a:off x="8051800" y="28511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B826C1-D35B-41A7-A127-A1B025799B91}" type="datetime'''''''''''''''''''''''''1''''''''''''''''''2.''''''''3'''''''">
              <a:rPr lang="ja-JP" altLang="en-US" sz="800" smtClean="0">
                <a:effectLst/>
                <a:sym typeface="+mn-lt"/>
              </a:rPr>
              <a:pPr marL="0" lvl="0" indent="0" algn="ctr">
                <a:spcBef>
                  <a:spcPct val="0"/>
                </a:spcBef>
                <a:buNone/>
              </a:pPr>
              <a:t>12.3</a:t>
            </a:fld>
            <a:endParaRPr lang="ja-JP" altLang="en-US" sz="800" dirty="0">
              <a:sym typeface="+mn-lt"/>
            </a:endParaRPr>
          </a:p>
        </p:txBody>
      </p:sp>
      <p:sp>
        <p:nvSpPr>
          <p:cNvPr id="254" name="テキスト プレースホルダ 9">
            <a:extLst>
              <a:ext uri="{FF2B5EF4-FFF2-40B4-BE49-F238E27FC236}">
                <a16:creationId xmlns:a16="http://schemas.microsoft.com/office/drawing/2014/main" id="{66719FF0-7F46-E597-98B8-A9020C928290}"/>
              </a:ext>
            </a:extLst>
          </p:cNvPr>
          <p:cNvSpPr>
            <a:spLocks noGrp="1"/>
          </p:cNvSpPr>
          <p:nvPr>
            <p:custDataLst>
              <p:tags r:id="rId100"/>
            </p:custDataLst>
          </p:nvPr>
        </p:nvSpPr>
        <p:spPr bwMode="gray">
          <a:xfrm>
            <a:off x="8051800" y="33289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B092BD-9259-4063-A4CB-855486675F09}" type="datetime'''''''''''''''2''0''.''''9'''''''''''''''''''''''''''''">
              <a:rPr lang="ja-JP" altLang="en-US" sz="800" smtClean="0">
                <a:effectLst/>
                <a:sym typeface="+mn-lt"/>
              </a:rPr>
              <a:pPr marL="0" lvl="0" indent="0" algn="ctr">
                <a:spcBef>
                  <a:spcPct val="0"/>
                </a:spcBef>
                <a:buNone/>
              </a:pPr>
              <a:t>20.9</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ED5D8F03-9546-5C39-D246-5A241D82F1C9}"/>
              </a:ext>
            </a:extLst>
          </p:cNvPr>
          <p:cNvSpPr>
            <a:spLocks noGrp="1"/>
          </p:cNvSpPr>
          <p:nvPr>
            <p:custDataLst>
              <p:tags r:id="rId101"/>
            </p:custDataLst>
          </p:nvPr>
        </p:nvSpPr>
        <p:spPr bwMode="gray">
          <a:xfrm>
            <a:off x="747713" y="3054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054092-E884-4411-8454-3C77966842DD}"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220C7BE8-8FFD-3878-06DE-32527E4174A8}"/>
              </a:ext>
            </a:extLst>
          </p:cNvPr>
          <p:cNvSpPr>
            <a:spLocks noGrp="1"/>
          </p:cNvSpPr>
          <p:nvPr>
            <p:custDataLst>
              <p:tags r:id="rId102"/>
            </p:custDataLst>
          </p:nvPr>
        </p:nvSpPr>
        <p:spPr bwMode="gray">
          <a:xfrm>
            <a:off x="1065213" y="305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EBDD6-034D-4165-ACEB-91018A1EFC5C}"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15" name="テキスト プレースホルダ 9">
            <a:extLst>
              <a:ext uri="{FF2B5EF4-FFF2-40B4-BE49-F238E27FC236}">
                <a16:creationId xmlns:a16="http://schemas.microsoft.com/office/drawing/2014/main" id="{81DA7B2C-6102-B59E-7419-6EB81591A9BB}"/>
              </a:ext>
            </a:extLst>
          </p:cNvPr>
          <p:cNvSpPr>
            <a:spLocks noGrp="1"/>
          </p:cNvSpPr>
          <p:nvPr>
            <p:custDataLst>
              <p:tags r:id="rId103"/>
            </p:custDataLst>
          </p:nvPr>
        </p:nvSpPr>
        <p:spPr bwMode="gray">
          <a:xfrm>
            <a:off x="1382713" y="30702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E44B70-FEDA-404E-839D-3D64C314444D}" type="datetime'1''''''''''''''''''''''''''6''''''.''''''''''4'''''''''''''">
              <a:rPr lang="ja-JP" altLang="en-US" sz="800" smtClean="0">
                <a:effectLst/>
                <a:sym typeface="+mn-lt"/>
              </a:rPr>
              <a:pPr marL="0" lvl="0" indent="0" algn="ctr">
                <a:spcBef>
                  <a:spcPct val="0"/>
                </a:spcBef>
                <a:buNone/>
              </a:pPr>
              <a:t>16.4</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C3AD7DDC-245B-ACFC-6B54-08B20719588F}"/>
              </a:ext>
            </a:extLst>
          </p:cNvPr>
          <p:cNvSpPr>
            <a:spLocks noGrp="1"/>
          </p:cNvSpPr>
          <p:nvPr>
            <p:custDataLst>
              <p:tags r:id="rId104"/>
            </p:custDataLst>
          </p:nvPr>
        </p:nvSpPr>
        <p:spPr bwMode="gray">
          <a:xfrm>
            <a:off x="1700213" y="3054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F4F2BB-A814-4079-B3F1-7493E4E14785}"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182AC816-B16E-BC5D-EBF6-A4EA34148B59}"/>
              </a:ext>
            </a:extLst>
          </p:cNvPr>
          <p:cNvSpPr>
            <a:spLocks noGrp="1"/>
          </p:cNvSpPr>
          <p:nvPr>
            <p:custDataLst>
              <p:tags r:id="rId105"/>
            </p:custDataLst>
          </p:nvPr>
        </p:nvSpPr>
        <p:spPr bwMode="gray">
          <a:xfrm>
            <a:off x="2017713" y="3040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082434-93C0-4B1D-893F-A354C52AE2D9}" type="datetime'''''''''''1''''''''''''''''''''7''''''''''''''.''''5'''''">
              <a:rPr lang="ja-JP" altLang="en-US" sz="800" smtClean="0">
                <a:effectLst/>
                <a:sym typeface="+mn-lt"/>
              </a:rPr>
              <a:pPr marL="0" lvl="0" indent="0" algn="ctr">
                <a:spcBef>
                  <a:spcPct val="0"/>
                </a:spcBef>
                <a:buNone/>
              </a:pPr>
              <a:t>17.5</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0D304904-A9B8-5FBA-F179-AB522A86434A}"/>
              </a:ext>
            </a:extLst>
          </p:cNvPr>
          <p:cNvSpPr>
            <a:spLocks noGrp="1"/>
          </p:cNvSpPr>
          <p:nvPr>
            <p:custDataLst>
              <p:tags r:id="rId106"/>
            </p:custDataLst>
          </p:nvPr>
        </p:nvSpPr>
        <p:spPr bwMode="gray">
          <a:xfrm>
            <a:off x="2335213" y="3054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756B8B-2C5F-4D9E-8246-0C8F6BA6C40E}" type="datetime'''''''''''''''''1''''''''''''''''7''''''''''.''0'''''''''''">
              <a:rPr lang="ja-JP" altLang="en-US" sz="800" smtClean="0">
                <a:effectLst/>
                <a:sym typeface="+mn-lt"/>
              </a:rPr>
              <a:pPr marL="0" lvl="0" indent="0" algn="ctr">
                <a:spcBef>
                  <a:spcPct val="0"/>
                </a:spcBef>
                <a:buNone/>
              </a:pPr>
              <a:t>17.0</a:t>
            </a:fld>
            <a:endParaRPr lang="ja-JP" altLang="en-US" sz="800" dirty="0">
              <a:sym typeface="+mn-lt"/>
            </a:endParaRPr>
          </a:p>
        </p:txBody>
      </p:sp>
      <p:sp>
        <p:nvSpPr>
          <p:cNvPr id="20" name="テキスト プレースホルダ 9">
            <a:extLst>
              <a:ext uri="{FF2B5EF4-FFF2-40B4-BE49-F238E27FC236}">
                <a16:creationId xmlns:a16="http://schemas.microsoft.com/office/drawing/2014/main" id="{36FC3A7F-A1B3-0FB6-8805-98F769FAD55F}"/>
              </a:ext>
            </a:extLst>
          </p:cNvPr>
          <p:cNvSpPr>
            <a:spLocks noGrp="1"/>
          </p:cNvSpPr>
          <p:nvPr>
            <p:custDataLst>
              <p:tags r:id="rId107"/>
            </p:custDataLst>
          </p:nvPr>
        </p:nvSpPr>
        <p:spPr bwMode="gray">
          <a:xfrm>
            <a:off x="2652713" y="2994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5D6951-A24B-4F71-80E0-D609CE076EAB}" type="datetime'''''''''''''19''''''''''''.''''''''''1'''''''''''''''''''">
              <a:rPr lang="ja-JP" altLang="en-US" sz="800" smtClean="0">
                <a:effectLst/>
                <a:sym typeface="+mn-lt"/>
              </a:rPr>
              <a:pPr marL="0" lvl="0" indent="0" algn="ctr">
                <a:spcBef>
                  <a:spcPct val="0"/>
                </a:spcBef>
                <a:buNone/>
              </a:pPr>
              <a:t>19.1</a:t>
            </a:fld>
            <a:endParaRPr lang="ja-JP" altLang="en-US" sz="800" dirty="0">
              <a:sym typeface="+mn-lt"/>
            </a:endParaRPr>
          </a:p>
        </p:txBody>
      </p:sp>
      <p:sp>
        <p:nvSpPr>
          <p:cNvPr id="21" name="テキスト プレースホルダ 9">
            <a:extLst>
              <a:ext uri="{FF2B5EF4-FFF2-40B4-BE49-F238E27FC236}">
                <a16:creationId xmlns:a16="http://schemas.microsoft.com/office/drawing/2014/main" id="{811D7D0F-2FBE-340C-4A85-7A3E98D3C95F}"/>
              </a:ext>
            </a:extLst>
          </p:cNvPr>
          <p:cNvSpPr>
            <a:spLocks noGrp="1"/>
          </p:cNvSpPr>
          <p:nvPr>
            <p:custDataLst>
              <p:tags r:id="rId108"/>
            </p:custDataLst>
          </p:nvPr>
        </p:nvSpPr>
        <p:spPr bwMode="gray">
          <a:xfrm>
            <a:off x="2970213" y="29686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3DFA54-C9FD-4047-8B4B-4D15B6EBA125}" type="datetime'''''''''''''2''''''''0''''''''''''''''.''''''0'">
              <a:rPr lang="ja-JP" altLang="en-US" sz="800" smtClean="0">
                <a:effectLst/>
                <a:sym typeface="+mn-lt"/>
              </a:rPr>
              <a:pPr marL="0" lvl="0" indent="0" algn="ctr">
                <a:spcBef>
                  <a:spcPct val="0"/>
                </a:spcBef>
                <a:buNone/>
              </a:pPr>
              <a:t>20.0</a:t>
            </a:fld>
            <a:endParaRPr lang="ja-JP" altLang="en-US" sz="800" dirty="0">
              <a:sym typeface="+mn-lt"/>
            </a:endParaRPr>
          </a:p>
        </p:txBody>
      </p:sp>
      <p:sp>
        <p:nvSpPr>
          <p:cNvPr id="22" name="テキスト プレースホルダ 9">
            <a:extLst>
              <a:ext uri="{FF2B5EF4-FFF2-40B4-BE49-F238E27FC236}">
                <a16:creationId xmlns:a16="http://schemas.microsoft.com/office/drawing/2014/main" id="{677EA06C-7719-5EDD-36EA-E5DBEF3A32FD}"/>
              </a:ext>
            </a:extLst>
          </p:cNvPr>
          <p:cNvSpPr>
            <a:spLocks noGrp="1"/>
          </p:cNvSpPr>
          <p:nvPr>
            <p:custDataLst>
              <p:tags r:id="rId109"/>
            </p:custDataLst>
          </p:nvPr>
        </p:nvSpPr>
        <p:spPr bwMode="gray">
          <a:xfrm>
            <a:off x="3287713" y="29337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566B47-B2C3-4F54-B2FC-7F04EC446A6F}" type="datetime'''''''''''''2''''''''''''''''''''''''''''''''1.''2'''''''''">
              <a:rPr lang="ja-JP" altLang="en-US" sz="800" smtClean="0">
                <a:effectLst/>
                <a:sym typeface="+mn-lt"/>
              </a:rPr>
              <a:pPr marL="0" lvl="0" indent="0" algn="ctr">
                <a:spcBef>
                  <a:spcPct val="0"/>
                </a:spcBef>
                <a:buNone/>
              </a:pPr>
              <a:t>21.2</a:t>
            </a:fld>
            <a:endParaRPr lang="ja-JP" altLang="en-US" sz="800" dirty="0">
              <a:sym typeface="+mn-lt"/>
            </a:endParaRPr>
          </a:p>
        </p:txBody>
      </p:sp>
      <p:sp>
        <p:nvSpPr>
          <p:cNvPr id="23" name="テキスト プレースホルダ 9">
            <a:extLst>
              <a:ext uri="{FF2B5EF4-FFF2-40B4-BE49-F238E27FC236}">
                <a16:creationId xmlns:a16="http://schemas.microsoft.com/office/drawing/2014/main" id="{3D5532EB-D928-AEAE-939D-C3CD44135673}"/>
              </a:ext>
            </a:extLst>
          </p:cNvPr>
          <p:cNvSpPr>
            <a:spLocks noGrp="1"/>
          </p:cNvSpPr>
          <p:nvPr>
            <p:custDataLst>
              <p:tags r:id="rId110"/>
            </p:custDataLst>
          </p:nvPr>
        </p:nvSpPr>
        <p:spPr bwMode="gray">
          <a:xfrm>
            <a:off x="3605213" y="29019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BAA35C-341A-4011-B50F-9467399B71E2}" type="datetime'2''''''''''''2''''.''''''''''''''''3'''''''''">
              <a:rPr lang="ja-JP" altLang="en-US" sz="800" smtClean="0">
                <a:effectLst/>
                <a:sym typeface="+mn-lt"/>
              </a:rPr>
              <a:pPr marL="0" lvl="0" indent="0" algn="ctr">
                <a:spcBef>
                  <a:spcPct val="0"/>
                </a:spcBef>
                <a:buNone/>
              </a:pPr>
              <a:t>22.3</a:t>
            </a:fld>
            <a:endParaRPr lang="ja-JP" altLang="en-US" sz="800" dirty="0">
              <a:sym typeface="+mn-lt"/>
            </a:endParaRPr>
          </a:p>
        </p:txBody>
      </p:sp>
      <p:sp>
        <p:nvSpPr>
          <p:cNvPr id="24" name="テキスト プレースホルダ 9">
            <a:extLst>
              <a:ext uri="{FF2B5EF4-FFF2-40B4-BE49-F238E27FC236}">
                <a16:creationId xmlns:a16="http://schemas.microsoft.com/office/drawing/2014/main" id="{1320DC79-8EB8-E37E-3AB1-471F96F77DBE}"/>
              </a:ext>
            </a:extLst>
          </p:cNvPr>
          <p:cNvSpPr>
            <a:spLocks noGrp="1"/>
          </p:cNvSpPr>
          <p:nvPr>
            <p:custDataLst>
              <p:tags r:id="rId111"/>
            </p:custDataLst>
          </p:nvPr>
        </p:nvSpPr>
        <p:spPr bwMode="gray">
          <a:xfrm>
            <a:off x="3922713" y="2867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95CE93-013C-4DAA-A264-82F3A9840160}" type="datetime'2''''''''''3''.''''''''''''''5'''''''''''''''''''''''''''">
              <a:rPr lang="ja-JP" altLang="en-US" sz="800" smtClean="0">
                <a:effectLst/>
                <a:sym typeface="+mn-lt"/>
              </a:rPr>
              <a:pPr marL="0" lvl="0" indent="0" algn="ctr">
                <a:spcBef>
                  <a:spcPct val="0"/>
                </a:spcBef>
                <a:buNone/>
              </a:pPr>
              <a:t>23.5</a:t>
            </a:fld>
            <a:endParaRPr lang="ja-JP" altLang="en-US" sz="800" dirty="0">
              <a:sym typeface="+mn-lt"/>
            </a:endParaRPr>
          </a:p>
        </p:txBody>
      </p:sp>
      <p:sp>
        <p:nvSpPr>
          <p:cNvPr id="25" name="テキスト プレースホルダ 9">
            <a:extLst>
              <a:ext uri="{FF2B5EF4-FFF2-40B4-BE49-F238E27FC236}">
                <a16:creationId xmlns:a16="http://schemas.microsoft.com/office/drawing/2014/main" id="{1C26D934-F2BC-4640-DEFA-22071AA7BF61}"/>
              </a:ext>
            </a:extLst>
          </p:cNvPr>
          <p:cNvSpPr>
            <a:spLocks noGrp="1"/>
          </p:cNvSpPr>
          <p:nvPr>
            <p:custDataLst>
              <p:tags r:id="rId112"/>
            </p:custDataLst>
          </p:nvPr>
        </p:nvSpPr>
        <p:spPr bwMode="gray">
          <a:xfrm>
            <a:off x="4241800" y="28273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7EEF9D-882B-4A0B-981D-22EA71E1AC14}" type="datetime'24''''''''''''''''''''''''''''''''''''.''''''9'''''''''">
              <a:rPr lang="ja-JP" altLang="en-US" sz="800" smtClean="0">
                <a:effectLst/>
                <a:sym typeface="+mn-lt"/>
              </a:rPr>
              <a:pPr marL="0" lvl="0" indent="0" algn="ctr">
                <a:spcBef>
                  <a:spcPct val="0"/>
                </a:spcBef>
                <a:buNone/>
              </a:pPr>
              <a:t>24.9</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C225930E-104B-A5D4-18D4-82372FE290BC}"/>
              </a:ext>
            </a:extLst>
          </p:cNvPr>
          <p:cNvSpPr>
            <a:spLocks noGrp="1"/>
          </p:cNvSpPr>
          <p:nvPr>
            <p:custDataLst>
              <p:tags r:id="rId113"/>
            </p:custDataLst>
          </p:nvPr>
        </p:nvSpPr>
        <p:spPr bwMode="gray">
          <a:xfrm>
            <a:off x="4559300" y="2800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56A405-ED2D-45C0-AB03-C3BC61A11A75}" type="datetime'''''''''''2''''5''''''''''.''''''''''''''''8'''''''''''">
              <a:rPr lang="ja-JP" altLang="en-US" sz="800" smtClean="0">
                <a:effectLst/>
                <a:sym typeface="+mn-lt"/>
              </a:rPr>
              <a:pPr marL="0" lvl="0" indent="0" algn="ctr">
                <a:spcBef>
                  <a:spcPct val="0"/>
                </a:spcBef>
                <a:buNone/>
              </a:pPr>
              <a:t>25.8</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0BC21C4A-3CA1-EAFC-42C4-16EFADC5E307}"/>
              </a:ext>
            </a:extLst>
          </p:cNvPr>
          <p:cNvSpPr>
            <a:spLocks noGrp="1"/>
          </p:cNvSpPr>
          <p:nvPr>
            <p:custDataLst>
              <p:tags r:id="rId114"/>
            </p:custDataLst>
          </p:nvPr>
        </p:nvSpPr>
        <p:spPr bwMode="gray">
          <a:xfrm>
            <a:off x="4876800" y="27733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F538E4-1DFB-41C3-A2B2-8D6ABB282896}" type="datetime'''''''2''''''''''6.''7'''''''''''''''''''''">
              <a:rPr lang="ja-JP" altLang="en-US" sz="800" smtClean="0">
                <a:effectLst/>
                <a:sym typeface="+mn-lt"/>
              </a:rPr>
              <a:pPr marL="0" lvl="0" indent="0" algn="ctr">
                <a:spcBef>
                  <a:spcPct val="0"/>
                </a:spcBef>
                <a:buNone/>
              </a:pPr>
              <a:t>26.7</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07855CA8-9B15-A50C-4C65-C6C607DA2951}"/>
              </a:ext>
            </a:extLst>
          </p:cNvPr>
          <p:cNvSpPr>
            <a:spLocks noGrp="1"/>
          </p:cNvSpPr>
          <p:nvPr>
            <p:custDataLst>
              <p:tags r:id="rId115"/>
            </p:custDataLst>
          </p:nvPr>
        </p:nvSpPr>
        <p:spPr bwMode="gray">
          <a:xfrm>
            <a:off x="5194300" y="27447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71EDD-3C20-48E8-B564-3CD5A712BA1B}" type="datetime'''''''''''''''''27.''''''''''''''''7'''''''''''">
              <a:rPr lang="ja-JP" altLang="en-US" sz="800" smtClean="0">
                <a:effectLst/>
                <a:sym typeface="+mn-lt"/>
              </a:rPr>
              <a:pPr marL="0" lvl="0" indent="0" algn="ctr">
                <a:spcBef>
                  <a:spcPct val="0"/>
                </a:spcBef>
                <a:buNone/>
              </a:pPr>
              <a:t>27.7</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B068E0C0-E69F-89AC-AED7-DFA9CEE06C67}"/>
              </a:ext>
            </a:extLst>
          </p:cNvPr>
          <p:cNvSpPr>
            <a:spLocks noGrp="1"/>
          </p:cNvSpPr>
          <p:nvPr>
            <p:custDataLst>
              <p:tags r:id="rId116"/>
            </p:custDataLst>
          </p:nvPr>
        </p:nvSpPr>
        <p:spPr bwMode="gray">
          <a:xfrm>
            <a:off x="5511800" y="27146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205E77-41A1-40F6-B9A8-9AA2B9315B20}" type="datetime'''2''8''''''''''.''8'">
              <a:rPr lang="ja-JP" altLang="en-US" sz="800" smtClean="0">
                <a:effectLst/>
                <a:sym typeface="+mn-lt"/>
              </a:rPr>
              <a:pPr marL="0" lvl="0" indent="0" algn="ctr">
                <a:spcBef>
                  <a:spcPct val="0"/>
                </a:spcBef>
                <a:buNone/>
              </a:pPr>
              <a:t>28.8</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3407C6A7-215F-B692-4568-367EC3EE7D9F}"/>
              </a:ext>
            </a:extLst>
          </p:cNvPr>
          <p:cNvSpPr>
            <a:spLocks noGrp="1"/>
          </p:cNvSpPr>
          <p:nvPr>
            <p:custDataLst>
              <p:tags r:id="rId117"/>
            </p:custDataLst>
          </p:nvPr>
        </p:nvSpPr>
        <p:spPr bwMode="gray">
          <a:xfrm>
            <a:off x="5829300" y="2709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84ABD2-6172-4BB3-BE74-A7F65FE345BA}" type="datetime'''''''2''''''''''''8''''''''''''.''''''''''9'''''''">
              <a:rPr lang="ja-JP" altLang="en-US" sz="800" smtClean="0">
                <a:effectLst/>
                <a:sym typeface="+mn-lt"/>
              </a:rPr>
              <a:pPr marL="0" lvl="0" indent="0" algn="ctr">
                <a:spcBef>
                  <a:spcPct val="0"/>
                </a:spcBef>
                <a:buNone/>
              </a:pPr>
              <a:t>28.9</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8C39A260-A213-056B-5C85-2C8531A7F64A}"/>
              </a:ext>
            </a:extLst>
          </p:cNvPr>
          <p:cNvSpPr>
            <a:spLocks noGrp="1"/>
          </p:cNvSpPr>
          <p:nvPr>
            <p:custDataLst>
              <p:tags r:id="rId118"/>
            </p:custDataLst>
          </p:nvPr>
        </p:nvSpPr>
        <p:spPr bwMode="gray">
          <a:xfrm>
            <a:off x="6146800" y="27035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5D81BC-5D1A-4EF3-8ACA-95D6F20139BF}" type="datetime'''''''''''''2''''''9''''.''''''''2'''">
              <a:rPr lang="ja-JP" altLang="en-US" sz="800" smtClean="0">
                <a:effectLst/>
                <a:sym typeface="+mn-lt"/>
              </a:rPr>
              <a:pPr marL="0" lvl="0" indent="0" algn="ctr">
                <a:spcBef>
                  <a:spcPct val="0"/>
                </a:spcBef>
                <a:buNone/>
              </a:pPr>
              <a:t>29.2</a:t>
            </a:fld>
            <a:endParaRPr lang="ja-JP" altLang="en-US" sz="800" dirty="0">
              <a:sym typeface="+mn-lt"/>
            </a:endParaRPr>
          </a:p>
        </p:txBody>
      </p:sp>
      <p:sp>
        <p:nvSpPr>
          <p:cNvPr id="37" name="テキスト プレースホルダ 9">
            <a:extLst>
              <a:ext uri="{FF2B5EF4-FFF2-40B4-BE49-F238E27FC236}">
                <a16:creationId xmlns:a16="http://schemas.microsoft.com/office/drawing/2014/main" id="{EB6B0409-8938-9F38-2F4D-3AE7F8C5127B}"/>
              </a:ext>
            </a:extLst>
          </p:cNvPr>
          <p:cNvSpPr>
            <a:spLocks noGrp="1"/>
          </p:cNvSpPr>
          <p:nvPr>
            <p:custDataLst>
              <p:tags r:id="rId119"/>
            </p:custDataLst>
          </p:nvPr>
        </p:nvSpPr>
        <p:spPr bwMode="gray">
          <a:xfrm>
            <a:off x="6464300" y="26797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2678D-7B83-42AC-804D-1301ADCF059E}" type="datetime'''3''''''0''''''''''''''''''''''''''''.''''0'''''">
              <a:rPr lang="ja-JP" altLang="en-US" sz="800" smtClean="0">
                <a:effectLst/>
                <a:sym typeface="+mn-lt"/>
              </a:rPr>
              <a:pPr marL="0" lvl="0" indent="0" algn="ctr">
                <a:spcBef>
                  <a:spcPct val="0"/>
                </a:spcBef>
                <a:buNone/>
              </a:pPr>
              <a:t>30.0</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916CACB3-B088-3386-64E7-A2FDE9491B9E}"/>
              </a:ext>
            </a:extLst>
          </p:cNvPr>
          <p:cNvSpPr>
            <a:spLocks noGrp="1"/>
          </p:cNvSpPr>
          <p:nvPr>
            <p:custDataLst>
              <p:tags r:id="rId120"/>
            </p:custDataLst>
          </p:nvPr>
        </p:nvSpPr>
        <p:spPr bwMode="gray">
          <a:xfrm>
            <a:off x="6781800" y="2659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3C3150-5308-4FBE-9364-62C70A82942F}" type="datetime'''''''''''3''''''''''''''''''0.''''''''''7'">
              <a:rPr lang="ja-JP" altLang="en-US" sz="800" smtClean="0">
                <a:effectLst/>
                <a:sym typeface="+mn-lt"/>
              </a:rPr>
              <a:pPr marL="0" lvl="0" indent="0" algn="ctr">
                <a:spcBef>
                  <a:spcPct val="0"/>
                </a:spcBef>
                <a:buNone/>
              </a:pPr>
              <a:t>30.7</a:t>
            </a:fld>
            <a:endParaRPr lang="ja-JP" altLang="en-US" sz="800" dirty="0">
              <a:sym typeface="+mn-lt"/>
            </a:endParaRPr>
          </a:p>
        </p:txBody>
      </p:sp>
      <p:sp>
        <p:nvSpPr>
          <p:cNvPr id="39" name="テキスト プレースホルダ 9">
            <a:extLst>
              <a:ext uri="{FF2B5EF4-FFF2-40B4-BE49-F238E27FC236}">
                <a16:creationId xmlns:a16="http://schemas.microsoft.com/office/drawing/2014/main" id="{0835C5C7-CCE7-BBBA-0067-2352EDE2954C}"/>
              </a:ext>
            </a:extLst>
          </p:cNvPr>
          <p:cNvSpPr>
            <a:spLocks noGrp="1"/>
          </p:cNvSpPr>
          <p:nvPr>
            <p:custDataLst>
              <p:tags r:id="rId121"/>
            </p:custDataLst>
          </p:nvPr>
        </p:nvSpPr>
        <p:spPr bwMode="gray">
          <a:xfrm>
            <a:off x="7099300" y="26416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95FAA6-766D-4C9A-AD68-52CE361A1A51}" type="datetime'''''''''''''''3''''''''1''''''''''''.''''''''''''''''''3'''">
              <a:rPr lang="ja-JP" altLang="en-US" sz="800" smtClean="0">
                <a:effectLst/>
                <a:sym typeface="+mn-lt"/>
              </a:rPr>
              <a:pPr marL="0" lvl="0" indent="0" algn="ctr">
                <a:spcBef>
                  <a:spcPct val="0"/>
                </a:spcBef>
                <a:buNone/>
              </a:pPr>
              <a:t>31.3</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402CDFCC-CE79-843D-6053-83D1CA223D61}"/>
              </a:ext>
            </a:extLst>
          </p:cNvPr>
          <p:cNvSpPr>
            <a:spLocks noGrp="1"/>
          </p:cNvSpPr>
          <p:nvPr>
            <p:custDataLst>
              <p:tags r:id="rId122"/>
            </p:custDataLst>
          </p:nvPr>
        </p:nvSpPr>
        <p:spPr bwMode="gray">
          <a:xfrm>
            <a:off x="7416800" y="26304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7E5813-A412-47BD-96CB-DB724DFEEF9D}" type="datetime'''''''''3''''''''1''.''''''''''''''''''''''''7'">
              <a:rPr lang="ja-JP" altLang="en-US" sz="800" smtClean="0">
                <a:effectLst/>
                <a:sym typeface="+mn-lt"/>
              </a:rPr>
              <a:pPr marL="0" lvl="0" indent="0" algn="ctr">
                <a:spcBef>
                  <a:spcPct val="0"/>
                </a:spcBef>
                <a:buNone/>
              </a:pPr>
              <a:t>31.7</a:t>
            </a:fld>
            <a:endParaRPr lang="ja-JP" altLang="en-US" sz="800" dirty="0">
              <a:sym typeface="+mn-lt"/>
            </a:endParaRPr>
          </a:p>
        </p:txBody>
      </p:sp>
      <p:sp>
        <p:nvSpPr>
          <p:cNvPr id="41" name="テキスト プレースホルダ 9">
            <a:extLst>
              <a:ext uri="{FF2B5EF4-FFF2-40B4-BE49-F238E27FC236}">
                <a16:creationId xmlns:a16="http://schemas.microsoft.com/office/drawing/2014/main" id="{A6F365A9-4FB1-6E62-DFDC-DFCBA283429D}"/>
              </a:ext>
            </a:extLst>
          </p:cNvPr>
          <p:cNvSpPr>
            <a:spLocks noGrp="1"/>
          </p:cNvSpPr>
          <p:nvPr>
            <p:custDataLst>
              <p:tags r:id="rId123"/>
            </p:custDataLst>
          </p:nvPr>
        </p:nvSpPr>
        <p:spPr bwMode="gray">
          <a:xfrm>
            <a:off x="7734300" y="26098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E3FD43-9B78-43F3-8258-D517E3E5BBDB}" type="datetime'''3''''''''''''''''''''''2.''''''4'''''''''''''''''''''''''">
              <a:rPr lang="ja-JP" altLang="en-US" sz="800" smtClean="0">
                <a:effectLst/>
                <a:sym typeface="+mn-lt"/>
              </a:rPr>
              <a:pPr marL="0" lvl="0" indent="0" algn="ctr">
                <a:spcBef>
                  <a:spcPct val="0"/>
                </a:spcBef>
                <a:buNone/>
              </a:pPr>
              <a:t>32.4</a:t>
            </a:fld>
            <a:endParaRPr lang="ja-JP" altLang="en-US" sz="800" dirty="0">
              <a:sym typeface="+mn-lt"/>
            </a:endParaRPr>
          </a:p>
        </p:txBody>
      </p:sp>
      <p:sp>
        <p:nvSpPr>
          <p:cNvPr id="42" name="テキスト プレースホルダ 9">
            <a:extLst>
              <a:ext uri="{FF2B5EF4-FFF2-40B4-BE49-F238E27FC236}">
                <a16:creationId xmlns:a16="http://schemas.microsoft.com/office/drawing/2014/main" id="{A931261E-C4C6-DE2D-9B05-F79FCEB07A2C}"/>
              </a:ext>
            </a:extLst>
          </p:cNvPr>
          <p:cNvSpPr>
            <a:spLocks noGrp="1"/>
          </p:cNvSpPr>
          <p:nvPr>
            <p:custDataLst>
              <p:tags r:id="rId124"/>
            </p:custDataLst>
          </p:nvPr>
        </p:nvSpPr>
        <p:spPr bwMode="gray">
          <a:xfrm>
            <a:off x="8051800" y="25876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A889C-7E47-4033-A5CD-C4C05194DF7C}" type="datetime'''''''3''''''''''''3''''''''''''''.''2'''''''''''''''''''''">
              <a:rPr lang="ja-JP" altLang="en-US" sz="800" smtClean="0">
                <a:effectLst/>
                <a:sym typeface="+mn-lt"/>
              </a:rPr>
              <a:pPr marL="0" lvl="0" indent="0" algn="ctr">
                <a:spcBef>
                  <a:spcPct val="0"/>
                </a:spcBef>
                <a:buNone/>
              </a:pPr>
              <a:t>33.2</a:t>
            </a:fld>
            <a:endParaRPr lang="ja-JP" altLang="en-US" sz="800" dirty="0">
              <a:sym typeface="+mn-lt"/>
            </a:endParaRPr>
          </a:p>
        </p:txBody>
      </p:sp>
      <p:sp>
        <p:nvSpPr>
          <p:cNvPr id="45" name="テキスト プレースホルダ 9">
            <a:extLst>
              <a:ext uri="{FF2B5EF4-FFF2-40B4-BE49-F238E27FC236}">
                <a16:creationId xmlns:a16="http://schemas.microsoft.com/office/drawing/2014/main" id="{624DB1D8-C8C1-4D3D-0205-473FB1842611}"/>
              </a:ext>
            </a:extLst>
          </p:cNvPr>
          <p:cNvSpPr>
            <a:spLocks noGrp="1"/>
          </p:cNvSpPr>
          <p:nvPr>
            <p:custDataLst>
              <p:tags r:id="rId125"/>
            </p:custDataLst>
          </p:nvPr>
        </p:nvSpPr>
        <p:spPr bwMode="auto">
          <a:xfrm>
            <a:off x="715963" y="3775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52D72-456A-4130-B5D5-98529408F88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FDF50EE2-252E-D7FB-1906-FBFEFCEFEE32}"/>
              </a:ext>
            </a:extLst>
          </p:cNvPr>
          <p:cNvSpPr>
            <a:spLocks noGrp="1"/>
          </p:cNvSpPr>
          <p:nvPr>
            <p:custDataLst>
              <p:tags r:id="rId126"/>
            </p:custDataLst>
          </p:nvPr>
        </p:nvSpPr>
        <p:spPr bwMode="auto">
          <a:xfrm>
            <a:off x="1103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F770F-E655-4956-95E4-4AAC27481959}"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B305350F-CA34-7373-CB49-9112CFC3DC85}"/>
              </a:ext>
            </a:extLst>
          </p:cNvPr>
          <p:cNvSpPr>
            <a:spLocks noGrp="1"/>
          </p:cNvSpPr>
          <p:nvPr>
            <p:custDataLst>
              <p:tags r:id="rId127"/>
            </p:custDataLst>
          </p:nvPr>
        </p:nvSpPr>
        <p:spPr bwMode="auto">
          <a:xfrm>
            <a:off x="1420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F4034-5B8E-43FB-89DF-83A42DC30EED}"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03FDD74C-BAAD-4FD8-FF9A-99F003EEC203}"/>
              </a:ext>
            </a:extLst>
          </p:cNvPr>
          <p:cNvSpPr>
            <a:spLocks noGrp="1"/>
          </p:cNvSpPr>
          <p:nvPr>
            <p:custDataLst>
              <p:tags r:id="rId128"/>
            </p:custDataLst>
          </p:nvPr>
        </p:nvSpPr>
        <p:spPr bwMode="auto">
          <a:xfrm>
            <a:off x="1738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EF744-922B-45E5-8CE6-8482919A78BF}"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DE9E6427-582A-C025-4E1C-29305CE61E67}"/>
              </a:ext>
            </a:extLst>
          </p:cNvPr>
          <p:cNvSpPr>
            <a:spLocks noGrp="1"/>
          </p:cNvSpPr>
          <p:nvPr>
            <p:custDataLst>
              <p:tags r:id="rId129"/>
            </p:custDataLst>
          </p:nvPr>
        </p:nvSpPr>
        <p:spPr bwMode="gray">
          <a:xfrm>
            <a:off x="747713" y="32956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6CCA5F-06B7-4E86-993D-3ADBFAD28398}" type="datetime'''1''''''''''''''''''''0.''''''''7'''''''''''''''''">
              <a:rPr lang="ja-JP" altLang="en-US" sz="800" smtClean="0"/>
              <a:pPr/>
              <a:t>10.7</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8B1A3FCD-D9C0-BCEC-C758-3D7C93F3CA02}"/>
              </a:ext>
            </a:extLst>
          </p:cNvPr>
          <p:cNvSpPr>
            <a:spLocks noGrp="1"/>
          </p:cNvSpPr>
          <p:nvPr>
            <p:custDataLst>
              <p:tags r:id="rId130"/>
            </p:custDataLst>
          </p:nvPr>
        </p:nvSpPr>
        <p:spPr bwMode="auto">
          <a:xfrm>
            <a:off x="2373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B9894E-6D3E-4BBF-97EF-DDEC168CF28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B5BC436F-9410-0BD7-B010-A43BFADCAD2E}"/>
              </a:ext>
            </a:extLst>
          </p:cNvPr>
          <p:cNvSpPr>
            <a:spLocks noGrp="1"/>
          </p:cNvSpPr>
          <p:nvPr>
            <p:custDataLst>
              <p:tags r:id="rId131"/>
            </p:custDataLst>
          </p:nvPr>
        </p:nvSpPr>
        <p:spPr bwMode="auto">
          <a:xfrm>
            <a:off x="2690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7DC48-47AE-4A9C-B9CD-EEDBF7A6FFBB}"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DBF1D256-027B-FF85-F0B7-736D91589A09}"/>
              </a:ext>
            </a:extLst>
          </p:cNvPr>
          <p:cNvSpPr>
            <a:spLocks noGrp="1"/>
          </p:cNvSpPr>
          <p:nvPr>
            <p:custDataLst>
              <p:tags r:id="rId132"/>
            </p:custDataLst>
          </p:nvPr>
        </p:nvSpPr>
        <p:spPr bwMode="auto">
          <a:xfrm>
            <a:off x="3008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A94D68-C975-432B-AAFB-794A7613D66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53" name="テキスト プレースホルダ 9">
            <a:extLst>
              <a:ext uri="{FF2B5EF4-FFF2-40B4-BE49-F238E27FC236}">
                <a16:creationId xmlns:a16="http://schemas.microsoft.com/office/drawing/2014/main" id="{816E8D52-3709-3555-F812-6B3D95C7FEFE}"/>
              </a:ext>
            </a:extLst>
          </p:cNvPr>
          <p:cNvSpPr>
            <a:spLocks noGrp="1"/>
          </p:cNvSpPr>
          <p:nvPr>
            <p:custDataLst>
              <p:tags r:id="rId133"/>
            </p:custDataLst>
          </p:nvPr>
        </p:nvSpPr>
        <p:spPr bwMode="auto">
          <a:xfrm>
            <a:off x="3325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BB21E0-152E-49DF-B05B-6843B80D8075}"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1C268688-D81A-9AA9-4E6C-AA9DD2C5EC04}"/>
              </a:ext>
            </a:extLst>
          </p:cNvPr>
          <p:cNvSpPr>
            <a:spLocks noGrp="1"/>
          </p:cNvSpPr>
          <p:nvPr>
            <p:custDataLst>
              <p:tags r:id="rId134"/>
            </p:custDataLst>
          </p:nvPr>
        </p:nvSpPr>
        <p:spPr bwMode="auto">
          <a:xfrm>
            <a:off x="3643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3118EE-086B-4C49-8486-6FA9E2B818A1}"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CCBD0BB9-A78A-5131-F385-43F74C756F86}"/>
              </a:ext>
            </a:extLst>
          </p:cNvPr>
          <p:cNvSpPr>
            <a:spLocks noGrp="1"/>
          </p:cNvSpPr>
          <p:nvPr>
            <p:custDataLst>
              <p:tags r:id="rId135"/>
            </p:custDataLst>
          </p:nvPr>
        </p:nvSpPr>
        <p:spPr bwMode="auto">
          <a:xfrm>
            <a:off x="3960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13F6EB-C505-461B-96C3-5712FE0BD38A}"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B9FC139F-D990-4278-38E4-3F0AD1E5FA91}"/>
              </a:ext>
            </a:extLst>
          </p:cNvPr>
          <p:cNvSpPr>
            <a:spLocks noGrp="1"/>
          </p:cNvSpPr>
          <p:nvPr>
            <p:custDataLst>
              <p:tags r:id="rId136"/>
            </p:custDataLst>
          </p:nvPr>
        </p:nvSpPr>
        <p:spPr bwMode="auto">
          <a:xfrm>
            <a:off x="427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8FD542-27F8-43FF-8456-312788C0C33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A019C8E7-48E1-7D34-C36D-46D57E41543E}"/>
              </a:ext>
            </a:extLst>
          </p:cNvPr>
          <p:cNvSpPr>
            <a:spLocks noGrp="1"/>
          </p:cNvSpPr>
          <p:nvPr>
            <p:custDataLst>
              <p:tags r:id="rId137"/>
            </p:custDataLst>
          </p:nvPr>
        </p:nvSpPr>
        <p:spPr bwMode="auto">
          <a:xfrm>
            <a:off x="4597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C4E887-670A-45E4-AC3C-29860981DC2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1A0BBAD6-C596-D494-8447-3E41050FF574}"/>
              </a:ext>
            </a:extLst>
          </p:cNvPr>
          <p:cNvSpPr>
            <a:spLocks noGrp="1"/>
          </p:cNvSpPr>
          <p:nvPr>
            <p:custDataLst>
              <p:tags r:id="rId138"/>
            </p:custDataLst>
          </p:nvPr>
        </p:nvSpPr>
        <p:spPr bwMode="auto">
          <a:xfrm>
            <a:off x="4914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F2E42-EEBF-458E-9DE6-0CABF00B8BC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A1A64B94-F9CE-DA89-2449-B3B0A236A9E9}"/>
              </a:ext>
            </a:extLst>
          </p:cNvPr>
          <p:cNvSpPr>
            <a:spLocks noGrp="1"/>
          </p:cNvSpPr>
          <p:nvPr>
            <p:custDataLst>
              <p:tags r:id="rId139"/>
            </p:custDataLst>
          </p:nvPr>
        </p:nvSpPr>
        <p:spPr bwMode="auto">
          <a:xfrm>
            <a:off x="2055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894D37-4DE8-4436-960C-8E4BF0129BB5}"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FF5D9B4A-9C40-6554-A190-D8B47C99CD90}"/>
              </a:ext>
            </a:extLst>
          </p:cNvPr>
          <p:cNvSpPr>
            <a:spLocks noGrp="1"/>
          </p:cNvSpPr>
          <p:nvPr>
            <p:custDataLst>
              <p:tags r:id="rId140"/>
            </p:custDataLst>
          </p:nvPr>
        </p:nvSpPr>
        <p:spPr bwMode="auto">
          <a:xfrm>
            <a:off x="554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B4924C-2DD2-48AB-B3CF-AADAB164538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8857A9E9-2F37-2101-6E0E-70E86A3784C2}"/>
              </a:ext>
            </a:extLst>
          </p:cNvPr>
          <p:cNvSpPr>
            <a:spLocks noGrp="1"/>
          </p:cNvSpPr>
          <p:nvPr>
            <p:custDataLst>
              <p:tags r:id="rId141"/>
            </p:custDataLst>
          </p:nvPr>
        </p:nvSpPr>
        <p:spPr bwMode="auto">
          <a:xfrm>
            <a:off x="5867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62F0D8-9CB1-4093-BC3F-BAC251599BF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8FCF0999-79DF-F93D-1785-D418B24C0381}"/>
              </a:ext>
            </a:extLst>
          </p:cNvPr>
          <p:cNvSpPr>
            <a:spLocks noGrp="1"/>
          </p:cNvSpPr>
          <p:nvPr>
            <p:custDataLst>
              <p:tags r:id="rId142"/>
            </p:custDataLst>
          </p:nvPr>
        </p:nvSpPr>
        <p:spPr bwMode="auto">
          <a:xfrm>
            <a:off x="6184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79184-EAD6-4C67-81BB-01DF4E0B540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6A6B5BE8-CE68-7CF0-EB7D-252F9E8497E8}"/>
              </a:ext>
            </a:extLst>
          </p:cNvPr>
          <p:cNvSpPr>
            <a:spLocks noGrp="1"/>
          </p:cNvSpPr>
          <p:nvPr>
            <p:custDataLst>
              <p:tags r:id="rId143"/>
            </p:custDataLst>
          </p:nvPr>
        </p:nvSpPr>
        <p:spPr bwMode="auto">
          <a:xfrm>
            <a:off x="6502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BBB12B-6285-442F-8A1C-F4E8E2A27DE9}"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2FF4B904-1490-501F-FBFF-FA9DA0D06EEA}"/>
              </a:ext>
            </a:extLst>
          </p:cNvPr>
          <p:cNvSpPr>
            <a:spLocks noGrp="1"/>
          </p:cNvSpPr>
          <p:nvPr>
            <p:custDataLst>
              <p:tags r:id="rId144"/>
            </p:custDataLst>
          </p:nvPr>
        </p:nvSpPr>
        <p:spPr bwMode="auto">
          <a:xfrm>
            <a:off x="681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7929E-EA94-46FB-98FB-6B885442720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51" name="テキスト プレースホルダ 9">
            <a:extLst>
              <a:ext uri="{FF2B5EF4-FFF2-40B4-BE49-F238E27FC236}">
                <a16:creationId xmlns:a16="http://schemas.microsoft.com/office/drawing/2014/main" id="{E976A1B7-7BF5-0552-139A-D0AECD3835FB}"/>
              </a:ext>
            </a:extLst>
          </p:cNvPr>
          <p:cNvSpPr>
            <a:spLocks noGrp="1"/>
          </p:cNvSpPr>
          <p:nvPr>
            <p:custDataLst>
              <p:tags r:id="rId145"/>
            </p:custDataLst>
          </p:nvPr>
        </p:nvSpPr>
        <p:spPr bwMode="auto">
          <a:xfrm>
            <a:off x="7137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81837D-AD88-4EA7-BA5C-1276AD3E1B03}"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C54B2176-D5CF-046D-B322-EB9DB3ED5CE2}"/>
              </a:ext>
            </a:extLst>
          </p:cNvPr>
          <p:cNvSpPr>
            <a:spLocks noGrp="1"/>
          </p:cNvSpPr>
          <p:nvPr>
            <p:custDataLst>
              <p:tags r:id="rId146"/>
            </p:custDataLst>
          </p:nvPr>
        </p:nvSpPr>
        <p:spPr bwMode="auto">
          <a:xfrm>
            <a:off x="7454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97E3D6-EC36-42FE-8946-CBACB36A26D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53" name="テキスト プレースホルダ 9">
            <a:extLst>
              <a:ext uri="{FF2B5EF4-FFF2-40B4-BE49-F238E27FC236}">
                <a16:creationId xmlns:a16="http://schemas.microsoft.com/office/drawing/2014/main" id="{B2082005-A664-C16E-E830-ED51F56729F6}"/>
              </a:ext>
            </a:extLst>
          </p:cNvPr>
          <p:cNvSpPr>
            <a:spLocks noGrp="1"/>
          </p:cNvSpPr>
          <p:nvPr>
            <p:custDataLst>
              <p:tags r:id="rId147"/>
            </p:custDataLst>
          </p:nvPr>
        </p:nvSpPr>
        <p:spPr bwMode="auto">
          <a:xfrm>
            <a:off x="7772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1CCDE-4C7F-446C-8183-97004C0AC48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C54A6C91-0628-FFA9-64EC-E7A65DADC6B2}"/>
              </a:ext>
            </a:extLst>
          </p:cNvPr>
          <p:cNvSpPr>
            <a:spLocks noGrp="1"/>
          </p:cNvSpPr>
          <p:nvPr>
            <p:custDataLst>
              <p:tags r:id="rId148"/>
            </p:custDataLst>
          </p:nvPr>
        </p:nvSpPr>
        <p:spPr bwMode="auto">
          <a:xfrm>
            <a:off x="808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EFFED-180D-4CB2-955C-826B2EF67C2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8335AA5A-FEBE-3D8B-A0B8-48D8015112EB}"/>
              </a:ext>
            </a:extLst>
          </p:cNvPr>
          <p:cNvSpPr>
            <a:spLocks noGrp="1"/>
          </p:cNvSpPr>
          <p:nvPr>
            <p:custDataLst>
              <p:tags r:id="rId149"/>
            </p:custDataLst>
          </p:nvPr>
        </p:nvSpPr>
        <p:spPr bwMode="auto">
          <a:xfrm>
            <a:off x="5232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B72D30-3376-44A5-B24C-71C76EC3C8CB}"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Tree>
    <p:extLst>
      <p:ext uri="{BB962C8B-B14F-4D97-AF65-F5344CB8AC3E}">
        <p14:creationId xmlns:p14="http://schemas.microsoft.com/office/powerpoint/2010/main" val="7264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889940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 imgW="360" imgH="360" progId="TCLayout.ActiveDocument.1">
                  <p:embed/>
                </p:oleObj>
              </mc:Choice>
              <mc:Fallback>
                <p:oleObj name="think-cellスライド"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107" name="Chart 106">
            <a:extLst>
              <a:ext uri="{FF2B5EF4-FFF2-40B4-BE49-F238E27FC236}">
                <a16:creationId xmlns:a16="http://schemas.microsoft.com/office/drawing/2014/main" id="{EB2FC625-E809-49F5-B3B6-A1009398C04D}"/>
              </a:ext>
            </a:extLst>
          </p:cNvPr>
          <p:cNvGraphicFramePr/>
          <p:nvPr>
            <p:custDataLst>
              <p:tags r:id="rId3"/>
            </p:custData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2"/>
          </a:graphicData>
        </a:graphic>
      </p:graphicFrame>
      <p:sp>
        <p:nvSpPr>
          <p:cNvPr id="27" name="テキスト プレースホルダ 9"/>
          <p:cNvSpPr>
            <a:spLocks/>
          </p:cNvSpPr>
          <p:nvPr>
            <p:custDataLst>
              <p:tags r:id="rId4"/>
            </p:custDataLst>
          </p:nvPr>
        </p:nvSpPr>
        <p:spPr bwMode="auto">
          <a:xfrm>
            <a:off x="3379788" y="3729038"/>
            <a:ext cx="6842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mtClean="0"/>
              <a:pPr/>
              <a:t>感染症</a:t>
            </a:fld>
            <a:r>
              <a:rPr lang="en-US" altLang="ja-JP" baseline="30000" noProof="1"/>
              <a:t>1</a:t>
            </a:r>
            <a:endParaRPr kumimoji="0" lang="ja-JP" altLang="en-US" baseline="30000" dirty="0">
              <a:sym typeface="+mn-lt"/>
            </a:endParaRPr>
          </a:p>
        </p:txBody>
      </p:sp>
      <p:sp>
        <p:nvSpPr>
          <p:cNvPr id="29" name="テキスト プレースホルダ 9"/>
          <p:cNvSpPr>
            <a:spLocks/>
          </p:cNvSpPr>
          <p:nvPr>
            <p:custDataLst>
              <p:tags r:id="rId5"/>
            </p:custDataLst>
          </p:nvPr>
        </p:nvSpPr>
        <p:spPr bwMode="auto">
          <a:xfrm>
            <a:off x="760797" y="5081529"/>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2ED535-550A-4DCD-968F-2ABC348CFE55}" type="datetime'''''''''''非''''''感染''''''''''''''''''''''''''''''''''''症'''">
              <a:rPr lang="ja-JP" altLang="en-US" smtClean="0"/>
              <a:pPr marL="0" indent="0" algn="r">
                <a:spcBef>
                  <a:spcPct val="0"/>
                </a:spcBef>
                <a:buNone/>
              </a:pPr>
              <a:t>非感染症</a:t>
            </a:fld>
            <a:r>
              <a:rPr lang="ja-JP" altLang="en-US" noProof="1"/>
              <a:t>疾患</a:t>
            </a:r>
            <a:endParaRPr lang="ja-JP" altLang="en-US" dirty="0">
              <a:sym typeface="+mn-lt"/>
            </a:endParaRPr>
          </a:p>
        </p:txBody>
      </p:sp>
      <p:sp>
        <p:nvSpPr>
          <p:cNvPr id="28" name="テキスト プレースホルダ 9"/>
          <p:cNvSpPr>
            <a:spLocks/>
          </p:cNvSpPr>
          <p:nvPr>
            <p:custDataLst>
              <p:tags r:id="rId6"/>
            </p:custDataLst>
          </p:nvPr>
        </p:nvSpPr>
        <p:spPr bwMode="auto">
          <a:xfrm>
            <a:off x="1035050" y="31035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pPr marL="0" indent="0" algn="r">
                <a:spcBef>
                  <a:spcPct val="0"/>
                </a:spcBef>
                <a:buNone/>
              </a:pPr>
              <a:t>事故等</a:t>
            </a:fld>
            <a:endParaRPr lang="ja-JP" altLang="en-US" dirty="0">
              <a:sym typeface="+mn-lt"/>
            </a:endParaRPr>
          </a:p>
        </p:txBody>
      </p:sp>
      <p:sp>
        <p:nvSpPr>
          <p:cNvPr id="37" name="テキスト ボックス 36"/>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南アフリカでは感染症による死亡の占める割合が大きく、特にHIV/AIDSが死亡要因の1位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1990年頃にはまだHIV/AIDS感染による死亡が多くはなかったが、2000年代後半には死者30万人を超え、死亡要因の45%を超える時期もあった。その後、</a:t>
            </a:r>
            <a:r>
              <a:rPr lang="ja-JP" altLang="en-US" sz="1400" b="0" i="0" noProof="1">
                <a:solidFill>
                  <a:srgbClr val="333333"/>
                </a:solidFill>
                <a:effectLst/>
                <a:latin typeface="+mn-ea"/>
              </a:rPr>
              <a:t>抗レトロウイルス薬の普及などにより、死亡者数は半分以下に減少している。</a:t>
            </a:r>
            <a:endParaRPr lang="en-IN" altLang="ja-JP" sz="1400" b="0" i="0" dirty="0">
              <a:solidFill>
                <a:srgbClr val="333333"/>
              </a:solidFill>
              <a:effectLst/>
              <a:latin typeface="+mn-ea"/>
            </a:endParaRPr>
          </a:p>
          <a:p>
            <a:pPr marL="190500" indent="-190500" algn="just">
              <a:lnSpc>
                <a:spcPct val="110000"/>
              </a:lnSpc>
              <a:spcAft>
                <a:spcPts val="200"/>
              </a:spcAft>
              <a:buClr>
                <a:srgbClr val="5F8AC3"/>
              </a:buClr>
              <a:buFont typeface="Wingdings" panose="05000000000000000000" pitchFamily="2" charset="2"/>
              <a:buChar char="n"/>
            </a:pPr>
            <a:r>
              <a:rPr lang="en-IN" altLang="ja-JP" sz="1400" noProof="1">
                <a:solidFill>
                  <a:srgbClr val="333333"/>
                </a:solidFill>
                <a:latin typeface="+mn-ea"/>
                <a:cs typeface="Arial" panose="020B0604020202020204" pitchFamily="34" charset="0"/>
              </a:rPr>
              <a:t>2021年になっても、感染症が死因の約46%を占めてい</a:t>
            </a:r>
            <a:r>
              <a:rPr lang="ja-JP" altLang="en-US" sz="1400" noProof="1">
                <a:solidFill>
                  <a:srgbClr val="333333"/>
                </a:solidFill>
                <a:latin typeface="+mn-ea"/>
                <a:cs typeface="Arial" panose="020B0604020202020204" pitchFamily="34" charset="0"/>
              </a:rPr>
              <a:t>る。</a:t>
            </a:r>
            <a:endParaRPr lang="en-US" altLang="ja-JP" sz="1400" dirty="0">
              <a:latin typeface="+mn-ea"/>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WHO</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Health Metrics and Evaluation」「Global Burden of Disease Study」(2019年) </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pPr defTabSz="361950"/>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1) 1990年当時はHIV/AIDSによる死者の報告はまだ1%程度にとどまってい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Chart 37">
            <a:extLst>
              <a:ext uri="{FF2B5EF4-FFF2-40B4-BE49-F238E27FC236}">
                <a16:creationId xmlns:a16="http://schemas.microsoft.com/office/drawing/2014/main" id="{D2021DC1-35EE-4900-BD0E-4AC8DAAB4165}"/>
              </a:ext>
            </a:extLst>
          </p:cNvPr>
          <p:cNvGraphicFramePr/>
          <p:nvPr>
            <p:custDataLst>
              <p:tags r:id="rId7"/>
            </p:custDataLst>
            <p:extLst>
              <p:ext uri="{D42A27DB-BD31-4B8C-83A1-F6EECF244321}">
                <p14:modId xmlns:p14="http://schemas.microsoft.com/office/powerpoint/2010/main" val="2460217951"/>
              </p:ext>
            </p:extLst>
          </p:nvPr>
        </p:nvGraphicFramePr>
        <p:xfrm>
          <a:off x="5367338" y="2744788"/>
          <a:ext cx="3784600" cy="3021012"/>
        </p:xfrm>
        <a:graphic>
          <a:graphicData uri="http://schemas.openxmlformats.org/drawingml/2006/chart">
            <c:chart xmlns:c="http://schemas.openxmlformats.org/drawingml/2006/chart" xmlns:r="http://schemas.openxmlformats.org/officeDocument/2006/relationships" r:id="rId23"/>
          </a:graphicData>
        </a:graphic>
      </p:graphicFrame>
      <p:sp>
        <p:nvSpPr>
          <p:cNvPr id="4" name="テキスト プレースホルダ 9">
            <a:extLst>
              <a:ext uri="{FF2B5EF4-FFF2-40B4-BE49-F238E27FC236}">
                <a16:creationId xmlns:a16="http://schemas.microsoft.com/office/drawing/2014/main" id="{EB3A9BB3-A854-0872-0D23-336EE0D11D73}"/>
              </a:ext>
            </a:extLst>
          </p:cNvPr>
          <p:cNvSpPr>
            <a:spLocks/>
          </p:cNvSpPr>
          <p:nvPr>
            <p:custDataLst>
              <p:tags r:id="rId8"/>
            </p:custDataLst>
          </p:nvPr>
        </p:nvSpPr>
        <p:spPr bwMode="gray">
          <a:xfrm>
            <a:off x="6437313" y="3543300"/>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C86C6-702E-47BC-80B2-586AC61210E6}" type="datetime'''''''''''''''''8''''.''''''''''''''6''''''''%'''">
              <a:rPr lang="en-US" altLang="en-US" smtClean="0"/>
              <a:pPr/>
              <a:t>8.6%</a:t>
            </a:fld>
            <a:endParaRPr kumimoji="1" lang="ja-JP" altLang="en-US" dirty="0">
              <a:sym typeface="+mn-lt"/>
            </a:endParaRPr>
          </a:p>
        </p:txBody>
      </p:sp>
      <p:sp>
        <p:nvSpPr>
          <p:cNvPr id="3" name="テキスト プレースホルダ 9">
            <a:extLst>
              <a:ext uri="{FF2B5EF4-FFF2-40B4-BE49-F238E27FC236}">
                <a16:creationId xmlns:a16="http://schemas.microsoft.com/office/drawing/2014/main" id="{EB233603-D2E4-200B-6C68-D095428D248F}"/>
              </a:ext>
            </a:extLst>
          </p:cNvPr>
          <p:cNvSpPr>
            <a:spLocks/>
          </p:cNvSpPr>
          <p:nvPr>
            <p:custDataLst>
              <p:tags r:id="rId9"/>
            </p:custDataLst>
          </p:nvPr>
        </p:nvSpPr>
        <p:spPr bwMode="gray">
          <a:xfrm>
            <a:off x="6784975" y="328771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099A96-C3EB-4847-BF19-F67EEA31993E}" type="datetime'''''''7''''''.8''''''''''''''''''''%'''''">
              <a:rPr lang="en-US" altLang="en-US" smtClean="0"/>
              <a:pPr/>
              <a:t>7.8%</a:t>
            </a:fld>
            <a:endParaRPr kumimoji="1" lang="ja-JP" altLang="en-US" dirty="0">
              <a:sym typeface="+mn-lt"/>
            </a:endParaRPr>
          </a:p>
        </p:txBody>
      </p:sp>
      <p:sp>
        <p:nvSpPr>
          <p:cNvPr id="7" name="Rectangle 6">
            <a:extLst>
              <a:ext uri="{FF2B5EF4-FFF2-40B4-BE49-F238E27FC236}">
                <a16:creationId xmlns:a16="http://schemas.microsoft.com/office/drawing/2014/main" id="{6386E2E1-6C31-338B-7538-3EF06A1AACF4}"/>
              </a:ext>
            </a:extLst>
          </p:cNvPr>
          <p:cNvSpPr/>
          <p:nvPr>
            <p:custDataLst>
              <p:tags r:id="rId10"/>
            </p:custDataLst>
          </p:nvPr>
        </p:nvSpPr>
        <p:spPr bwMode="auto">
          <a:xfrm>
            <a:off x="5003800" y="5705475"/>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Rectangle 9">
            <a:extLst>
              <a:ext uri="{FF2B5EF4-FFF2-40B4-BE49-F238E27FC236}">
                <a16:creationId xmlns:a16="http://schemas.microsoft.com/office/drawing/2014/main" id="{E3D64A41-CB7A-8EAA-0419-6163310DF667}"/>
              </a:ext>
            </a:extLst>
          </p:cNvPr>
          <p:cNvSpPr/>
          <p:nvPr>
            <p:custDataLst>
              <p:tags r:id="rId11"/>
            </p:custDataLst>
          </p:nvPr>
        </p:nvSpPr>
        <p:spPr bwMode="auto">
          <a:xfrm>
            <a:off x="5003800" y="5969000"/>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a:extLst>
              <a:ext uri="{FF2B5EF4-FFF2-40B4-BE49-F238E27FC236}">
                <a16:creationId xmlns:a16="http://schemas.microsoft.com/office/drawing/2014/main" id="{DC09F4C3-A368-D61D-AFC5-340E0A97403B}"/>
              </a:ext>
            </a:extLst>
          </p:cNvPr>
          <p:cNvSpPr/>
          <p:nvPr>
            <p:custDataLst>
              <p:tags r:id="rId12"/>
            </p:custDataLst>
          </p:nvPr>
        </p:nvSpPr>
        <p:spPr bwMode="auto">
          <a:xfrm>
            <a:off x="5003800" y="6232525"/>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5F71A65F-B467-157D-098C-D0F13D64365B}"/>
              </a:ext>
            </a:extLst>
          </p:cNvPr>
          <p:cNvSpPr/>
          <p:nvPr>
            <p:custDataLst>
              <p:tags r:id="rId13"/>
            </p:custDataLst>
          </p:nvPr>
        </p:nvSpPr>
        <p:spPr bwMode="auto">
          <a:xfrm>
            <a:off x="5003800" y="6496050"/>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テキスト プレースホルダ 9">
            <a:extLst>
              <a:ext uri="{FF2B5EF4-FFF2-40B4-BE49-F238E27FC236}">
                <a16:creationId xmlns:a16="http://schemas.microsoft.com/office/drawing/2014/main" id="{8790B2EC-3FC7-AE9F-0438-EF907BB009BE}"/>
              </a:ext>
            </a:extLst>
          </p:cNvPr>
          <p:cNvSpPr>
            <a:spLocks/>
          </p:cNvSpPr>
          <p:nvPr>
            <p:custDataLst>
              <p:tags r:id="rId14"/>
            </p:custDataLst>
          </p:nvPr>
        </p:nvSpPr>
        <p:spPr bwMode="auto">
          <a:xfrm>
            <a:off x="5305425" y="5700713"/>
            <a:ext cx="2490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7D240F8-01B3-4D17-8D97-343C6C042CDF}" type="datetime'''感''''''''''''染症、母体、周''産期''''''、''栄''''''''''''''''''養状''態'''">
              <a:rPr lang="zh-TW" altLang="en-US" sz="1400" b="1" smtClean="0"/>
              <a:pPr/>
              <a:t>感染症、母体、周産期、栄養状態</a:t>
            </a:fld>
            <a:endParaRPr kumimoji="1" lang="ja-JP" altLang="en-US" sz="1400" b="1" dirty="0">
              <a:sym typeface="+mn-lt"/>
            </a:endParaRPr>
          </a:p>
        </p:txBody>
      </p:sp>
      <p:sp>
        <p:nvSpPr>
          <p:cNvPr id="14" name="テキスト プレースホルダ 9">
            <a:extLst>
              <a:ext uri="{FF2B5EF4-FFF2-40B4-BE49-F238E27FC236}">
                <a16:creationId xmlns:a16="http://schemas.microsoft.com/office/drawing/2014/main" id="{5BB141D7-ECBB-780F-272E-13DC56242C39}"/>
              </a:ext>
            </a:extLst>
          </p:cNvPr>
          <p:cNvSpPr>
            <a:spLocks/>
          </p:cNvSpPr>
          <p:nvPr>
            <p:custDataLst>
              <p:tags r:id="rId15"/>
            </p:custDataLst>
          </p:nvPr>
        </p:nvSpPr>
        <p:spPr bwMode="auto">
          <a:xfrm>
            <a:off x="5305425" y="5964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9E8A12E-1156-4C0E-AF17-3122D57FBC55}" type="datetime'''非''''''感''''''''''''染''''''''''''''''''''''''''''症'''''''''">
              <a:rPr lang="zh-TW" altLang="en-US" sz="1400" b="1" smtClean="0"/>
              <a:pPr/>
              <a:t>非感染症</a:t>
            </a:fld>
            <a:endParaRPr kumimoji="1" lang="ja-JP" altLang="en-US" sz="1400" b="1" dirty="0">
              <a:sym typeface="+mn-lt"/>
            </a:endParaRPr>
          </a:p>
        </p:txBody>
      </p:sp>
      <p:sp>
        <p:nvSpPr>
          <p:cNvPr id="15" name="テキスト プレースホルダ 9">
            <a:extLst>
              <a:ext uri="{FF2B5EF4-FFF2-40B4-BE49-F238E27FC236}">
                <a16:creationId xmlns:a16="http://schemas.microsoft.com/office/drawing/2014/main" id="{89686C52-A8D8-CD51-B834-8BB73A8973D0}"/>
              </a:ext>
            </a:extLst>
          </p:cNvPr>
          <p:cNvSpPr>
            <a:spLocks/>
          </p:cNvSpPr>
          <p:nvPr>
            <p:custDataLst>
              <p:tags r:id="rId16"/>
            </p:custDataLst>
          </p:nvPr>
        </p:nvSpPr>
        <p:spPr bwMode="auto">
          <a:xfrm>
            <a:off x="5305425" y="6227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626143F-B3E6-4D6B-88EB-1C1582B003CD}" type="datetime'''''''''事''''''故''''''''''''''等'''''''''''''''''''''">
              <a:rPr lang="ja-JP" altLang="en-US" sz="1400" b="1" smtClean="0"/>
              <a:pPr/>
              <a:t>事故等</a:t>
            </a:fld>
            <a:endParaRPr kumimoji="1" lang="ja-JP" altLang="en-US" sz="1400" b="1" dirty="0">
              <a:sym typeface="+mn-lt"/>
            </a:endParaRPr>
          </a:p>
        </p:txBody>
      </p:sp>
      <p:sp>
        <p:nvSpPr>
          <p:cNvPr id="16" name="テキスト プレースホルダ 9">
            <a:extLst>
              <a:ext uri="{FF2B5EF4-FFF2-40B4-BE49-F238E27FC236}">
                <a16:creationId xmlns:a16="http://schemas.microsoft.com/office/drawing/2014/main" id="{AD52B685-2A4D-0F44-A7FD-7F4754CB8DF5}"/>
              </a:ext>
            </a:extLst>
          </p:cNvPr>
          <p:cNvSpPr>
            <a:spLocks/>
          </p:cNvSpPr>
          <p:nvPr>
            <p:custDataLst>
              <p:tags r:id="rId17"/>
            </p:custDataLst>
          </p:nvPr>
        </p:nvSpPr>
        <p:spPr bwMode="auto">
          <a:xfrm>
            <a:off x="5305425" y="6491288"/>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F0B25B6-3316-4B09-8098-A3881350B276}" type="datetime'''COV''''I''''''D-''''19パ''''ンデミックに''''関連''する''''その''他''の''結果'">
              <a:rPr lang="en-US" altLang="en-US" sz="1400" b="1" smtClean="0"/>
              <a:pPr/>
              <a:t>COVID-19パンデミックに関連するその他の結果</a:t>
            </a:fld>
            <a:endParaRPr kumimoji="1" lang="ja-JP" altLang="en-US" sz="1400" b="1" dirty="0">
              <a:sym typeface="+mn-lt"/>
            </a:endParaRPr>
          </a:p>
        </p:txBody>
      </p:sp>
    </p:spTree>
    <p:extLst>
      <p:ext uri="{BB962C8B-B14F-4D97-AF65-F5344CB8AC3E}">
        <p14:creationId xmlns:p14="http://schemas.microsoft.com/office/powerpoint/2010/main" val="3103860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5EED1-E047-B8A6-29DD-6CBD9D8D6E7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C1C45A-A078-CA82-855A-00D96946BC60}"/>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E4C1C45A-A078-CA82-855A-00D96946BC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91271E7-F304-2CE1-635C-1C841A19DF03}"/>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8FB4F85E-507E-C9C8-349B-8B3A6F5D393F}"/>
              </a:ext>
            </a:extLst>
          </p:cNvPr>
          <p:cNvSpPr>
            <a:spLocks noGrp="1"/>
          </p:cNvSpPr>
          <p:nvPr>
            <p:ph type="title"/>
          </p:nvPr>
        </p:nvSpPr>
        <p:spPr/>
        <p:txBody>
          <a:bodyPr vert="horz">
            <a:normAutofit/>
          </a:bodyPr>
          <a:lstStyle/>
          <a:p>
            <a:r>
              <a:rPr lang="ja-JP" altLang="en-US" noProof="1"/>
              <a:t>南アフリ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81A15A22-E2B3-2929-958D-0CD7EF3B706C}"/>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pSp>
        <p:nvGrpSpPr>
          <p:cNvPr id="16" name="グループ化 7">
            <a:extLst>
              <a:ext uri="{FF2B5EF4-FFF2-40B4-BE49-F238E27FC236}">
                <a16:creationId xmlns:a16="http://schemas.microsoft.com/office/drawing/2014/main" id="{6E9704E3-C110-897A-5E8D-A16B39614175}"/>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75682B74-FE61-A4D8-95E1-BE085DE2AF7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AA418CB7-63A7-BF34-548A-7000E7F7C0D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 死因トップ10</a:t>
              </a:r>
            </a:p>
          </p:txBody>
        </p:sp>
      </p:grpSp>
      <p:sp>
        <p:nvSpPr>
          <p:cNvPr id="19" name="テキスト ボックス 115">
            <a:extLst>
              <a:ext uri="{FF2B5EF4-FFF2-40B4-BE49-F238E27FC236}">
                <a16:creationId xmlns:a16="http://schemas.microsoft.com/office/drawing/2014/main" id="{1AA2093E-1BBF-FDC2-594B-CBA292536A16}"/>
              </a:ext>
            </a:extLst>
          </p:cNvPr>
          <p:cNvSpPr txBox="1"/>
          <p:nvPr/>
        </p:nvSpPr>
        <p:spPr>
          <a:xfrm>
            <a:off x="200471" y="6597352"/>
            <a:ext cx="9433045" cy="144004"/>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Statistics南アフリカ「南アフリカにおける死亡率と死因:死亡通知からの知見(2022)」</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56">
            <a:extLst>
              <a:ext uri="{FF2B5EF4-FFF2-40B4-BE49-F238E27FC236}">
                <a16:creationId xmlns:a16="http://schemas.microsoft.com/office/drawing/2014/main" id="{E01214D5-C928-1DCA-D743-BA3AD4CF7631}"/>
              </a:ext>
            </a:extLst>
          </p:cNvPr>
          <p:cNvSpPr txBox="1"/>
          <p:nvPr/>
        </p:nvSpPr>
        <p:spPr>
          <a:xfrm>
            <a:off x="200470" y="1102575"/>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2022年の死因は、非感染性疾患のうち、糖尿病、高血圧、脳血管疾患が上位を占め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a:t>
            </a:r>
            <a:r>
              <a:rPr lang="en-US" altLang="ja-JP" sz="1400" dirty="0">
                <a:latin typeface="MS PGothic (Headings)"/>
                <a:ea typeface="ＭＳ Ｐゴシック" panose="020B0600070205080204" pitchFamily="50" charset="-128"/>
                <a:cs typeface="Arial" panose="020B0604020202020204" pitchFamily="34" charset="0"/>
              </a:rPr>
              <a:t> </a:t>
            </a:r>
          </a:p>
        </p:txBody>
      </p:sp>
      <p:graphicFrame>
        <p:nvGraphicFramePr>
          <p:cNvPr id="21" name="Content Placeholder 4">
            <a:extLst>
              <a:ext uri="{FF2B5EF4-FFF2-40B4-BE49-F238E27FC236}">
                <a16:creationId xmlns:a16="http://schemas.microsoft.com/office/drawing/2014/main" id="{9AF0083B-AAD1-4D46-7DC7-E421F415B9C4}"/>
              </a:ext>
            </a:extLst>
          </p:cNvPr>
          <p:cNvGraphicFramePr>
            <a:graphicFrameLocks/>
          </p:cNvGraphicFramePr>
          <p:nvPr>
            <p:extLst>
              <p:ext uri="{D42A27DB-BD31-4B8C-83A1-F6EECF244321}">
                <p14:modId xmlns:p14="http://schemas.microsoft.com/office/powerpoint/2010/main" val="3281355230"/>
              </p:ext>
            </p:extLst>
          </p:nvPr>
        </p:nvGraphicFramePr>
        <p:xfrm>
          <a:off x="200025" y="2204864"/>
          <a:ext cx="3066556" cy="423677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8939">
                <a:tc>
                  <a:txBody>
                    <a:bodyPr/>
                    <a:lstStyle/>
                    <a:p>
                      <a:pPr lvl="0" algn="l" fontAlgn="b"/>
                      <a:r>
                        <a:rPr lang="en-IN" sz="1000" b="1" i="0" u="none" strike="noStrike" noProof="1">
                          <a:solidFill>
                            <a:srgbClr val="000000"/>
                          </a:solidFill>
                          <a:effectLst/>
                          <a:latin typeface="MS PGothic (Headings)"/>
                          <a:ea typeface="+mn-ea"/>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ea typeface="+mn-ea"/>
                        </a:rPr>
                        <a:t>死亡</a:t>
                      </a:r>
                      <a:r>
                        <a:rPr lang="ja-JP" altLang="en-US" sz="1000" b="1" i="0" u="none" strike="noStrike" noProof="1">
                          <a:solidFill>
                            <a:srgbClr val="000000"/>
                          </a:solidFill>
                          <a:effectLst/>
                          <a:latin typeface="MS PGothic (Headings)"/>
                          <a:ea typeface="+mn-ea"/>
                        </a:rPr>
                        <a:t>人数</a:t>
                      </a:r>
                      <a:endParaRPr lang="en-IN" sz="1000" b="1" i="0" u="none" strike="noStrike" noProof="1">
                        <a:solidFill>
                          <a:srgbClr val="000000"/>
                        </a:solidFill>
                        <a:effectLst/>
                        <a:latin typeface="MS PGothic (Headings)"/>
                        <a:ea typeface="+mn-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2,8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高血圧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2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8,8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ヒト免疫不全ウイルス (HIV) 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7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その他の心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3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結核</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3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インフルエンザおよび肺炎</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9,7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1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1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7784">
                <a:tc>
                  <a:txBody>
                    <a:bodyPr/>
                    <a:lstStyle/>
                    <a:p>
                      <a:pPr marL="0" lv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慢性下気道</a:t>
                      </a:r>
                    </a:p>
                    <a:p>
                      <a:pPr marL="0" lv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1,8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7C6D5B09-5519-DEAC-2CB5-656381CBED2E}"/>
              </a:ext>
            </a:extLst>
          </p:cNvPr>
          <p:cNvGraphicFramePr>
            <a:graphicFrameLocks/>
          </p:cNvGraphicFramePr>
          <p:nvPr>
            <p:extLst>
              <p:ext uri="{D42A27DB-BD31-4B8C-83A1-F6EECF244321}">
                <p14:modId xmlns:p14="http://schemas.microsoft.com/office/powerpoint/2010/main" val="2711335633"/>
              </p:ext>
            </p:extLst>
          </p:nvPr>
        </p:nvGraphicFramePr>
        <p:xfrm>
          <a:off x="3383493" y="2204864"/>
          <a:ext cx="3066556" cy="423677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4134">
                <a:tc>
                  <a:txBody>
                    <a:bodyPr/>
                    <a:lstStyle/>
                    <a:p>
                      <a:pPr algn="l" fontAlgn="b"/>
                      <a:r>
                        <a:rPr lang="en-IN" sz="1000" b="1" i="0" u="none" strike="noStrike" noProof="1">
                          <a:solidFill>
                            <a:srgbClr val="000000"/>
                          </a:solidFill>
                          <a:effectLst/>
                          <a:latin typeface="MS PGothic (Headings)"/>
                          <a:ea typeface="+mn-ea"/>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ea typeface="+mn-ea"/>
                        </a:rPr>
                        <a:t>死亡</a:t>
                      </a:r>
                      <a:r>
                        <a:rPr lang="ja-JP" altLang="en-US" sz="1000" b="1" i="0" u="none" strike="noStrike" noProof="1">
                          <a:solidFill>
                            <a:srgbClr val="000000"/>
                          </a:solidFill>
                          <a:effectLst/>
                          <a:latin typeface="MS PGothic (Headings)"/>
                          <a:ea typeface="+mn-ea"/>
                        </a:rPr>
                        <a:t>人数</a:t>
                      </a:r>
                      <a:endParaRPr lang="en-IN" sz="1000" b="1" i="0" u="none" strike="noStrike" noProof="1">
                        <a:solidFill>
                          <a:srgbClr val="000000"/>
                        </a:solidFill>
                        <a:effectLst/>
                        <a:latin typeface="MS PGothic (Headings)"/>
                        <a:ea typeface="+mn-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4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結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0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2,7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2,6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2903">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ヒト免疫不全ウイルス (HIV) 感染症</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5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900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インフルエンザ・肺炎</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3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その他の心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5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48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慢性下気道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2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2592">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その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8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6EA0AD91-B28B-FEE4-1C89-169675E8D1A2}"/>
              </a:ext>
            </a:extLst>
          </p:cNvPr>
          <p:cNvGraphicFramePr>
            <a:graphicFrameLocks/>
          </p:cNvGraphicFramePr>
          <p:nvPr>
            <p:extLst>
              <p:ext uri="{D42A27DB-BD31-4B8C-83A1-F6EECF244321}">
                <p14:modId xmlns:p14="http://schemas.microsoft.com/office/powerpoint/2010/main" val="3727521542"/>
              </p:ext>
            </p:extLst>
          </p:nvPr>
        </p:nvGraphicFramePr>
        <p:xfrm>
          <a:off x="6566961" y="2204864"/>
          <a:ext cx="3066556" cy="430393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47415">
                <a:tc>
                  <a:txBody>
                    <a:bodyPr/>
                    <a:lstStyle/>
                    <a:p>
                      <a:pPr algn="l" fontAlgn="b"/>
                      <a:r>
                        <a:rPr lang="en-IN" sz="1000" b="1" i="0" u="none" strike="noStrike" noProof="1">
                          <a:solidFill>
                            <a:srgbClr val="000000"/>
                          </a:solidFill>
                          <a:effectLst/>
                          <a:latin typeface="MS PGothic (Headings)"/>
                          <a:ea typeface="+mn-ea"/>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ea typeface="+mn-ea"/>
                        </a:rPr>
                        <a:t>死亡</a:t>
                      </a:r>
                      <a:r>
                        <a:rPr lang="ja-JP" altLang="en-US" sz="1000" b="1" i="0" u="none" strike="noStrike" noProof="1">
                          <a:solidFill>
                            <a:srgbClr val="000000"/>
                          </a:solidFill>
                          <a:effectLst/>
                          <a:latin typeface="MS PGothic (Headings)"/>
                          <a:ea typeface="+mn-ea"/>
                        </a:rPr>
                        <a:t>人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9,4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高血圧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8,57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6,0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その他の心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0,7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7393">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ヒト免疫不全ウイルス (HIV) 感染症</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0,18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インフルエンザ・肺炎</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9,3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34393">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結核</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7,3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その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6,3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5,6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47393">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男女生殖器悪性新生物</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5,470 </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FC8B66A7-EF83-463A-8C28-52A6C68A2FDC}"/>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55675" fontAlgn="base">
              <a:spcBef>
                <a:spcPct val="0"/>
              </a:spcBef>
              <a:spcAft>
                <a:spcPct val="0"/>
              </a:spcAft>
              <a:buSzPct val="120000"/>
            </a:pPr>
            <a:r>
              <a:rPr lang="en-US" altLang="ja-JP" sz="1400" noProof="1">
                <a:solidFill>
                  <a:srgbClr val="000000"/>
                </a:solidFill>
                <a:latin typeface="Arial Black" pitchFamily="34" charset="0"/>
                <a:ea typeface="HGP創英角ｺﾞｼｯｸUB" pitchFamily="50" charset="-128"/>
              </a:rPr>
              <a:t>合計</a:t>
            </a:r>
            <a:endParaRPr lang="en-IN" sz="1400" dirty="0">
              <a:solidFill>
                <a:srgbClr val="000000"/>
              </a:solidFill>
              <a:latin typeface="Arial Black" pitchFamily="34" charset="0"/>
              <a:ea typeface="HGP創英角ｺﾞｼｯｸUB" pitchFamily="50" charset="-128"/>
            </a:endParaRPr>
          </a:p>
        </p:txBody>
      </p:sp>
      <p:sp>
        <p:nvSpPr>
          <p:cNvPr id="26" name="Rectangle 25">
            <a:extLst>
              <a:ext uri="{FF2B5EF4-FFF2-40B4-BE49-F238E27FC236}">
                <a16:creationId xmlns:a16="http://schemas.microsoft.com/office/drawing/2014/main" id="{7B6EF3B9-F3E4-82EE-C3EF-AF4B43882860}"/>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400" noProof="1">
                <a:solidFill>
                  <a:srgbClr val="000000"/>
                </a:solidFill>
                <a:latin typeface="Arial Black" pitchFamily="34" charset="0"/>
                <a:ea typeface="HGP創英角ｺﾞｼｯｸUB" pitchFamily="50" charset="-128"/>
              </a:rPr>
              <a:t>男性</a:t>
            </a:r>
            <a:endParaRPr lang="en-IN" sz="1400" dirty="0">
              <a:solidFill>
                <a:srgbClr val="000000"/>
              </a:solidFill>
              <a:latin typeface="Arial Black" pitchFamily="34" charset="0"/>
              <a:ea typeface="HGP創英角ｺﾞｼｯｸUB" pitchFamily="50" charset="-128"/>
            </a:endParaRPr>
          </a:p>
        </p:txBody>
      </p:sp>
      <p:sp>
        <p:nvSpPr>
          <p:cNvPr id="27" name="Rectangle 26">
            <a:extLst>
              <a:ext uri="{FF2B5EF4-FFF2-40B4-BE49-F238E27FC236}">
                <a16:creationId xmlns:a16="http://schemas.microsoft.com/office/drawing/2014/main" id="{C547426A-5C82-71B0-A09C-45126952E018}"/>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400" noProof="1">
                <a:solidFill>
                  <a:srgbClr val="000000"/>
                </a:solidFill>
                <a:latin typeface="Arial Black" pitchFamily="34" charset="0"/>
                <a:ea typeface="HGP創英角ｺﾞｼｯｸUB" pitchFamily="50" charset="-128"/>
              </a:rPr>
              <a:t>女性</a:t>
            </a:r>
            <a:endParaRPr lang="en-IN"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703619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1"/>
          <a:ext cx="4500048" cy="3536877"/>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498">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3716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所得格差</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7358228"/>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99713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3534108"/>
                  </a:ext>
                </a:extLst>
              </a:tr>
            </a:tbl>
          </a:graphicData>
        </a:graphic>
      </p:graphicFrame>
      <p:graphicFrame>
        <p:nvGraphicFramePr>
          <p:cNvPr id="6" name="表 5"/>
          <p:cNvGraphicFramePr>
            <a:graphicFrameLocks noGrp="1"/>
          </p:cNvGraphicFramePr>
          <p:nvPr/>
        </p:nvGraphicFramePr>
        <p:xfrm>
          <a:off x="5205528" y="1152000"/>
          <a:ext cx="4500000" cy="527917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7809">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4103395"/>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94092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30459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263150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306960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1094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673616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991718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03680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対する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7225">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33462">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571713"/>
                  </a:ext>
                </a:extLst>
              </a:tr>
            </a:tbl>
          </a:graphicData>
        </a:graphic>
      </p:graphicFrame>
      <p:cxnSp>
        <p:nvCxnSpPr>
          <p:cNvPr id="9" name="Straight Connector 8">
            <a:extLst>
              <a:ext uri="{FF2B5EF4-FFF2-40B4-BE49-F238E27FC236}">
                <a16:creationId xmlns:a16="http://schemas.microsoft.com/office/drawing/2014/main" id="{B0A48150-1F97-4993-988A-050E4D1F7DC7}"/>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C5F9D-A180-EEF6-910E-166A680DBB3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606453-C880-4601-8DBD-62AE08D772B2}"/>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7B606453-C880-4601-8DBD-62AE08D772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B868376-EE23-719D-A7DE-04ADD2C04C7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780DB4AF-5AF2-2945-4B0B-A9E0F57C541D}"/>
              </a:ext>
            </a:extLst>
          </p:cNvPr>
          <p:cNvSpPr>
            <a:spLocks noGrp="1"/>
          </p:cNvSpPr>
          <p:nvPr>
            <p:ph type="title"/>
          </p:nvPr>
        </p:nvSpPr>
        <p:spPr/>
        <p:txBody>
          <a:bodyPr vert="horz">
            <a:normAutofit/>
          </a:bodyPr>
          <a:lstStyle/>
          <a:p>
            <a:r>
              <a:rPr lang="ja-JP" altLang="en-US" noProof="1"/>
              <a:t>南アフリ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64962963-97D6-BD55-F0AD-C30E95253EE5}"/>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aphicFrame>
        <p:nvGraphicFramePr>
          <p:cNvPr id="2" name="Table 1">
            <a:extLst>
              <a:ext uri="{FF2B5EF4-FFF2-40B4-BE49-F238E27FC236}">
                <a16:creationId xmlns:a16="http://schemas.microsoft.com/office/drawing/2014/main" id="{1DEA649A-36CB-0979-97F9-5664091FC6DE}"/>
              </a:ext>
            </a:extLst>
          </p:cNvPr>
          <p:cNvGraphicFramePr>
            <a:graphicFrameLocks noGrp="1"/>
          </p:cNvGraphicFramePr>
          <p:nvPr>
            <p:extLst>
              <p:ext uri="{D42A27DB-BD31-4B8C-83A1-F6EECF244321}">
                <p14:modId xmlns:p14="http://schemas.microsoft.com/office/powerpoint/2010/main" val="4130599683"/>
              </p:ext>
            </p:extLst>
          </p:nvPr>
        </p:nvGraphicFramePr>
        <p:xfrm>
          <a:off x="5777364" y="2143971"/>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高血圧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ヒト免疫不全ウイルス [HIV] 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その他の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結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インフルエンザおよび肺炎</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その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慢性下気道</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消化器の悪性新生物</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5064844"/>
                  </a:ext>
                </a:extLst>
              </a:tr>
            </a:tbl>
          </a:graphicData>
        </a:graphic>
      </p:graphicFrame>
      <p:graphicFrame>
        <p:nvGraphicFramePr>
          <p:cNvPr id="7" name="Table 6">
            <a:extLst>
              <a:ext uri="{FF2B5EF4-FFF2-40B4-BE49-F238E27FC236}">
                <a16:creationId xmlns:a16="http://schemas.microsoft.com/office/drawing/2014/main" id="{D58C633A-1498-788E-BA2D-C750394A80B1}"/>
              </a:ext>
            </a:extLst>
          </p:cNvPr>
          <p:cNvGraphicFramePr>
            <a:graphicFrameLocks noGrp="1"/>
          </p:cNvGraphicFramePr>
          <p:nvPr>
            <p:extLst>
              <p:ext uri="{D42A27DB-BD31-4B8C-83A1-F6EECF244321}">
                <p14:modId xmlns:p14="http://schemas.microsoft.com/office/powerpoint/2010/main" val="594124431"/>
              </p:ext>
            </p:extLst>
          </p:nvPr>
        </p:nvGraphicFramePr>
        <p:xfrm>
          <a:off x="2008247" y="2143970"/>
          <a:ext cx="2088080" cy="3736007"/>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結核</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その他の心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脳血管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インフルエンザおよび肺炎</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慢性下気道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虚血性心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消化器の悪性新生物</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高血圧性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周産期</a:t>
                      </a:r>
                      <a:r>
                        <a:rPr lang="ja-JP" altLang="en-US" sz="1000" b="0" noProof="1">
                          <a:solidFill>
                            <a:schemeClr val="tx1"/>
                          </a:solidFill>
                          <a:latin typeface="MS PGothic (Headings)"/>
                          <a:ea typeface="+mn-ea"/>
                        </a:rPr>
                        <a:t>疾患</a:t>
                      </a:r>
                      <a:endParaRPr lang="en-US" sz="1000" b="0" noProof="1">
                        <a:solidFill>
                          <a:schemeClr val="tx1"/>
                        </a:solidFill>
                        <a:latin typeface="MS PGothic (Headings)"/>
                        <a:ea typeface="+mn-ea"/>
                      </a:endParaRP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bl>
          </a:graphicData>
        </a:graphic>
      </p:graphicFrame>
      <p:grpSp>
        <p:nvGrpSpPr>
          <p:cNvPr id="8" name="グループ化 7">
            <a:extLst>
              <a:ext uri="{FF2B5EF4-FFF2-40B4-BE49-F238E27FC236}">
                <a16:creationId xmlns:a16="http://schemas.microsoft.com/office/drawing/2014/main" id="{CD4DB63D-7FC3-5FBA-B931-7CF2AE830910}"/>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F0F727D7-96D9-EA87-EE08-5D49C02F165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9EC29FB3-6966-E556-E27B-032D4AD65F0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要死因の推移(</a:t>
              </a:r>
              <a:r>
                <a:rPr lang="en-IN" altLang="ja-JP" sz="1400" noProof="1">
                  <a:solidFill>
                    <a:srgbClr val="000000"/>
                  </a:solidFill>
                  <a:latin typeface="Arial Black" pitchFamily="34" charset="0"/>
                  <a:ea typeface="HGP創英角ｺﾞｼｯｸUB" pitchFamily="50" charset="-128"/>
                </a:rPr>
                <a:t>1997</a:t>
              </a:r>
              <a:r>
                <a:rPr lang="ja-JP" altLang="en-US" sz="1400" noProof="1">
                  <a:solidFill>
                    <a:srgbClr val="000000"/>
                  </a:solidFill>
                  <a:latin typeface="Arial Black" pitchFamily="34" charset="0"/>
                  <a:ea typeface="HGP創英角ｺﾞｼｯｸUB" pitchFamily="50" charset="-128"/>
                </a:rPr>
                <a:t>年と2022年)</a:t>
              </a:r>
            </a:p>
          </p:txBody>
        </p:sp>
      </p:grpSp>
      <p:sp>
        <p:nvSpPr>
          <p:cNvPr id="12" name="テキスト ボックス 56">
            <a:extLst>
              <a:ext uri="{FF2B5EF4-FFF2-40B4-BE49-F238E27FC236}">
                <a16:creationId xmlns:a16="http://schemas.microsoft.com/office/drawing/2014/main" id="{21290F72-96E8-654B-EB26-2DA102871211}"/>
              </a:ext>
            </a:extLst>
          </p:cNvPr>
          <p:cNvSpPr txBox="1"/>
          <p:nvPr/>
        </p:nvSpPr>
        <p:spPr>
          <a:xfrm>
            <a:off x="200470" y="1102575"/>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1997年の死因のトップは結核であったが、2022年には6位に下がり、糖尿病は5位から1位に上がった。</a:t>
            </a:r>
          </a:p>
        </p:txBody>
      </p:sp>
      <p:sp>
        <p:nvSpPr>
          <p:cNvPr id="15" name="Oval 14">
            <a:extLst>
              <a:ext uri="{FF2B5EF4-FFF2-40B4-BE49-F238E27FC236}">
                <a16:creationId xmlns:a16="http://schemas.microsoft.com/office/drawing/2014/main" id="{03C687DB-493B-3055-34E3-9FA01D92A338}"/>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25" name="Oval 24">
            <a:extLst>
              <a:ext uri="{FF2B5EF4-FFF2-40B4-BE49-F238E27FC236}">
                <a16:creationId xmlns:a16="http://schemas.microsoft.com/office/drawing/2014/main" id="{220C6375-5BA2-CBF2-4713-13DFA8BE86E8}"/>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28" name="Oval 27">
            <a:extLst>
              <a:ext uri="{FF2B5EF4-FFF2-40B4-BE49-F238E27FC236}">
                <a16:creationId xmlns:a16="http://schemas.microsoft.com/office/drawing/2014/main" id="{D3F63E2F-2CA1-F700-2919-2F80E207F2B6}"/>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29" name="TextBox 28">
            <a:extLst>
              <a:ext uri="{FF2B5EF4-FFF2-40B4-BE49-F238E27FC236}">
                <a16:creationId xmlns:a16="http://schemas.microsoft.com/office/drawing/2014/main" id="{D0E9EB2A-78D2-39BF-E4C5-326D36AA7134}"/>
              </a:ext>
            </a:extLst>
          </p:cNvPr>
          <p:cNvSpPr txBox="1"/>
          <p:nvPr/>
        </p:nvSpPr>
        <p:spPr>
          <a:xfrm>
            <a:off x="4097326" y="21619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30" name="TextBox 29">
            <a:extLst>
              <a:ext uri="{FF2B5EF4-FFF2-40B4-BE49-F238E27FC236}">
                <a16:creationId xmlns:a16="http://schemas.microsoft.com/office/drawing/2014/main" id="{1C16DBA5-3AB5-23D5-DBAD-657E3A270417}"/>
              </a:ext>
            </a:extLst>
          </p:cNvPr>
          <p:cNvSpPr txBox="1"/>
          <p:nvPr/>
        </p:nvSpPr>
        <p:spPr>
          <a:xfrm>
            <a:off x="5166280" y="21619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31" name="Oval 30">
            <a:extLst>
              <a:ext uri="{FF2B5EF4-FFF2-40B4-BE49-F238E27FC236}">
                <a16:creationId xmlns:a16="http://schemas.microsoft.com/office/drawing/2014/main" id="{6ED4867C-C5B8-EC38-1C14-B71280023EDA}"/>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32" name="Oval 31">
            <a:extLst>
              <a:ext uri="{FF2B5EF4-FFF2-40B4-BE49-F238E27FC236}">
                <a16:creationId xmlns:a16="http://schemas.microsoft.com/office/drawing/2014/main" id="{BA9C4ACF-454D-0ABD-43C3-779D5A144FA8}"/>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3" name="Oval 32">
            <a:extLst>
              <a:ext uri="{FF2B5EF4-FFF2-40B4-BE49-F238E27FC236}">
                <a16:creationId xmlns:a16="http://schemas.microsoft.com/office/drawing/2014/main" id="{9E122255-7125-D912-87E4-9EAE330C90CE}"/>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34" name="Oval 33">
            <a:extLst>
              <a:ext uri="{FF2B5EF4-FFF2-40B4-BE49-F238E27FC236}">
                <a16:creationId xmlns:a16="http://schemas.microsoft.com/office/drawing/2014/main" id="{4F8443CC-3670-F4A0-29E0-C38C543BEDD8}"/>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35" name="Oval 34">
            <a:extLst>
              <a:ext uri="{FF2B5EF4-FFF2-40B4-BE49-F238E27FC236}">
                <a16:creationId xmlns:a16="http://schemas.microsoft.com/office/drawing/2014/main" id="{44C5CC9F-9A37-4A6C-F919-3FF30AD9C7CB}"/>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6" name="Oval 35">
            <a:extLst>
              <a:ext uri="{FF2B5EF4-FFF2-40B4-BE49-F238E27FC236}">
                <a16:creationId xmlns:a16="http://schemas.microsoft.com/office/drawing/2014/main" id="{71CC426D-DE24-35F9-FA36-09E920110EE3}"/>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37" name="Oval 36">
            <a:extLst>
              <a:ext uri="{FF2B5EF4-FFF2-40B4-BE49-F238E27FC236}">
                <a16:creationId xmlns:a16="http://schemas.microsoft.com/office/drawing/2014/main" id="{C9223A3A-98E8-C71A-1241-159DA1F126A8}"/>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40" name="Oval 39">
            <a:extLst>
              <a:ext uri="{FF2B5EF4-FFF2-40B4-BE49-F238E27FC236}">
                <a16:creationId xmlns:a16="http://schemas.microsoft.com/office/drawing/2014/main" id="{D50E97EB-884D-6C08-31C9-12B2CB49B20A}"/>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41" name="Oval 40">
            <a:extLst>
              <a:ext uri="{FF2B5EF4-FFF2-40B4-BE49-F238E27FC236}">
                <a16:creationId xmlns:a16="http://schemas.microsoft.com/office/drawing/2014/main" id="{B35F2AE5-7DF3-6F78-02D6-A0E7C4B258A8}"/>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42" name="Oval 41">
            <a:extLst>
              <a:ext uri="{FF2B5EF4-FFF2-40B4-BE49-F238E27FC236}">
                <a16:creationId xmlns:a16="http://schemas.microsoft.com/office/drawing/2014/main" id="{6A845C79-168C-5BBF-22BB-B5540043D4E1}"/>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43" name="Oval 42">
            <a:extLst>
              <a:ext uri="{FF2B5EF4-FFF2-40B4-BE49-F238E27FC236}">
                <a16:creationId xmlns:a16="http://schemas.microsoft.com/office/drawing/2014/main" id="{762B647A-9472-B2F0-6B78-F8EADA656701}"/>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44" name="Oval 43">
            <a:extLst>
              <a:ext uri="{FF2B5EF4-FFF2-40B4-BE49-F238E27FC236}">
                <a16:creationId xmlns:a16="http://schemas.microsoft.com/office/drawing/2014/main" id="{CE950AD4-5976-EB0D-1184-FF934763B36D}"/>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45" name="Oval 44">
            <a:extLst>
              <a:ext uri="{FF2B5EF4-FFF2-40B4-BE49-F238E27FC236}">
                <a16:creationId xmlns:a16="http://schemas.microsoft.com/office/drawing/2014/main" id="{0B62B4BA-587A-D2D1-21D1-B7E0A9E56E0A}"/>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46" name="Oval 45">
            <a:extLst>
              <a:ext uri="{FF2B5EF4-FFF2-40B4-BE49-F238E27FC236}">
                <a16:creationId xmlns:a16="http://schemas.microsoft.com/office/drawing/2014/main" id="{B1F80B43-2C9F-503F-8F0F-B03E2FF0ACA0}"/>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47" name="Oval 46">
            <a:extLst>
              <a:ext uri="{FF2B5EF4-FFF2-40B4-BE49-F238E27FC236}">
                <a16:creationId xmlns:a16="http://schemas.microsoft.com/office/drawing/2014/main" id="{235A93B5-E06B-0C94-1A2D-2EE03538DF90}"/>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48" name="Oval 47">
            <a:extLst>
              <a:ext uri="{FF2B5EF4-FFF2-40B4-BE49-F238E27FC236}">
                <a16:creationId xmlns:a16="http://schemas.microsoft.com/office/drawing/2014/main" id="{A5A32336-D9E6-5755-3AA4-7A7885EB52FF}"/>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49" name="Oval 48">
            <a:extLst>
              <a:ext uri="{FF2B5EF4-FFF2-40B4-BE49-F238E27FC236}">
                <a16:creationId xmlns:a16="http://schemas.microsoft.com/office/drawing/2014/main" id="{89CA059D-6423-E7C4-E4CF-0501750A91EC}"/>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65" name="TextBox 111">
            <a:extLst>
              <a:ext uri="{FF2B5EF4-FFF2-40B4-BE49-F238E27FC236}">
                <a16:creationId xmlns:a16="http://schemas.microsoft.com/office/drawing/2014/main" id="{DF06C998-94E9-70BE-6A86-65C6D1D47D8E}"/>
              </a:ext>
            </a:extLst>
          </p:cNvPr>
          <p:cNvSpPr txBox="1"/>
          <p:nvPr/>
        </p:nvSpPr>
        <p:spPr>
          <a:xfrm>
            <a:off x="6601687" y="1873431"/>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cxnSp>
        <p:nvCxnSpPr>
          <p:cNvPr id="16" name="Connector: Curved 15">
            <a:extLst>
              <a:ext uri="{FF2B5EF4-FFF2-40B4-BE49-F238E27FC236}">
                <a16:creationId xmlns:a16="http://schemas.microsoft.com/office/drawing/2014/main" id="{1DBEA8A2-3B0A-5720-7A92-ACF19E1C471B}"/>
              </a:ext>
            </a:extLst>
          </p:cNvPr>
          <p:cNvCxnSpPr>
            <a:cxnSpLocks/>
            <a:stCxn id="15" idx="6"/>
            <a:endCxn id="45" idx="2"/>
          </p:cNvCxnSpPr>
          <p:nvPr/>
        </p:nvCxnSpPr>
        <p:spPr>
          <a:xfrm>
            <a:off x="4528192" y="2657696"/>
            <a:ext cx="743963" cy="1693914"/>
          </a:xfrm>
          <a:prstGeom prst="curvedConnector3">
            <a:avLst>
              <a:gd name="adj1" fmla="val 48079"/>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2C9F6150-8ACD-F496-12F3-C4DBB3D91DEA}"/>
              </a:ext>
            </a:extLst>
          </p:cNvPr>
          <p:cNvCxnSpPr>
            <a:cxnSpLocks/>
            <a:stCxn id="25" idx="6"/>
            <a:endCxn id="42" idx="2"/>
          </p:cNvCxnSpPr>
          <p:nvPr/>
        </p:nvCxnSpPr>
        <p:spPr>
          <a:xfrm>
            <a:off x="4528192" y="2998801"/>
            <a:ext cx="743963" cy="1018934"/>
          </a:xfrm>
          <a:prstGeom prst="curvedConnector3">
            <a:avLst>
              <a:gd name="adj1" fmla="val 25674"/>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6EB591CA-F248-FB77-11D9-24FDA7B90184}"/>
              </a:ext>
            </a:extLst>
          </p:cNvPr>
          <p:cNvCxnSpPr>
            <a:cxnSpLocks/>
            <a:stCxn id="32" idx="6"/>
            <a:endCxn id="46" idx="2"/>
          </p:cNvCxnSpPr>
          <p:nvPr/>
        </p:nvCxnSpPr>
        <p:spPr>
          <a:xfrm>
            <a:off x="4528192" y="3684621"/>
            <a:ext cx="743963" cy="102478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CD3E29B1-3F2B-0393-7C74-CCAF357E8D34}"/>
              </a:ext>
            </a:extLst>
          </p:cNvPr>
          <p:cNvCxnSpPr>
            <a:cxnSpLocks/>
            <a:stCxn id="31" idx="6"/>
            <a:endCxn id="43" idx="2"/>
          </p:cNvCxnSpPr>
          <p:nvPr/>
        </p:nvCxnSpPr>
        <p:spPr>
          <a:xfrm>
            <a:off x="4528192" y="3351507"/>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B5B112CD-91B5-6E9F-D337-416A4DC24D5C}"/>
              </a:ext>
            </a:extLst>
          </p:cNvPr>
          <p:cNvCxnSpPr>
            <a:cxnSpLocks/>
            <a:stCxn id="28" idx="6"/>
            <a:endCxn id="40" idx="2"/>
          </p:cNvCxnSpPr>
          <p:nvPr/>
        </p:nvCxnSpPr>
        <p:spPr>
          <a:xfrm flipV="1">
            <a:off x="4528192" y="2657696"/>
            <a:ext cx="743963" cy="1360039"/>
          </a:xfrm>
          <a:prstGeom prst="curvedConnector3">
            <a:avLst>
              <a:gd name="adj1" fmla="val 60243"/>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0B2FEC7E-2652-68F6-D847-B54007C471E8}"/>
              </a:ext>
            </a:extLst>
          </p:cNvPr>
          <p:cNvCxnSpPr>
            <a:cxnSpLocks/>
            <a:stCxn id="33" idx="6"/>
            <a:endCxn id="49" idx="2"/>
          </p:cNvCxnSpPr>
          <p:nvPr/>
        </p:nvCxnSpPr>
        <p:spPr>
          <a:xfrm>
            <a:off x="4528192" y="4351610"/>
            <a:ext cx="743963" cy="1373360"/>
          </a:xfrm>
          <a:prstGeom prst="curvedConnector3">
            <a:avLst>
              <a:gd name="adj1" fmla="val 62163"/>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67">
            <a:extLst>
              <a:ext uri="{FF2B5EF4-FFF2-40B4-BE49-F238E27FC236}">
                <a16:creationId xmlns:a16="http://schemas.microsoft.com/office/drawing/2014/main" id="{94050D58-A972-A541-805B-AFAC2442E9FB}"/>
              </a:ext>
            </a:extLst>
          </p:cNvPr>
          <p:cNvCxnSpPr>
            <a:cxnSpLocks/>
            <a:stCxn id="34" idx="6"/>
            <a:endCxn id="48" idx="2"/>
          </p:cNvCxnSpPr>
          <p:nvPr/>
        </p:nvCxnSpPr>
        <p:spPr>
          <a:xfrm>
            <a:off x="4528192" y="4709407"/>
            <a:ext cx="743963" cy="64943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Curved 75">
            <a:extLst>
              <a:ext uri="{FF2B5EF4-FFF2-40B4-BE49-F238E27FC236}">
                <a16:creationId xmlns:a16="http://schemas.microsoft.com/office/drawing/2014/main" id="{BA2548FA-050C-33A0-B207-78C6FD674940}"/>
              </a:ext>
            </a:extLst>
          </p:cNvPr>
          <p:cNvCxnSpPr>
            <a:cxnSpLocks/>
            <a:stCxn id="36" idx="6"/>
            <a:endCxn id="41" idx="2"/>
          </p:cNvCxnSpPr>
          <p:nvPr/>
        </p:nvCxnSpPr>
        <p:spPr>
          <a:xfrm flipV="1">
            <a:off x="4528192" y="2998801"/>
            <a:ext cx="743963" cy="2360042"/>
          </a:xfrm>
          <a:prstGeom prst="curvedConnector3">
            <a:avLst>
              <a:gd name="adj1" fmla="val 64083"/>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81" name="テキスト ボックス 115">
            <a:extLst>
              <a:ext uri="{FF2B5EF4-FFF2-40B4-BE49-F238E27FC236}">
                <a16:creationId xmlns:a16="http://schemas.microsoft.com/office/drawing/2014/main" id="{33BE798B-7B1D-0A31-89BB-2D00E018BAB4}"/>
              </a:ext>
            </a:extLst>
          </p:cNvPr>
          <p:cNvSpPr txBox="1"/>
          <p:nvPr/>
        </p:nvSpPr>
        <p:spPr>
          <a:xfrm>
            <a:off x="200471" y="6597352"/>
            <a:ext cx="9433045" cy="144004"/>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Statistics南アフリカ「南アフリカにおける死亡率と死因:死亡通知からの知見」(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Oval 85">
            <a:extLst>
              <a:ext uri="{FF2B5EF4-FFF2-40B4-BE49-F238E27FC236}">
                <a16:creationId xmlns:a16="http://schemas.microsoft.com/office/drawing/2014/main" id="{16240FC9-F1E1-2F24-4EC4-AEE710333BCD}"/>
              </a:ext>
            </a:extLst>
          </p:cNvPr>
          <p:cNvSpPr/>
          <p:nvPr/>
        </p:nvSpPr>
        <p:spPr>
          <a:xfrm>
            <a:off x="5272155" y="594928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cxnSp>
        <p:nvCxnSpPr>
          <p:cNvPr id="87" name="Connector: Curved 86">
            <a:extLst>
              <a:ext uri="{FF2B5EF4-FFF2-40B4-BE49-F238E27FC236}">
                <a16:creationId xmlns:a16="http://schemas.microsoft.com/office/drawing/2014/main" id="{3C5E681D-494D-8680-642D-11BFD6E178C9}"/>
              </a:ext>
            </a:extLst>
          </p:cNvPr>
          <p:cNvCxnSpPr>
            <a:cxnSpLocks/>
            <a:stCxn id="35" idx="6"/>
            <a:endCxn id="86" idx="2"/>
          </p:cNvCxnSpPr>
          <p:nvPr/>
        </p:nvCxnSpPr>
        <p:spPr>
          <a:xfrm>
            <a:off x="4528192" y="5033877"/>
            <a:ext cx="743963" cy="1032103"/>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111">
            <a:extLst>
              <a:ext uri="{FF2B5EF4-FFF2-40B4-BE49-F238E27FC236}">
                <a16:creationId xmlns:a16="http://schemas.microsoft.com/office/drawing/2014/main" id="{927E8F61-B937-DF05-7CAA-4321BCED9401}"/>
              </a:ext>
            </a:extLst>
          </p:cNvPr>
          <p:cNvSpPr txBox="1"/>
          <p:nvPr/>
        </p:nvSpPr>
        <p:spPr>
          <a:xfrm>
            <a:off x="2769624" y="1873431"/>
            <a:ext cx="504056" cy="259879"/>
          </a:xfrm>
          <a:prstGeom prst="rect">
            <a:avLst/>
          </a:prstGeom>
          <a:noFill/>
        </p:spPr>
        <p:txBody>
          <a:bodyPr wrap="square" rtlCol="0">
            <a:spAutoFit/>
          </a:bodyPr>
          <a:lstStyle/>
          <a:p>
            <a:pPr algn="l">
              <a:lnSpc>
                <a:spcPct val="120000"/>
              </a:lnSpc>
            </a:pPr>
            <a:r>
              <a:rPr kumimoji="1" lang="en-IN" altLang="ja-JP" sz="1000" b="1" noProof="1"/>
              <a:t>1997</a:t>
            </a:r>
            <a:endParaRPr kumimoji="1" lang="ja-JP" altLang="en-US" sz="1000" b="1" dirty="0"/>
          </a:p>
        </p:txBody>
      </p:sp>
    </p:spTree>
    <p:extLst>
      <p:ext uri="{BB962C8B-B14F-4D97-AF65-F5344CB8AC3E}">
        <p14:creationId xmlns:p14="http://schemas.microsoft.com/office/powerpoint/2010/main" val="3197869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extLst>
              <p:ext uri="{D42A27DB-BD31-4B8C-83A1-F6EECF244321}">
                <p14:modId xmlns:p14="http://schemas.microsoft.com/office/powerpoint/2010/main" val="4463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a:t>
            </a:r>
            <a:endParaRPr lang="en-US" altLang="ja-JP" dirty="0"/>
          </a:p>
        </p:txBody>
      </p:sp>
      <p:sp>
        <p:nvSpPr>
          <p:cNvPr id="25" name="テキスト ボックス 2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以上は公立病院にかか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私立病院への受診は民間医療保険への加入が前提になっていることが多い。</a:t>
            </a:r>
          </a:p>
        </p:txBody>
      </p:sp>
      <p:sp>
        <p:nvSpPr>
          <p:cNvPr id="29" name="テキスト ボックス 28"/>
          <p:cNvSpPr txBox="1"/>
          <p:nvPr/>
        </p:nvSpPr>
        <p:spPr>
          <a:xfrm>
            <a:off x="308482" y="6617177"/>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undation for Innovative New Diagnostics (FIND),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南アフリカ日本国大使館</a:t>
            </a:r>
            <a:endParaRPr lang="ja-JP" altLang="ja-JP" sz="800" dirty="0"/>
          </a:p>
        </p:txBody>
      </p:sp>
      <p:grpSp>
        <p:nvGrpSpPr>
          <p:cNvPr id="33" name="グループ化 7"/>
          <p:cNvGrpSpPr/>
          <p:nvPr/>
        </p:nvGrpSpPr>
        <p:grpSpPr>
          <a:xfrm>
            <a:off x="200473" y="1840077"/>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立病院</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4952999" y="1840077"/>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私立病院</a:t>
              </a:r>
              <a:endParaRPr lang="en-US" altLang="ko-KR" sz="1400" dirty="0">
                <a:solidFill>
                  <a:srgbClr val="000000"/>
                </a:solidFill>
                <a:latin typeface="Arial Black" pitchFamily="34" charset="0"/>
                <a:ea typeface="HGP創英角ｺﾞｼｯｸUB" pitchFamily="50" charset="-128"/>
              </a:endParaRPr>
            </a:p>
          </p:txBody>
        </p:sp>
      </p:grpSp>
      <p:sp>
        <p:nvSpPr>
          <p:cNvPr id="5" name="Rectangle 4">
            <a:extLst>
              <a:ext uri="{FF2B5EF4-FFF2-40B4-BE49-F238E27FC236}">
                <a16:creationId xmlns:a16="http://schemas.microsoft.com/office/drawing/2014/main" id="{C24BA506-7CD8-429E-813F-B47CC770404A}"/>
              </a:ext>
            </a:extLst>
          </p:cNvPr>
          <p:cNvSpPr/>
          <p:nvPr/>
        </p:nvSpPr>
        <p:spPr>
          <a:xfrm>
            <a:off x="326567" y="2872750"/>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中央病院</a:t>
            </a:r>
            <a:endParaRPr kumimoji="1" lang="en-US" sz="1200" dirty="0"/>
          </a:p>
        </p:txBody>
      </p:sp>
      <p:sp>
        <p:nvSpPr>
          <p:cNvPr id="20" name="Rectangle 19">
            <a:extLst>
              <a:ext uri="{FF2B5EF4-FFF2-40B4-BE49-F238E27FC236}">
                <a16:creationId xmlns:a16="http://schemas.microsoft.com/office/drawing/2014/main" id="{73AEAE63-6A4E-4FDB-91EA-09D1A2556611}"/>
              </a:ext>
            </a:extLst>
          </p:cNvPr>
          <p:cNvSpPr/>
          <p:nvPr/>
        </p:nvSpPr>
        <p:spPr>
          <a:xfrm>
            <a:off x="329638" y="343377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Tertiary Hospitals</a:t>
            </a:r>
          </a:p>
        </p:txBody>
      </p:sp>
      <p:sp>
        <p:nvSpPr>
          <p:cNvPr id="21" name="Rectangle 20">
            <a:extLst>
              <a:ext uri="{FF2B5EF4-FFF2-40B4-BE49-F238E27FC236}">
                <a16:creationId xmlns:a16="http://schemas.microsoft.com/office/drawing/2014/main" id="{7ADD1C58-3B9F-4E63-AF1E-43C9CDAFB023}"/>
              </a:ext>
            </a:extLst>
          </p:cNvPr>
          <p:cNvSpPr/>
          <p:nvPr/>
        </p:nvSpPr>
        <p:spPr>
          <a:xfrm>
            <a:off x="326567" y="4003878"/>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Regional Hospitals</a:t>
            </a:r>
          </a:p>
        </p:txBody>
      </p:sp>
      <p:sp>
        <p:nvSpPr>
          <p:cNvPr id="22" name="Rectangle 21">
            <a:extLst>
              <a:ext uri="{FF2B5EF4-FFF2-40B4-BE49-F238E27FC236}">
                <a16:creationId xmlns:a16="http://schemas.microsoft.com/office/drawing/2014/main" id="{DEEC9428-8DAF-40F1-B46D-F80465E6A91A}"/>
              </a:ext>
            </a:extLst>
          </p:cNvPr>
          <p:cNvSpPr/>
          <p:nvPr/>
        </p:nvSpPr>
        <p:spPr>
          <a:xfrm>
            <a:off x="317590" y="4573977"/>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District hospitals </a:t>
            </a:r>
            <a:r>
              <a:rPr kumimoji="1" lang="ja-JP" altLang="en-US" sz="1200" dirty="0"/>
              <a:t>郡病院</a:t>
            </a:r>
            <a:endParaRPr kumimoji="1" lang="en-US" sz="1200" dirty="0"/>
          </a:p>
        </p:txBody>
      </p:sp>
      <p:sp>
        <p:nvSpPr>
          <p:cNvPr id="23" name="Rectangle 22">
            <a:extLst>
              <a:ext uri="{FF2B5EF4-FFF2-40B4-BE49-F238E27FC236}">
                <a16:creationId xmlns:a16="http://schemas.microsoft.com/office/drawing/2014/main" id="{787CF275-E93C-4B50-A0CA-FF222A3D8702}"/>
              </a:ext>
            </a:extLst>
          </p:cNvPr>
          <p:cNvSpPr/>
          <p:nvPr/>
        </p:nvSpPr>
        <p:spPr>
          <a:xfrm>
            <a:off x="317590" y="540541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プライマリーケア</a:t>
            </a:r>
            <a:endParaRPr kumimoji="1" lang="en-US" sz="1200" dirty="0"/>
          </a:p>
        </p:txBody>
      </p:sp>
      <p:sp>
        <p:nvSpPr>
          <p:cNvPr id="30" name="TextBox 29">
            <a:extLst>
              <a:ext uri="{FF2B5EF4-FFF2-40B4-BE49-F238E27FC236}">
                <a16:creationId xmlns:a16="http://schemas.microsoft.com/office/drawing/2014/main" id="{ED570B8E-5720-4D4C-84BA-54A0B8C32E49}"/>
              </a:ext>
            </a:extLst>
          </p:cNvPr>
          <p:cNvSpPr txBox="1"/>
          <p:nvPr/>
        </p:nvSpPr>
        <p:spPr>
          <a:xfrm>
            <a:off x="2522732" y="2883465"/>
            <a:ext cx="2044234" cy="246221"/>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13</a:t>
            </a:r>
            <a:r>
              <a:rPr lang="ja-JP" altLang="en-US" sz="1000" dirty="0"/>
              <a:t>か所</a:t>
            </a:r>
            <a:endParaRPr lang="en-US" sz="1000" dirty="0"/>
          </a:p>
        </p:txBody>
      </p:sp>
      <p:sp>
        <p:nvSpPr>
          <p:cNvPr id="41" name="テキスト ボックス 24">
            <a:extLst>
              <a:ext uri="{FF2B5EF4-FFF2-40B4-BE49-F238E27FC236}">
                <a16:creationId xmlns:a16="http://schemas.microsoft.com/office/drawing/2014/main" id="{149DD202-C1FB-4FAD-97B5-A39E1FC8B186}"/>
              </a:ext>
            </a:extLst>
          </p:cNvPr>
          <p:cNvSpPr txBox="1"/>
          <p:nvPr/>
        </p:nvSpPr>
        <p:spPr>
          <a:xfrm>
            <a:off x="5097016" y="2156383"/>
            <a:ext cx="4176464" cy="2295693"/>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現在、私立の急性期病院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クリニック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リハビリ施設や精神病施設など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あり、合計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床以上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Netcare, Lif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care, Mediclini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大医療系グループが病床ベースで私立病院・クリニックの約３分の２を占め、４分の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ospital Network</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その他私立病院の任意団体）に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や検査会社（血液・</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など）は各病院の中で開業する形となっており、治療費はそれぞれ個別に請求される。利用にあたっては、保険会社の支払い保証を求め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a:extLst>
              <a:ext uri="{FF2B5EF4-FFF2-40B4-BE49-F238E27FC236}">
                <a16:creationId xmlns:a16="http://schemas.microsoft.com/office/drawing/2014/main" id="{136411A2-971C-4E95-AE53-CFC209776CFF}"/>
              </a:ext>
            </a:extLst>
          </p:cNvPr>
          <p:cNvSpPr txBox="1"/>
          <p:nvPr/>
        </p:nvSpPr>
        <p:spPr>
          <a:xfrm>
            <a:off x="2522732" y="5326894"/>
            <a:ext cx="2359813" cy="1169551"/>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3,800</a:t>
            </a:r>
            <a:r>
              <a:rPr lang="ja-JP" altLang="en-US" sz="1000" dirty="0"/>
              <a:t>の公立クリニック</a:t>
            </a:r>
            <a:endParaRPr lang="en-US" altLang="ja-JP" sz="1000" dirty="0"/>
          </a:p>
          <a:p>
            <a:pPr marL="171450" indent="-171450">
              <a:buFont typeface="Arial" panose="020B0604020202020204" pitchFamily="34" charset="0"/>
              <a:buChar char="•"/>
            </a:pPr>
            <a:r>
              <a:rPr lang="en-US" altLang="ja-JP" sz="1000" dirty="0"/>
              <a:t>Ward</a:t>
            </a:r>
            <a:r>
              <a:rPr lang="ja-JP" altLang="en-US" sz="1000" dirty="0"/>
              <a:t>単位のプライマリーヘルスケア・アウトリーチチーム（看護師およびコミュニティヘルスワーカーからなる）が</a:t>
            </a:r>
            <a:r>
              <a:rPr lang="en-US" altLang="ja-JP" sz="1000" dirty="0"/>
              <a:t>7,800</a:t>
            </a:r>
            <a:r>
              <a:rPr lang="ja-JP" altLang="en-US" sz="1000" dirty="0"/>
              <a:t>チーム必要とされているものの、実際に活動しているのはその</a:t>
            </a:r>
            <a:r>
              <a:rPr lang="en-US" altLang="ja-JP" sz="1000" dirty="0"/>
              <a:t>42%</a:t>
            </a:r>
            <a:r>
              <a:rPr lang="ja-JP" altLang="en-US" sz="1000" dirty="0"/>
              <a:t>程度と推計される</a:t>
            </a:r>
            <a:endParaRPr lang="en-US" sz="1000" dirty="0"/>
          </a:p>
        </p:txBody>
      </p:sp>
      <p:sp>
        <p:nvSpPr>
          <p:cNvPr id="45" name="TextBox 44">
            <a:extLst>
              <a:ext uri="{FF2B5EF4-FFF2-40B4-BE49-F238E27FC236}">
                <a16:creationId xmlns:a16="http://schemas.microsoft.com/office/drawing/2014/main" id="{6E1E6EBA-09FB-489D-B961-072D593C8136}"/>
              </a:ext>
            </a:extLst>
          </p:cNvPr>
          <p:cNvSpPr txBox="1"/>
          <p:nvPr/>
        </p:nvSpPr>
        <p:spPr>
          <a:xfrm>
            <a:off x="2523180" y="3296709"/>
            <a:ext cx="2429818" cy="553998"/>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21</a:t>
            </a:r>
            <a:r>
              <a:rPr lang="ja-JP" altLang="en-US" sz="1000" dirty="0"/>
              <a:t>か所</a:t>
            </a:r>
          </a:p>
          <a:p>
            <a:pPr marL="171450" indent="-171450">
              <a:buFont typeface="Arial" panose="020B0604020202020204" pitchFamily="34" charset="0"/>
              <a:buChar char="•"/>
            </a:pPr>
            <a:r>
              <a:rPr lang="ja-JP" altLang="en-US" sz="1000" dirty="0"/>
              <a:t>高度専門医が所属し、集中ケアを提供</a:t>
            </a:r>
          </a:p>
          <a:p>
            <a:pPr marL="171450" indent="-171450">
              <a:buFont typeface="Arial" panose="020B0604020202020204" pitchFamily="34" charset="0"/>
              <a:buChar char="•"/>
            </a:pPr>
            <a:r>
              <a:rPr lang="ja-JP" altLang="en-US" sz="1000" dirty="0"/>
              <a:t>平均</a:t>
            </a:r>
            <a:r>
              <a:rPr lang="en-US" altLang="ja-JP" sz="1000" dirty="0"/>
              <a:t>400-800</a:t>
            </a:r>
            <a:r>
              <a:rPr lang="ja-JP" altLang="en-US" sz="1000" dirty="0"/>
              <a:t>床</a:t>
            </a:r>
            <a:endParaRPr lang="en-US" sz="1000" dirty="0"/>
          </a:p>
        </p:txBody>
      </p:sp>
      <p:sp>
        <p:nvSpPr>
          <p:cNvPr id="46" name="TextBox 45">
            <a:extLst>
              <a:ext uri="{FF2B5EF4-FFF2-40B4-BE49-F238E27FC236}">
                <a16:creationId xmlns:a16="http://schemas.microsoft.com/office/drawing/2014/main" id="{151D5B92-E741-44D4-9A87-427097AE8D5A}"/>
              </a:ext>
            </a:extLst>
          </p:cNvPr>
          <p:cNvSpPr txBox="1"/>
          <p:nvPr/>
        </p:nvSpPr>
        <p:spPr>
          <a:xfrm>
            <a:off x="2522732" y="3941654"/>
            <a:ext cx="2044234" cy="553998"/>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5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専門医が所属</a:t>
            </a:r>
            <a:endParaRPr lang="en-US" altLang="ja-JP" sz="1000" dirty="0"/>
          </a:p>
          <a:p>
            <a:pPr marL="171450" indent="-171450">
              <a:buFont typeface="Arial" panose="020B0604020202020204" pitchFamily="34" charset="0"/>
              <a:buChar char="•"/>
            </a:pPr>
            <a:r>
              <a:rPr lang="ja-JP" altLang="en-US" sz="1000" dirty="0"/>
              <a:t>平均</a:t>
            </a:r>
            <a:r>
              <a:rPr lang="en-US" altLang="ja-JP" sz="1000" dirty="0"/>
              <a:t>200-800</a:t>
            </a:r>
            <a:r>
              <a:rPr lang="ja-JP" altLang="en-US" sz="1000" dirty="0"/>
              <a:t>床</a:t>
            </a:r>
            <a:endParaRPr lang="en-US" altLang="ja-JP" sz="1000" dirty="0"/>
          </a:p>
        </p:txBody>
      </p:sp>
      <p:sp>
        <p:nvSpPr>
          <p:cNvPr id="47" name="TextBox 46">
            <a:extLst>
              <a:ext uri="{FF2B5EF4-FFF2-40B4-BE49-F238E27FC236}">
                <a16:creationId xmlns:a16="http://schemas.microsoft.com/office/drawing/2014/main" id="{D5A212BB-886B-4701-84FD-95C48A22F918}"/>
              </a:ext>
            </a:extLst>
          </p:cNvPr>
          <p:cNvSpPr txBox="1"/>
          <p:nvPr/>
        </p:nvSpPr>
        <p:spPr>
          <a:xfrm>
            <a:off x="2522732" y="4518773"/>
            <a:ext cx="2044234" cy="707886"/>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26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一般医（</a:t>
            </a:r>
            <a:r>
              <a:rPr lang="en-US" altLang="ja-JP" sz="1000" dirty="0"/>
              <a:t>GP</a:t>
            </a:r>
            <a:r>
              <a:rPr lang="ja-JP" altLang="en-US" sz="1000" dirty="0"/>
              <a:t>）が所属</a:t>
            </a:r>
          </a:p>
          <a:p>
            <a:pPr marL="171450" indent="-171450">
              <a:buFont typeface="Arial" panose="020B0604020202020204" pitchFamily="34" charset="0"/>
              <a:buChar char="•"/>
            </a:pPr>
            <a:r>
              <a:rPr lang="ja-JP" altLang="en-US" sz="1000" dirty="0"/>
              <a:t>小規模なところで</a:t>
            </a:r>
            <a:r>
              <a:rPr lang="en-US" altLang="ja-JP" sz="1000" dirty="0"/>
              <a:t>50-150</a:t>
            </a:r>
            <a:r>
              <a:rPr lang="ja-JP" altLang="en-US" sz="1000" dirty="0"/>
              <a:t>床、大規模なところでは</a:t>
            </a:r>
            <a:r>
              <a:rPr lang="en-US" altLang="ja-JP" sz="1000" dirty="0"/>
              <a:t>300-600</a:t>
            </a:r>
            <a:r>
              <a:rPr lang="ja-JP" altLang="en-US" sz="1000" dirty="0"/>
              <a:t>床</a:t>
            </a:r>
            <a:endParaRPr lang="en-US" sz="1000" dirty="0"/>
          </a:p>
        </p:txBody>
      </p:sp>
      <p:cxnSp>
        <p:nvCxnSpPr>
          <p:cNvPr id="9" name="Straight Arrow Connector 8">
            <a:extLst>
              <a:ext uri="{FF2B5EF4-FFF2-40B4-BE49-F238E27FC236}">
                <a16:creationId xmlns:a16="http://schemas.microsoft.com/office/drawing/2014/main" id="{19696536-62BA-4154-AE2D-A2DBCE15F9C6}"/>
              </a:ext>
            </a:extLst>
          </p:cNvPr>
          <p:cNvCxnSpPr>
            <a:cxnSpLocks/>
            <a:stCxn id="23" idx="0"/>
            <a:endCxn id="22" idx="2"/>
          </p:cNvCxnSpPr>
          <p:nvPr/>
        </p:nvCxnSpPr>
        <p:spPr>
          <a:xfrm flipV="1">
            <a:off x="1289698" y="4862009"/>
            <a:ext cx="0" cy="54341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8B44F57-F64F-48F8-AF16-E22F213D553C}"/>
              </a:ext>
            </a:extLst>
          </p:cNvPr>
          <p:cNvCxnSpPr>
            <a:cxnSpLocks/>
            <a:stCxn id="22" idx="0"/>
            <a:endCxn id="21" idx="2"/>
          </p:cNvCxnSpPr>
          <p:nvPr/>
        </p:nvCxnSpPr>
        <p:spPr>
          <a:xfrm flipV="1">
            <a:off x="1289698" y="4291910"/>
            <a:ext cx="8977"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9632037-48D5-4FAD-9E5A-2DBE73E027B5}"/>
              </a:ext>
            </a:extLst>
          </p:cNvPr>
          <p:cNvCxnSpPr>
            <a:cxnSpLocks/>
            <a:stCxn id="21" idx="0"/>
            <a:endCxn id="20" idx="2"/>
          </p:cNvCxnSpPr>
          <p:nvPr/>
        </p:nvCxnSpPr>
        <p:spPr>
          <a:xfrm flipV="1">
            <a:off x="1298675" y="3721811"/>
            <a:ext cx="3071"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D244FAD-A86D-42B6-9D23-A60B6A539007}"/>
              </a:ext>
            </a:extLst>
          </p:cNvPr>
          <p:cNvCxnSpPr>
            <a:cxnSpLocks/>
            <a:stCxn id="20" idx="0"/>
            <a:endCxn id="5" idx="2"/>
          </p:cNvCxnSpPr>
          <p:nvPr/>
        </p:nvCxnSpPr>
        <p:spPr>
          <a:xfrm flipH="1" flipV="1">
            <a:off x="1298675" y="3160782"/>
            <a:ext cx="3071" cy="2729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24">
            <a:extLst>
              <a:ext uri="{FF2B5EF4-FFF2-40B4-BE49-F238E27FC236}">
                <a16:creationId xmlns:a16="http://schemas.microsoft.com/office/drawing/2014/main" id="{8C32CC8D-E816-4FE7-9863-6E6FAECF12FA}"/>
              </a:ext>
            </a:extLst>
          </p:cNvPr>
          <p:cNvSpPr txBox="1"/>
          <p:nvPr/>
        </p:nvSpPr>
        <p:spPr>
          <a:xfrm>
            <a:off x="317588" y="2185087"/>
            <a:ext cx="4527401" cy="617670"/>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患者はまずはクリニックもしくは郡立病院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診察を受けたのち、必要に応じてより上位の病院に紹介される。</a:t>
            </a: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所得者には無料で医療サービスが提供される。</a:t>
            </a:r>
          </a:p>
        </p:txBody>
      </p:sp>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うち、南アフリカの教育機関としての役割を担う主要な病院には以下がある。</a:t>
            </a: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リサーチ</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476054148"/>
              </p:ext>
            </p:extLst>
          </p:nvPr>
        </p:nvGraphicFramePr>
        <p:xfrm>
          <a:off x="416496" y="1556792"/>
          <a:ext cx="9001004" cy="3756660"/>
        </p:xfrm>
        <a:graphic>
          <a:graphicData uri="http://schemas.openxmlformats.org/drawingml/2006/table">
            <a:tbl>
              <a:tblPr firstRow="1" bandRow="1">
                <a:tableStyleId>{5C22544A-7EE6-4342-B048-85BDC9FD1C3A}</a:tableStyleId>
              </a:tblPr>
              <a:tblGrid>
                <a:gridCol w="1563706">
                  <a:extLst>
                    <a:ext uri="{9D8B030D-6E8A-4147-A177-3AD203B41FA5}">
                      <a16:colId xmlns:a16="http://schemas.microsoft.com/office/drawing/2014/main" val="20001"/>
                    </a:ext>
                  </a:extLst>
                </a:gridCol>
                <a:gridCol w="1563706">
                  <a:extLst>
                    <a:ext uri="{9D8B030D-6E8A-4147-A177-3AD203B41FA5}">
                      <a16:colId xmlns:a16="http://schemas.microsoft.com/office/drawing/2014/main" val="2472286591"/>
                    </a:ext>
                  </a:extLst>
                </a:gridCol>
                <a:gridCol w="1468398">
                  <a:extLst>
                    <a:ext uri="{9D8B030D-6E8A-4147-A177-3AD203B41FA5}">
                      <a16:colId xmlns:a16="http://schemas.microsoft.com/office/drawing/2014/main" val="3386509722"/>
                    </a:ext>
                  </a:extLst>
                </a:gridCol>
                <a:gridCol w="1468398">
                  <a:extLst>
                    <a:ext uri="{9D8B030D-6E8A-4147-A177-3AD203B41FA5}">
                      <a16:colId xmlns:a16="http://schemas.microsoft.com/office/drawing/2014/main" val="1706018260"/>
                    </a:ext>
                  </a:extLst>
                </a:gridCol>
                <a:gridCol w="1468398">
                  <a:extLst>
                    <a:ext uri="{9D8B030D-6E8A-4147-A177-3AD203B41FA5}">
                      <a16:colId xmlns:a16="http://schemas.microsoft.com/office/drawing/2014/main" val="3087748107"/>
                    </a:ext>
                  </a:extLst>
                </a:gridCol>
                <a:gridCol w="1468398">
                  <a:extLst>
                    <a:ext uri="{9D8B030D-6E8A-4147-A177-3AD203B41FA5}">
                      <a16:colId xmlns:a16="http://schemas.microsoft.com/office/drawing/2014/main" val="4188819399"/>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中央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協定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ベッド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algn="l" fontAlgn="ctr"/>
                      <a:r>
                        <a:rPr kumimoji="1" lang="en-US" sz="1200" kern="1200" dirty="0">
                          <a:solidFill>
                            <a:schemeClr val="tx1"/>
                          </a:solidFill>
                          <a:latin typeface="+mj-lt"/>
                          <a:ea typeface="ＭＳ Ｐゴシック" panose="020B0600070205080204" pitchFamily="50" charset="-128"/>
                          <a:cs typeface="Arial" panose="020B0604020202020204" pitchFamily="34" charset="0"/>
                        </a:rPr>
                        <a:t>Chris Hani Baragwanath Academic Hospita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University of the Witwatersrand Medical Schoo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4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Johannesburg</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ヨハネスブルク）</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mj-lt"/>
                          <a:ea typeface="游ゴシック" panose="020B0400000000000000" pitchFamily="50" charset="-128"/>
                        </a:rPr>
                        <a:t>3,200</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5">
                            <a:extLst>
                              <a:ext uri="{A12FA001-AC4F-418D-AE19-62706E023703}">
                                <ahyp:hlinkClr xmlns:ahyp="http://schemas.microsoft.com/office/drawing/2018/hyperlinkcolor" val="tx"/>
                              </a:ext>
                            </a:extLst>
                          </a:hlinkClick>
                        </a:rPr>
                        <a:t>https://www.chrishanibaragwanathhospital.co.za/</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37636">
                <a:tc>
                  <a:txBody>
                    <a:bodyPr/>
                    <a:lstStyle/>
                    <a:p>
                      <a:pPr algn="l" fontAlgn="ctr"/>
                      <a:r>
                        <a:rPr kumimoji="1" lang="en-US" sz="1200" kern="1200" dirty="0">
                          <a:solidFill>
                            <a:schemeClr val="tx1"/>
                          </a:solidFill>
                          <a:latin typeface="+mj-lt"/>
                          <a:ea typeface="ＭＳ Ｐゴシック" panose="020B0600070205080204" pitchFamily="50" charset="-128"/>
                          <a:cs typeface="Arial" panose="020B0604020202020204" pitchFamily="34" charset="0"/>
                        </a:rPr>
                        <a:t>Dr George </a:t>
                      </a:r>
                      <a:r>
                        <a:rPr kumimoji="1" lang="en-US" sz="1200" kern="1200" dirty="0" err="1">
                          <a:solidFill>
                            <a:schemeClr val="tx1"/>
                          </a:solidFill>
                          <a:latin typeface="+mj-lt"/>
                          <a:ea typeface="ＭＳ Ｐゴシック" panose="020B0600070205080204" pitchFamily="50" charset="-128"/>
                          <a:cs typeface="Arial" panose="020B0604020202020204" pitchFamily="34" charset="0"/>
                        </a:rPr>
                        <a:t>Mukhari</a:t>
                      </a:r>
                      <a:r>
                        <a:rPr kumimoji="1" lang="en-US" sz="1200" kern="1200" dirty="0">
                          <a:solidFill>
                            <a:schemeClr val="tx1"/>
                          </a:solidFill>
                          <a:latin typeface="+mj-lt"/>
                          <a:ea typeface="ＭＳ Ｐゴシック" panose="020B0600070205080204" pitchFamily="50" charset="-128"/>
                          <a:cs typeface="Arial" panose="020B0604020202020204" pitchFamily="34" charset="0"/>
                        </a:rPr>
                        <a:t>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dirty="0" err="1">
                          <a:solidFill>
                            <a:schemeClr val="tx1"/>
                          </a:solidFill>
                          <a:latin typeface="+mj-lt"/>
                          <a:ea typeface="ＭＳ Ｐゴシック" panose="020B0600070205080204" pitchFamily="50" charset="-128"/>
                          <a:cs typeface="Arial" panose="020B0604020202020204" pitchFamily="34" charset="0"/>
                        </a:rPr>
                        <a:t>Sefako</a:t>
                      </a:r>
                      <a:r>
                        <a:rPr kumimoji="1" lang="en-US" sz="1200" kern="1200" dirty="0">
                          <a:solidFill>
                            <a:schemeClr val="tx1"/>
                          </a:solidFill>
                          <a:latin typeface="+mj-lt"/>
                          <a:ea typeface="ＭＳ Ｐゴシック" panose="020B0600070205080204" pitchFamily="50" charset="-128"/>
                          <a:cs typeface="Arial" panose="020B0604020202020204" pitchFamily="34" charset="0"/>
                        </a:rPr>
                        <a:t>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7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Pretoria</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65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sng" strike="noStrike" dirty="0">
                          <a:solidFill>
                            <a:schemeClr val="tx1"/>
                          </a:solidFill>
                          <a:effectLst/>
                          <a:latin typeface="+mj-lt"/>
                          <a:ea typeface="游ゴシック" panose="020B0400000000000000" pitchFamily="50" charset="-128"/>
                        </a:rPr>
                        <a:t>https://www.nioh.ac.za/wp-content/uploads/2020/08/Updated-Sr-Lesego-Seabelo-COVID-19-EXPERIENCES.pdf</a:t>
                      </a:r>
                    </a:p>
                    <a:p>
                      <a:pPr algn="l" fontAlgn="ctr"/>
                      <a:r>
                        <a:rPr lang="en-US" sz="800" b="0" i="0" u="sng" strike="noStrike" dirty="0">
                          <a:solidFill>
                            <a:schemeClr val="tx1"/>
                          </a:solidFill>
                          <a:effectLst/>
                          <a:latin typeface="+mj-lt"/>
                          <a:ea typeface="游ゴシック" panose="020B0400000000000000" pitchFamily="50" charset="-128"/>
                        </a:rPr>
                        <a:t>https://www.wikiwand.com/en/Dr_George_Mukhari_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39618597"/>
                  </a:ext>
                </a:extLst>
              </a:tr>
              <a:tr h="537636">
                <a:tc>
                  <a:txBody>
                    <a:bodyPr/>
                    <a:lstStyle/>
                    <a:p>
                      <a:pPr algn="l" fontAlgn="ctr"/>
                      <a:r>
                        <a:rPr kumimoji="1" lang="en-US" sz="1200" kern="1200" dirty="0" err="1">
                          <a:solidFill>
                            <a:schemeClr val="tx1"/>
                          </a:solidFill>
                          <a:latin typeface="+mj-lt"/>
                          <a:ea typeface="ＭＳ Ｐゴシック" panose="020B0600070205080204" pitchFamily="50" charset="-128"/>
                          <a:cs typeface="Arial" panose="020B0604020202020204" pitchFamily="34" charset="0"/>
                        </a:rPr>
                        <a:t>Weskoppies</a:t>
                      </a:r>
                      <a:r>
                        <a:rPr kumimoji="1" lang="en-US" sz="1200" kern="1200" dirty="0">
                          <a:solidFill>
                            <a:schemeClr val="tx1"/>
                          </a:solidFill>
                          <a:latin typeface="+mj-lt"/>
                          <a:ea typeface="ＭＳ Ｐゴシック" panose="020B0600070205080204" pitchFamily="50" charset="-128"/>
                          <a:cs typeface="Arial" panose="020B0604020202020204" pitchFamily="34" charset="0"/>
                        </a:rPr>
                        <a:t>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University of Pretoria, Sefako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89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Pretoria</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400</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6">
                            <a:extLst>
                              <a:ext uri="{A12FA001-AC4F-418D-AE19-62706E023703}">
                                <ahyp:hlinkClr xmlns:ahyp="http://schemas.microsoft.com/office/drawing/2018/hyperlinkcolor" val="tx"/>
                              </a:ext>
                            </a:extLst>
                          </a:hlinkClick>
                        </a:rPr>
                        <a:t>https://www.up.ac.za/psychiatry/article/1949330/weskoppies-hospital</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18359870"/>
                  </a:ext>
                </a:extLst>
              </a:tr>
              <a:tr h="422536">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Tygerberg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Cape Peninsula University of Technolog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76</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Cape Town</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ケープタウン）</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384</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7">
                            <a:extLst>
                              <a:ext uri="{A12FA001-AC4F-418D-AE19-62706E023703}">
                                <ahyp:hlinkClr xmlns:ahyp="http://schemas.microsoft.com/office/drawing/2018/hyperlinkcolor" val="tx"/>
                              </a:ext>
                            </a:extLst>
                          </a:hlinkClick>
                        </a:rPr>
                        <a:t>https://www.cput.ac.za/about/visit/tygerberg-hospital</a:t>
                      </a:r>
                      <a:endParaRPr lang="en-US" sz="800" b="0" i="0" u="none" strike="noStrike" dirty="0">
                        <a:solidFill>
                          <a:schemeClr val="tx1"/>
                        </a:solidFill>
                        <a:effectLst/>
                        <a:latin typeface="+mj-lt"/>
                        <a:ea typeface="游ゴシック" panose="020B0400000000000000" pitchFamily="50" charset="-128"/>
                      </a:endParaRPr>
                    </a:p>
                    <a:p>
                      <a:pPr algn="l" fontAlgn="ctr"/>
                      <a:r>
                        <a:rPr lang="en-US" sz="800" b="0" i="0" u="none" strike="noStrike" dirty="0">
                          <a:solidFill>
                            <a:schemeClr val="tx1"/>
                          </a:solidFill>
                          <a:effectLst/>
                          <a:latin typeface="+mj-lt"/>
                          <a:ea typeface="游ゴシック" panose="020B0400000000000000" pitchFamily="50" charset="-128"/>
                          <a:hlinkClick r:id="rId8">
                            <a:extLst>
                              <a:ext uri="{A12FA001-AC4F-418D-AE19-62706E023703}">
                                <ahyp:hlinkClr xmlns:ahyp="http://schemas.microsoft.com/office/drawing/2018/hyperlinkcolor" val="tx"/>
                              </a:ext>
                            </a:extLst>
                          </a:hlinkClick>
                        </a:rPr>
                        <a:t>https://www.westerncape.gov.za/assets/departments/health/tygerberg_hospital_information_pamphlet_-_2016.pdf</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algn="l" fontAlgn="ctr"/>
                      <a:r>
                        <a:rPr lang="en-US" sz="1100" b="0" i="0" u="none" strike="noStrike">
                          <a:solidFill>
                            <a:srgbClr val="000000"/>
                          </a:solidFill>
                          <a:effectLst/>
                          <a:latin typeface="+mj-lt"/>
                          <a:ea typeface="游ゴシック" panose="020B0400000000000000" pitchFamily="50" charset="-128"/>
                        </a:rPr>
                        <a:t>Steve Biko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mj-lt"/>
                          <a:ea typeface="游ゴシック" panose="020B0400000000000000" pitchFamily="50" charset="-128"/>
                        </a:rPr>
                        <a:t>University of Pretoria </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932</a:t>
                      </a:r>
                      <a:r>
                        <a:rPr lang="ja-JP" altLang="en-US" sz="1100" b="0" i="0" u="none" strike="noStrike" dirty="0">
                          <a:solidFill>
                            <a:srgbClr val="000000"/>
                          </a:solidFill>
                          <a:effectLst/>
                          <a:latin typeface="+mj-lt"/>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noProof="1">
                          <a:solidFill>
                            <a:srgbClr val="000000"/>
                          </a:solidFill>
                          <a:effectLst/>
                          <a:latin typeface="+mj-lt"/>
                          <a:ea typeface="游ゴシック" panose="020B0400000000000000" pitchFamily="50" charset="-128"/>
                        </a:rPr>
                        <a:t>Pretoria</a:t>
                      </a:r>
                    </a:p>
                    <a:p>
                      <a:pPr marL="0" algn="ctr" defTabSz="914400" rtl="0" eaLnBrk="1" fontAlgn="ctr" latinLnBrk="0" hangingPunct="1"/>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83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9">
                            <a:extLst>
                              <a:ext uri="{A12FA001-AC4F-418D-AE19-62706E023703}">
                                <ahyp:hlinkClr xmlns:ahyp="http://schemas.microsoft.com/office/drawing/2018/hyperlinkcolor" val="tx"/>
                              </a:ext>
                            </a:extLst>
                          </a:hlinkClick>
                        </a:rPr>
                        <a:t>https://sbah.org.za/</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algn="l" fontAlgn="ctr"/>
                      <a:r>
                        <a:rPr lang="en-US" sz="1100" b="0" i="0" u="none" strike="noStrike">
                          <a:solidFill>
                            <a:srgbClr val="000000"/>
                          </a:solidFill>
                          <a:effectLst/>
                          <a:latin typeface="+mj-lt"/>
                          <a:ea typeface="游ゴシック" panose="020B0400000000000000" pitchFamily="50" charset="-128"/>
                        </a:rPr>
                        <a:t>Nelson Mandela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mj-lt"/>
                          <a:ea typeface="游ゴシック" panose="020B0400000000000000" pitchFamily="50" charset="-128"/>
                        </a:rPr>
                        <a:t>Walter Sisulu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2004</a:t>
                      </a:r>
                      <a:r>
                        <a:rPr lang="ja-JP" altLang="en-US" sz="1100" b="0" i="0" u="none" strike="noStrike" dirty="0">
                          <a:solidFill>
                            <a:srgbClr val="000000"/>
                          </a:solidFill>
                          <a:effectLst/>
                          <a:latin typeface="+mj-lt"/>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noProof="1">
                          <a:solidFill>
                            <a:srgbClr val="000000"/>
                          </a:solidFill>
                          <a:effectLst/>
                          <a:latin typeface="+mj-lt"/>
                          <a:ea typeface="游ゴシック" panose="020B0400000000000000" pitchFamily="50" charset="-128"/>
                        </a:rPr>
                        <a:t>Umutata</a:t>
                      </a:r>
                    </a:p>
                    <a:p>
                      <a:pPr marL="0" algn="ctr" defTabSz="914400" rtl="0" eaLnBrk="1" fontAlgn="ctr" latinLnBrk="0" hangingPunct="1"/>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ウムタタ）</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51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sng" strike="noStrike" dirty="0">
                          <a:solidFill>
                            <a:schemeClr val="tx1"/>
                          </a:solidFill>
                          <a:effectLst/>
                          <a:latin typeface="+mj-lt"/>
                          <a:ea typeface="游ゴシック" panose="020B0400000000000000" pitchFamily="50" charset="-128"/>
                          <a:hlinkClick r:id="rId10">
                            <a:extLst>
                              <a:ext uri="{A12FA001-AC4F-418D-AE19-62706E023703}">
                                <ahyp:hlinkClr xmlns:ahyp="http://schemas.microsoft.com/office/drawing/2018/hyperlinkcolor" val="tx"/>
                              </a:ext>
                            </a:extLst>
                          </a:hlinkClick>
                        </a:rPr>
                        <a:t>http://www.ecdoh.gov.za/hospitals/71/Nelson_Mandela_Academic_Hospital</a:t>
                      </a:r>
                      <a:endParaRPr lang="en-US" sz="800" b="0" i="0" u="sng"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
        <p:nvSpPr>
          <p:cNvPr id="12" name="テキスト ボックス 28">
            <a:extLst>
              <a:ext uri="{FF2B5EF4-FFF2-40B4-BE49-F238E27FC236}">
                <a16:creationId xmlns:a16="http://schemas.microsoft.com/office/drawing/2014/main" id="{93824C1F-11B2-437C-A3FB-7A7ADF9221DF}"/>
              </a:ext>
            </a:extLst>
          </p:cNvPr>
          <p:cNvSpPr txBox="1"/>
          <p:nvPr/>
        </p:nvSpPr>
        <p:spPr>
          <a:xfrm>
            <a:off x="7041232" y="6165208"/>
            <a:ext cx="2959772" cy="123111"/>
          </a:xfrm>
          <a:prstGeom prst="rect">
            <a:avLst/>
          </a:prstGeom>
          <a:noFill/>
        </p:spPr>
        <p:txBody>
          <a:bodyPr wrap="square" lIns="0" tIns="0" rIns="0" bIns="0" rtlCol="0">
            <a:spAutoFit/>
          </a:bodyPr>
          <a:lstStyle/>
          <a:p>
            <a:pPr marL="355600" indent="-355600"/>
            <a:r>
              <a:rPr lang="ja-JP" altLang="en-US" sz="800" dirty="0">
                <a:latin typeface="+mn-ea"/>
                <a:cs typeface="Arial" panose="020B0604020202020204" pitchFamily="34" charset="0"/>
              </a:rPr>
              <a:t>注）</a:t>
            </a:r>
            <a:r>
              <a:rPr lang="ja-JP" altLang="ja-JP" sz="800" dirty="0">
                <a:effectLst/>
                <a:latin typeface="+mn-ea"/>
                <a:cs typeface="ＭＳ Ｐゴシック" panose="020B0600070205080204" pitchFamily="50" charset="-128"/>
              </a:rPr>
              <a:t>網羅的ではなく、最新の状況は確認する必要</a:t>
            </a:r>
            <a:r>
              <a:rPr lang="ja-JP" altLang="en-US" sz="800" dirty="0">
                <a:latin typeface="+mn-ea"/>
                <a:cs typeface="ＭＳ Ｐゴシック" panose="020B0600070205080204" pitchFamily="50" charset="-128"/>
              </a:rPr>
              <a:t>あり</a:t>
            </a:r>
            <a:endParaRPr lang="en-US" altLang="ja-JP" sz="800" dirty="0">
              <a:effectLst/>
              <a:latin typeface="+mn-ea"/>
              <a:cs typeface="ＭＳ Ｐゴシック" panose="020B0600070205080204" pitchFamily="50" charset="-128"/>
            </a:endParaRPr>
          </a:p>
        </p:txBody>
      </p:sp>
    </p:spTree>
    <p:extLst>
      <p:ext uri="{BB962C8B-B14F-4D97-AF65-F5344CB8AC3E}">
        <p14:creationId xmlns:p14="http://schemas.microsoft.com/office/powerpoint/2010/main" val="14555991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４つの私立病院グループが大きなシェアを占めている。</a:t>
            </a:r>
            <a:endParaRPr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ext_images/_Reports/02/2021/a817acb6070d228b/202107.pdf</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4236551033"/>
              </p:ext>
            </p:extLst>
          </p:nvPr>
        </p:nvGraphicFramePr>
        <p:xfrm>
          <a:off x="200025" y="1811914"/>
          <a:ext cx="9217471" cy="3449258"/>
        </p:xfrm>
        <a:graphic>
          <a:graphicData uri="http://schemas.openxmlformats.org/drawingml/2006/table">
            <a:tbl>
              <a:tblPr firstRow="1" bandRow="1">
                <a:tableStyleId>{5C22544A-7EE6-4342-B048-85BDC9FD1C3A}</a:tableStyleId>
              </a:tblPr>
              <a:tblGrid>
                <a:gridCol w="2108949">
                  <a:extLst>
                    <a:ext uri="{9D8B030D-6E8A-4147-A177-3AD203B41FA5}">
                      <a16:colId xmlns:a16="http://schemas.microsoft.com/office/drawing/2014/main" val="20001"/>
                    </a:ext>
                  </a:extLst>
                </a:gridCol>
                <a:gridCol w="7108522">
                  <a:extLst>
                    <a:ext uri="{9D8B030D-6E8A-4147-A177-3AD203B41FA5}">
                      <a16:colId xmlns:a16="http://schemas.microsoft.com/office/drawing/2014/main" val="3386509722"/>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私立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ea"/>
                          <a:ea typeface="+mn-ea"/>
                          <a:cs typeface="Arial" panose="020B0604020202020204" pitchFamily="34" charset="0"/>
                        </a:rPr>
                        <a:t>Netcare</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t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以下の施設を 持つ南アフリカ最大の私立病院グ ループであ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0,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がん治療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小売薬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プライマリーヘルスケアセ ンターと歯科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25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Mediclinic</a:t>
                      </a:r>
                      <a:endParaRPr kumimoji="1" lang="zh-TW"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lini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フリカ の私立病院の約</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運営しており、 以下の施設で多くの専門領域のチー ムによる急性期医療を提供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79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亜急性期および専門病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ea"/>
                          <a:ea typeface="+mn-ea"/>
                          <a:cs typeface="Arial" panose="020B0604020202020204" pitchFamily="34" charset="0"/>
                        </a:rPr>
                        <a:t>Life</a:t>
                      </a:r>
                      <a:r>
                        <a:rPr kumimoji="1" lang="ja-JP" altLang="en-US" sz="1400" kern="1200" dirty="0">
                          <a:solidFill>
                            <a:schemeClr val="dk1"/>
                          </a:solidFill>
                          <a:latin typeface="+mn-ea"/>
                          <a:ea typeface="+mn-ea"/>
                          <a:cs typeface="Arial" panose="020B0604020202020204" pitchFamily="34" charset="0"/>
                        </a:rPr>
                        <a:t> </a:t>
                      </a:r>
                      <a:r>
                        <a:rPr kumimoji="1" lang="en-US" altLang="ja-JP" sz="1400" kern="1200" dirty="0">
                          <a:solidFill>
                            <a:schemeClr val="dk1"/>
                          </a:solidFill>
                          <a:latin typeface="+mn-ea"/>
                          <a:ea typeface="+mn-ea"/>
                          <a:cs typeface="Arial" panose="020B0604020202020204" pitchFamily="34" charset="0"/>
                        </a:rPr>
                        <a:t>Healthcare</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ife Health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 フリカのトッ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私立病院グルー プのひとつで、以下の医療施設で年 間</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以上の患者にサービスを提 供してい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急性期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9,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心臓の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2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腎臓透析科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3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従業員用健康管理のため のクリニック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4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緊急病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400" kern="1200" dirty="0">
                          <a:solidFill>
                            <a:schemeClr val="dk1"/>
                          </a:solidFill>
                          <a:latin typeface="+mn-ea"/>
                          <a:ea typeface="+mn-ea"/>
                          <a:cs typeface="Arial" panose="020B0604020202020204" pitchFamily="34" charset="0"/>
                        </a:rPr>
                        <a:t>南アフリカ</a:t>
                      </a:r>
                      <a:r>
                        <a:rPr kumimoji="1" lang="ja-JP" altLang="en-US" sz="1200" kern="1200" dirty="0">
                          <a:solidFill>
                            <a:schemeClr val="dk1"/>
                          </a:solidFill>
                          <a:latin typeface="+mn-ea"/>
                          <a:ea typeface="+mn-ea"/>
                          <a:cs typeface="Arial" panose="020B0604020202020204" pitchFamily="34" charset="0"/>
                        </a:rPr>
                        <a:t>病院ネットワーク（</a:t>
                      </a:r>
                      <a:r>
                        <a:rPr kumimoji="1" lang="en-US" altLang="ja-JP" sz="1200" kern="1200" dirty="0">
                          <a:solidFill>
                            <a:schemeClr val="dk1"/>
                          </a:solidFill>
                          <a:latin typeface="+mn-ea"/>
                          <a:ea typeface="+mn-ea"/>
                          <a:cs typeface="Arial" panose="020B0604020202020204" pitchFamily="34" charset="0"/>
                        </a:rPr>
                        <a:t>NHN</a:t>
                      </a:r>
                      <a:r>
                        <a:rPr kumimoji="1" lang="ja-JP" altLang="en-US" sz="1200" kern="1200" dirty="0">
                          <a:solidFill>
                            <a:schemeClr val="dk1"/>
                          </a:solidFill>
                          <a:latin typeface="+mn-ea"/>
                          <a:ea typeface="+mn-ea"/>
                          <a:cs typeface="Arial" panose="020B0604020202020204" pitchFamily="34" charset="0"/>
                        </a:rPr>
                        <a:t>）</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南アフリカの独立経営の私 立病院を包括する組織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ネットワーク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未満の小規 模な病院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を越える大規模 な病院まで多岐にわたっている。独 立した病院がコスト効率と患者サー ビスの向上を達成する機会を提供し ている。ブランドとしては、 </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usame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ure Day</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elomed</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があ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Tree>
    <p:extLst>
      <p:ext uri="{BB962C8B-B14F-4D97-AF65-F5344CB8AC3E}">
        <p14:creationId xmlns:p14="http://schemas.microsoft.com/office/powerpoint/2010/main" val="3170803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977195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3" imgW="360" imgH="360" progId="TCLayout.ActiveDocument.1">
                  <p:embed/>
                </p:oleObj>
              </mc:Choice>
              <mc:Fallback>
                <p:oleObj name="think-cellスライド" r:id="rId163" imgW="360" imgH="360" progId="TCLayout.ActiveDocument.1">
                  <p:embed/>
                  <p:pic>
                    <p:nvPicPr>
                      <p:cNvPr id="8" name="Object 7" hidden="1"/>
                      <p:cNvPicPr>
                        <a:picLocks noChangeAspect="1" noChangeArrowheads="1"/>
                      </p:cNvPicPr>
                      <p:nvPr/>
                    </p:nvPicPr>
                    <p:blipFill>
                      <a:blip r:embed="rId1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間に医師数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以上増加したもの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の医師数はわず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依然として低い水準にとどまっている。</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看護評議会によると、看護師と助産師の数は近年減少傾向にあり、不足は深刻化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2</a:t>
            </a:r>
            <a:r>
              <a:rPr kumimoji="0" lang="ja-JP" altLang="en-US" sz="800" dirty="0" bmk=""/>
              <a:t>年</a:t>
            </a:r>
            <a:r>
              <a:rPr kumimoji="0" lang="en-US" altLang="ja-JP" sz="800" dirty="0" bmk=""/>
              <a:t>11</a:t>
            </a:r>
            <a:r>
              <a:rPr kumimoji="0" lang="ja-JP" altLang="en-US" sz="800" dirty="0" bmk=""/>
              <a:t>月現在</a:t>
            </a:r>
            <a:r>
              <a:rPr kumimoji="0" lang="en-US" altLang="ja-JP" sz="800" dirty="0" bmk="">
                <a:hlinkClick r:id="rId165">
                  <a:extLst>
                    <a:ext uri="{A12FA001-AC4F-418D-AE19-62706E023703}">
                      <ahyp:hlinkClr xmlns:ahyp="http://schemas.microsoft.com/office/drawing/2018/hyperlinkcolor" val="tx"/>
                    </a:ext>
                  </a:extLst>
                </a:hlinkClick>
              </a:rPr>
              <a:t>https://www.who.int/data/gho/data/themes/topics/health-workforce)</a:t>
            </a:r>
            <a:r>
              <a:rPr kumimoji="0" lang="ja-JP" altLang="en-US" sz="800" dirty="0" bmk="">
                <a:hlinkClick r:id="rId165">
                  <a:extLst>
                    <a:ext uri="{A12FA001-AC4F-418D-AE19-62706E023703}">
                      <ahyp:hlinkClr xmlns:ahyp="http://schemas.microsoft.com/office/drawing/2018/hyperlinkcolor" val="tx"/>
                    </a:ext>
                  </a:extLst>
                </a:hlinkClick>
              </a:rPr>
              <a:t>、</a:t>
            </a:r>
            <a:endParaRPr kumimoji="0" lang="en-US" altLang="ja-JP" sz="800" dirty="0" bmk=""/>
          </a:p>
          <a:p>
            <a:pPr>
              <a:tabLst>
                <a:tab pos="361950" algn="l"/>
              </a:tabLst>
            </a:pPr>
            <a:r>
              <a:rPr kumimoji="0" lang="en-US" altLang="ja-JP" sz="800" dirty="0" bmk=""/>
              <a:t>South African Nursing Counc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a:p>
            <a:pPr>
              <a:tabLst>
                <a:tab pos="361950" algn="l"/>
              </a:tabLst>
            </a:pPr>
            <a:endParaRPr kumimoji="0" lang="en-US" altLang="ja-JP" sz="800" dirty="0" bmk=""/>
          </a:p>
          <a:p>
            <a:pPr>
              <a:tabLst>
                <a:tab pos="361950" algn="l"/>
              </a:tabLst>
            </a:pPr>
            <a:endParaRPr kumimoji="0" lang="en-US" altLang="ja-JP"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479" name="Chart 478">
            <a:extLst>
              <a:ext uri="{FF2B5EF4-FFF2-40B4-BE49-F238E27FC236}">
                <a16:creationId xmlns:a16="http://schemas.microsoft.com/office/drawing/2014/main" id="{BA8CBBA1-0E0A-2A08-5C6D-5CEA12296B0C}"/>
              </a:ext>
            </a:extLst>
          </p:cNvPr>
          <p:cNvGraphicFramePr/>
          <p:nvPr>
            <p:custDataLst>
              <p:tags r:id="rId3"/>
            </p:custDataLst>
            <p:extLst>
              <p:ext uri="{D42A27DB-BD31-4B8C-83A1-F6EECF244321}">
                <p14:modId xmlns:p14="http://schemas.microsoft.com/office/powerpoint/2010/main" val="4265048990"/>
              </p:ext>
            </p:extLst>
          </p:nvPr>
        </p:nvGraphicFramePr>
        <p:xfrm>
          <a:off x="514350" y="2514600"/>
          <a:ext cx="4305300" cy="3660775"/>
        </p:xfrm>
        <a:graphic>
          <a:graphicData uri="http://schemas.openxmlformats.org/drawingml/2006/chart">
            <c:chart xmlns:c="http://schemas.openxmlformats.org/drawingml/2006/chart" xmlns:r="http://schemas.openxmlformats.org/officeDocument/2006/relationships" r:id="rId166"/>
          </a:graphicData>
        </a:graphic>
      </p:graphicFrame>
      <p:sp>
        <p:nvSpPr>
          <p:cNvPr id="286" name="テキスト プレースホルダ 9">
            <a:extLst>
              <a:ext uri="{FF2B5EF4-FFF2-40B4-BE49-F238E27FC236}">
                <a16:creationId xmlns:a16="http://schemas.microsoft.com/office/drawing/2014/main" id="{34E0FEEB-72DA-A003-75D0-AC00B5E739DD}"/>
              </a:ext>
            </a:extLst>
          </p:cNvPr>
          <p:cNvSpPr>
            <a:spLocks noGrp="1"/>
          </p:cNvSpPr>
          <p:nvPr>
            <p:custDataLst>
              <p:tags r:id="rId4"/>
            </p:custDataLst>
          </p:nvPr>
        </p:nvSpPr>
        <p:spPr bwMode="gray">
          <a:xfrm>
            <a:off x="398463"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C800055-84DD-4C10-93B6-9BED69A65702}"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032B689A-ADC0-B97B-1C1F-17CEE1471BDA}"/>
              </a:ext>
            </a:extLst>
          </p:cNvPr>
          <p:cNvSpPr>
            <a:spLocks noGrp="1"/>
          </p:cNvSpPr>
          <p:nvPr>
            <p:custDataLst>
              <p:tags r:id="rId5"/>
            </p:custDataLst>
          </p:nvPr>
        </p:nvSpPr>
        <p:spPr bwMode="gray">
          <a:xfrm>
            <a:off x="328613" y="5434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7FC94D-FA18-4CD3-8B42-9FE3B3B8A808}"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65103BF5-FC11-AA7A-358F-4AACBA591311}"/>
              </a:ext>
            </a:extLst>
          </p:cNvPr>
          <p:cNvSpPr>
            <a:spLocks noGrp="1"/>
          </p:cNvSpPr>
          <p:nvPr>
            <p:custDataLst>
              <p:tags r:id="rId6"/>
            </p:custDataLst>
          </p:nvPr>
        </p:nvSpPr>
        <p:spPr bwMode="gray">
          <a:xfrm>
            <a:off x="258763" y="4851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872981C-5485-40AB-9380-AD5E8E47FAEA}"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24F48421-9907-C425-CD38-012EBAFEA807}"/>
              </a:ext>
            </a:extLst>
          </p:cNvPr>
          <p:cNvSpPr>
            <a:spLocks noGrp="1"/>
          </p:cNvSpPr>
          <p:nvPr>
            <p:custDataLst>
              <p:tags r:id="rId7"/>
            </p:custDataLst>
          </p:nvPr>
        </p:nvSpPr>
        <p:spPr bwMode="gray">
          <a:xfrm>
            <a:off x="258763" y="4268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FFECE01-D9AB-438F-9E4B-0330C4E2E121}"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3D15C045-0774-3C7D-5ABF-5676FA90942E}"/>
              </a:ext>
            </a:extLst>
          </p:cNvPr>
          <p:cNvSpPr>
            <a:spLocks noGrp="1"/>
          </p:cNvSpPr>
          <p:nvPr>
            <p:custDataLst>
              <p:tags r:id="rId8"/>
            </p:custDataLst>
          </p:nvPr>
        </p:nvSpPr>
        <p:spPr bwMode="gray">
          <a:xfrm>
            <a:off x="258763" y="3686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32C719-125F-49EA-8347-819B05E6D70C}"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62C4AD6D-AAEE-0FB8-8088-19F32A23D5F8}"/>
              </a:ext>
            </a:extLst>
          </p:cNvPr>
          <p:cNvSpPr>
            <a:spLocks noGrp="1"/>
          </p:cNvSpPr>
          <p:nvPr>
            <p:custDataLst>
              <p:tags r:id="rId9"/>
            </p:custDataLst>
          </p:nvPr>
        </p:nvSpPr>
        <p:spPr bwMode="gray">
          <a:xfrm>
            <a:off x="258763" y="3103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9CEA017-AF67-456A-A7D0-6E178A5B54C9}" type="datetime'''''''''''2''''''''''''''''5''''''''''0'''''''">
              <a:rPr lang="ja-JP" altLang="en-US" sz="1000" smtClean="0">
                <a:effectLst/>
                <a:sym typeface="+mn-lt"/>
              </a:rPr>
              <a:pPr marL="0" lvl="0" indent="0" algn="r">
                <a:spcBef>
                  <a:spcPct val="0"/>
                </a:spcBef>
                <a:buNone/>
              </a:pPr>
              <a:t>250</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D88EA65E-BA33-010F-0FC0-8B001E4319E5}"/>
              </a:ext>
            </a:extLst>
          </p:cNvPr>
          <p:cNvSpPr>
            <a:spLocks noGrp="1"/>
          </p:cNvSpPr>
          <p:nvPr>
            <p:custDataLst>
              <p:tags r:id="rId10"/>
            </p:custDataLst>
          </p:nvPr>
        </p:nvSpPr>
        <p:spPr bwMode="gray">
          <a:xfrm>
            <a:off x="258763" y="2520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CE526A-E2A7-4442-A912-3386A6B2FE0C}" type="datetime'''''3''''0''''''''''''''''''''0'''''''''''''''">
              <a:rPr lang="ja-JP" altLang="en-US" sz="1000" smtClean="0">
                <a:effectLst/>
                <a:sym typeface="+mn-lt"/>
              </a:rPr>
              <a:pPr marL="0" lvl="0" indent="0" algn="r">
                <a:spcBef>
                  <a:spcPct val="0"/>
                </a:spcBef>
                <a:buNone/>
              </a:pPr>
              <a:t>300</a:t>
            </a:fld>
            <a:endParaRPr kumimoji="1" lang="ja-JP" altLang="en-US" sz="1000" dirty="0">
              <a:sym typeface="+mn-lt"/>
            </a:endParaRPr>
          </a:p>
        </p:txBody>
      </p:sp>
      <p:cxnSp>
        <p:nvCxnSpPr>
          <p:cNvPr id="169" name="Straight Connector 168">
            <a:extLst>
              <a:ext uri="{FF2B5EF4-FFF2-40B4-BE49-F238E27FC236}">
                <a16:creationId xmlns:a16="http://schemas.microsoft.com/office/drawing/2014/main" id="{EBE5E595-6D3E-E17A-292E-B5051A8FA858}"/>
              </a:ext>
            </a:extLst>
          </p:cNvPr>
          <p:cNvCxnSpPr/>
          <p:nvPr>
            <p:custDataLst>
              <p:tags r:id="rId11"/>
            </p:custDataLst>
          </p:nvPr>
        </p:nvCxnSpPr>
        <p:spPr bwMode="auto">
          <a:xfrm>
            <a:off x="1189038" y="55530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543BC61F-472D-0864-5116-A1A40DF5A955}"/>
              </a:ext>
            </a:extLst>
          </p:cNvPr>
          <p:cNvCxnSpPr/>
          <p:nvPr>
            <p:custDataLst>
              <p:tags r:id="rId12"/>
            </p:custDataLst>
          </p:nvPr>
        </p:nvCxnSpPr>
        <p:spPr bwMode="auto">
          <a:xfrm flipH="1">
            <a:off x="647700" y="5570538"/>
            <a:ext cx="3651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24A4BBFA-12E1-2859-A0CA-0B70A3644EFE}"/>
              </a:ext>
            </a:extLst>
          </p:cNvPr>
          <p:cNvCxnSpPr/>
          <p:nvPr>
            <p:custDataLst>
              <p:tags r:id="rId13"/>
            </p:custDataLst>
          </p:nvPr>
        </p:nvCxnSpPr>
        <p:spPr bwMode="auto">
          <a:xfrm>
            <a:off x="2371725" y="58229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23890939-2788-B5CA-AA0E-3EC18F3B5707}"/>
              </a:ext>
            </a:extLst>
          </p:cNvPr>
          <p:cNvCxnSpPr/>
          <p:nvPr>
            <p:custDataLst>
              <p:tags r:id="rId14"/>
            </p:custDataLst>
          </p:nvPr>
        </p:nvCxnSpPr>
        <p:spPr bwMode="auto">
          <a:xfrm>
            <a:off x="1189038" y="58420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5A96BB9D-576F-46BF-F317-B44CBF653E2F}"/>
              </a:ext>
            </a:extLst>
          </p:cNvPr>
          <p:cNvCxnSpPr/>
          <p:nvPr>
            <p:custDataLst>
              <p:tags r:id="rId15"/>
            </p:custDataLst>
          </p:nvPr>
        </p:nvCxnSpPr>
        <p:spPr bwMode="auto">
          <a:xfrm>
            <a:off x="1779588" y="55213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A8D539F5-11F7-74EA-0471-B594039D9DBB}"/>
              </a:ext>
            </a:extLst>
          </p:cNvPr>
          <p:cNvCxnSpPr/>
          <p:nvPr>
            <p:custDataLst>
              <p:tags r:id="rId16"/>
            </p:custDataLst>
          </p:nvPr>
        </p:nvCxnSpPr>
        <p:spPr bwMode="auto">
          <a:xfrm>
            <a:off x="892175" y="55626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B984E2A7-702A-C93A-5970-2541135B7D1D}"/>
              </a:ext>
            </a:extLst>
          </p:cNvPr>
          <p:cNvCxnSpPr/>
          <p:nvPr>
            <p:custDataLst>
              <p:tags r:id="rId17"/>
            </p:custDataLst>
          </p:nvPr>
        </p:nvCxnSpPr>
        <p:spPr bwMode="auto">
          <a:xfrm>
            <a:off x="892175" y="58515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DDD4E2BE-BCF1-AA1D-888F-4D0A87666F86}"/>
              </a:ext>
            </a:extLst>
          </p:cNvPr>
          <p:cNvCxnSpPr/>
          <p:nvPr>
            <p:custDataLst>
              <p:tags r:id="rId18"/>
            </p:custDataLst>
          </p:nvPr>
        </p:nvCxnSpPr>
        <p:spPr bwMode="auto">
          <a:xfrm>
            <a:off x="1779588" y="58261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14C9527F-F670-8CF0-6F59-3D6E4A9FF9C3}"/>
              </a:ext>
            </a:extLst>
          </p:cNvPr>
          <p:cNvCxnSpPr/>
          <p:nvPr>
            <p:custDataLst>
              <p:tags r:id="rId19"/>
            </p:custDataLst>
          </p:nvPr>
        </p:nvCxnSpPr>
        <p:spPr bwMode="auto">
          <a:xfrm>
            <a:off x="1484313" y="55372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EF8DCEC-3328-7465-B397-51AEAC1C0836}"/>
              </a:ext>
            </a:extLst>
          </p:cNvPr>
          <p:cNvCxnSpPr/>
          <p:nvPr>
            <p:custDataLst>
              <p:tags r:id="rId20"/>
            </p:custDataLst>
          </p:nvPr>
        </p:nvCxnSpPr>
        <p:spPr bwMode="auto">
          <a:xfrm>
            <a:off x="2074863" y="58166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p:cNvSpPr>
            <a:spLocks noGrp="1"/>
          </p:cNvSpPr>
          <p:nvPr>
            <p:custDataLst>
              <p:tags r:id="rId21"/>
            </p:custDataLst>
          </p:nvPr>
        </p:nvSpPr>
        <p:spPr bwMode="auto">
          <a:xfrm>
            <a:off x="111283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9782D8-C3B2-4131-AF78-4B1853E1312E}" type="datetime'''''''''''''''''''''''''''''''''1''''''''''''2'''''''''">
              <a:rPr lang="ja-JP" altLang="en-US" sz="1000" smtClean="0"/>
              <a:pPr/>
              <a:t>12</a:t>
            </a:fld>
            <a:endParaRPr kumimoji="0" lang="ja-JP" altLang="en-US" sz="1000" dirty="0">
              <a:sym typeface="+mn-lt"/>
            </a:endParaRPr>
          </a:p>
        </p:txBody>
      </p:sp>
      <p:sp>
        <p:nvSpPr>
          <p:cNvPr id="23" name="テキスト プレースホルダ 9"/>
          <p:cNvSpPr>
            <a:spLocks noGrp="1"/>
          </p:cNvSpPr>
          <p:nvPr>
            <p:custDataLst>
              <p:tags r:id="rId22"/>
            </p:custDataLst>
          </p:nvPr>
        </p:nvSpPr>
        <p:spPr bwMode="auto">
          <a:xfrm>
            <a:off x="140811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1D44A6-5999-45EE-9528-13DFD9F27E4E}" type="datetime'''''''''1''''''''''''''''''3'''''''">
              <a:rPr lang="ja-JP" altLang="en-US" sz="1000" smtClean="0"/>
              <a:pPr/>
              <a:t>13</a:t>
            </a:fld>
            <a:endParaRPr kumimoji="0" lang="ja-JP" altLang="en-US" sz="1000" dirty="0">
              <a:sym typeface="+mn-lt"/>
            </a:endParaRPr>
          </a:p>
        </p:txBody>
      </p:sp>
      <p:sp useBgFill="1">
        <p:nvSpPr>
          <p:cNvPr id="132" name="テキスト プレースホルダ 9">
            <a:extLst>
              <a:ext uri="{FF2B5EF4-FFF2-40B4-BE49-F238E27FC236}">
                <a16:creationId xmlns:a16="http://schemas.microsoft.com/office/drawing/2014/main" id="{5408B918-3882-7B40-A1C4-B0691C2A65C5}"/>
              </a:ext>
            </a:extLst>
          </p:cNvPr>
          <p:cNvSpPr>
            <a:spLocks noGrp="1"/>
          </p:cNvSpPr>
          <p:nvPr>
            <p:custDataLst>
              <p:tags r:id="rId23"/>
            </p:custDataLst>
          </p:nvPr>
        </p:nvSpPr>
        <p:spPr bwMode="gray">
          <a:xfrm>
            <a:off x="1665287" y="50990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AEDC3-B82B-48EA-84A0-2775BC8BC0B1}" type="datetime'6''''''''''''6''.''''''''''''''''''''''''''''''9'''''''">
              <a:rPr lang="ja-JP" altLang="en-US" sz="800" smtClean="0">
                <a:effectLst/>
              </a:rPr>
              <a:pPr/>
              <a:t>66.9</a:t>
            </a:fld>
            <a:endParaRPr kumimoji="1" lang="ja-JP" altLang="en-US" sz="800" dirty="0">
              <a:sym typeface="+mn-lt"/>
            </a:endParaRPr>
          </a:p>
        </p:txBody>
      </p:sp>
      <p:sp useBgFill="1">
        <p:nvSpPr>
          <p:cNvPr id="133" name="テキスト プレースホルダ 9">
            <a:extLst>
              <a:ext uri="{FF2B5EF4-FFF2-40B4-BE49-F238E27FC236}">
                <a16:creationId xmlns:a16="http://schemas.microsoft.com/office/drawing/2014/main" id="{9C91829B-CEA4-8C16-F356-D9292AD89554}"/>
              </a:ext>
            </a:extLst>
          </p:cNvPr>
          <p:cNvSpPr>
            <a:spLocks noGrp="1"/>
          </p:cNvSpPr>
          <p:nvPr>
            <p:custDataLst>
              <p:tags r:id="rId24"/>
            </p:custDataLst>
          </p:nvPr>
        </p:nvSpPr>
        <p:spPr bwMode="gray">
          <a:xfrm>
            <a:off x="1627188"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AFE3D19-B59F-460D-9F15-48C3CA91894B}" type="datetime'''''''''''''''''''''''''5''.''''''8'''''''''''''''''''''''">
              <a:rPr lang="ja-JP" altLang="en-US" sz="800" smtClean="0">
                <a:effectLst/>
              </a:rPr>
              <a:pPr marL="0" lvl="0" indent="0">
                <a:spcBef>
                  <a:spcPct val="0"/>
                </a:spcBef>
                <a:buNone/>
              </a:pPr>
              <a:t>5.8</a:t>
            </a:fld>
            <a:endParaRPr kumimoji="1" lang="ja-JP" altLang="en-US" sz="800" dirty="0">
              <a:sym typeface="+mn-lt"/>
            </a:endParaRPr>
          </a:p>
        </p:txBody>
      </p:sp>
      <p:sp>
        <p:nvSpPr>
          <p:cNvPr id="21" name="テキスト プレースホルダ 9"/>
          <p:cNvSpPr>
            <a:spLocks noGrp="1"/>
          </p:cNvSpPr>
          <p:nvPr>
            <p:custDataLst>
              <p:tags r:id="rId25"/>
            </p:custDataLst>
          </p:nvPr>
        </p:nvSpPr>
        <p:spPr bwMode="auto">
          <a:xfrm>
            <a:off x="170338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6A1099-E135-47F7-962A-E8AAD37E00D6}" type="datetime'''''''''''''''''''''''''''''''''''''''''''''14'''''''''''">
              <a:rPr lang="ja-JP" altLang="en-US" sz="1000" smtClean="0"/>
              <a:pPr/>
              <a:t>14</a:t>
            </a:fld>
            <a:endParaRPr kumimoji="0" lang="ja-JP" altLang="en-US" sz="1000" dirty="0">
              <a:sym typeface="+mn-lt"/>
            </a:endParaRPr>
          </a:p>
        </p:txBody>
      </p:sp>
      <p:sp useBgFill="1">
        <p:nvSpPr>
          <p:cNvPr id="134" name="テキスト プレースホルダ 9">
            <a:extLst>
              <a:ext uri="{FF2B5EF4-FFF2-40B4-BE49-F238E27FC236}">
                <a16:creationId xmlns:a16="http://schemas.microsoft.com/office/drawing/2014/main" id="{AEFCA577-AF3D-9722-BD69-80E28D5FBF2A}"/>
              </a:ext>
            </a:extLst>
          </p:cNvPr>
          <p:cNvSpPr>
            <a:spLocks noGrp="1"/>
          </p:cNvSpPr>
          <p:nvPr>
            <p:custDataLst>
              <p:tags r:id="rId26"/>
            </p:custDataLst>
          </p:nvPr>
        </p:nvSpPr>
        <p:spPr bwMode="gray">
          <a:xfrm>
            <a:off x="1922463" y="607695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59B46F5-3343-4AD4-B535-759230E9022A}" type="datetime'''''''''''''''''''''''''''''''''6''''''''''''''''.''''0'">
              <a:rPr lang="ja-JP" altLang="en-US" sz="800" smtClean="0">
                <a:effectLst/>
              </a:rPr>
              <a:pPr marL="0" lvl="0" indent="0">
                <a:spcBef>
                  <a:spcPct val="0"/>
                </a:spcBef>
                <a:buNone/>
              </a:pPr>
              <a:t>6.0</a:t>
            </a:fld>
            <a:endParaRPr kumimoji="1" lang="ja-JP" altLang="en-US" sz="800" dirty="0">
              <a:sym typeface="+mn-lt"/>
            </a:endParaRPr>
          </a:p>
        </p:txBody>
      </p:sp>
      <p:sp>
        <p:nvSpPr>
          <p:cNvPr id="19" name="テキスト プレースホルダ 9"/>
          <p:cNvSpPr>
            <a:spLocks noGrp="1"/>
          </p:cNvSpPr>
          <p:nvPr>
            <p:custDataLst>
              <p:tags r:id="rId27"/>
            </p:custDataLst>
          </p:nvPr>
        </p:nvSpPr>
        <p:spPr bwMode="auto">
          <a:xfrm>
            <a:off x="199866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78FDB-2F98-44F0-96A4-05407F8CF417}" type="datetime'''''''''''''1''''''''''''''''''5'''''''''''''''''">
              <a:rPr lang="ja-JP" altLang="en-US" sz="1000" smtClean="0"/>
              <a:pPr/>
              <a:t>15</a:t>
            </a:fld>
            <a:endParaRPr kumimoji="0" lang="ja-JP" altLang="en-US" sz="1000" dirty="0">
              <a:sym typeface="+mn-lt"/>
            </a:endParaRPr>
          </a:p>
        </p:txBody>
      </p:sp>
      <p:sp useBgFill="1">
        <p:nvSpPr>
          <p:cNvPr id="136" name="テキスト プレースホルダ 9">
            <a:extLst>
              <a:ext uri="{FF2B5EF4-FFF2-40B4-BE49-F238E27FC236}">
                <a16:creationId xmlns:a16="http://schemas.microsoft.com/office/drawing/2014/main" id="{9BA2ACA2-B8D4-2A56-5166-1E22C55735B6}"/>
              </a:ext>
            </a:extLst>
          </p:cNvPr>
          <p:cNvSpPr>
            <a:spLocks noGrp="1"/>
          </p:cNvSpPr>
          <p:nvPr>
            <p:custDataLst>
              <p:tags r:id="rId28"/>
            </p:custDataLst>
          </p:nvPr>
        </p:nvSpPr>
        <p:spPr bwMode="gray">
          <a:xfrm>
            <a:off x="2219325" y="6075363"/>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5A11D41-EF44-4773-9E3A-17830A3E2324}" type="datetime'''''''6''''''''.''2'''''''''''''''''''''''''">
              <a:rPr lang="ja-JP" altLang="en-US" sz="800" smtClean="0">
                <a:effectLst/>
              </a:rPr>
              <a:pPr marL="0" lvl="0" indent="0">
                <a:spcBef>
                  <a:spcPct val="0"/>
                </a:spcBef>
                <a:buNone/>
              </a:pPr>
              <a:t>6.2</a:t>
            </a:fld>
            <a:endParaRPr kumimoji="1" lang="ja-JP" altLang="en-US" sz="800" dirty="0">
              <a:sym typeface="+mn-lt"/>
            </a:endParaRPr>
          </a:p>
        </p:txBody>
      </p:sp>
      <p:sp>
        <p:nvSpPr>
          <p:cNvPr id="78" name="テキスト プレースホルダ 9"/>
          <p:cNvSpPr>
            <a:spLocks noGrp="1"/>
          </p:cNvSpPr>
          <p:nvPr>
            <p:custDataLst>
              <p:tags r:id="rId29"/>
            </p:custDataLst>
          </p:nvPr>
        </p:nvSpPr>
        <p:spPr bwMode="auto">
          <a:xfrm>
            <a:off x="229552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8A15-E9ED-4856-8029-A5E67DF38FDA}" type="datetime'16'''''''''''''''''''''''''''''''''''''">
              <a:rPr lang="ja-JP" altLang="en-US" sz="1000" smtClean="0"/>
              <a:pPr/>
              <a:t>16</a:t>
            </a:fld>
            <a:endParaRPr kumimoji="0" lang="ja-JP" altLang="en-US" sz="1000" dirty="0">
              <a:sym typeface="+mn-lt"/>
            </a:endParaRPr>
          </a:p>
        </p:txBody>
      </p:sp>
      <p:sp useBgFill="1">
        <p:nvSpPr>
          <p:cNvPr id="217" name="テキスト プレースホルダ 9">
            <a:extLst>
              <a:ext uri="{FF2B5EF4-FFF2-40B4-BE49-F238E27FC236}">
                <a16:creationId xmlns:a16="http://schemas.microsoft.com/office/drawing/2014/main" id="{D1349BE5-3BA0-8ACA-6210-31D1C7BDF44D}"/>
              </a:ext>
            </a:extLst>
          </p:cNvPr>
          <p:cNvSpPr>
            <a:spLocks noGrp="1"/>
          </p:cNvSpPr>
          <p:nvPr>
            <p:custDataLst>
              <p:tags r:id="rId30"/>
            </p:custDataLst>
          </p:nvPr>
        </p:nvSpPr>
        <p:spPr bwMode="gray">
          <a:xfrm>
            <a:off x="2514600" y="607377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385FE1D-4F64-49A8-889C-96675EA6ABB8}" type="datetime'''''''''6''''''.''''''''''''''3'''''''''''''''''''''''''''''''">
              <a:rPr lang="ja-JP" altLang="en-US" sz="800" smtClean="0">
                <a:effectLst/>
              </a:rPr>
              <a:pPr marL="0" lvl="0" indent="0">
                <a:spcBef>
                  <a:spcPct val="0"/>
                </a:spcBef>
                <a:buNone/>
              </a:pPr>
              <a:t>6.3</a:t>
            </a:fld>
            <a:endParaRPr kumimoji="1" lang="ja-JP" altLang="en-US" sz="800" dirty="0">
              <a:sym typeface="+mn-lt"/>
            </a:endParaRPr>
          </a:p>
        </p:txBody>
      </p:sp>
      <p:sp>
        <p:nvSpPr>
          <p:cNvPr id="57" name="テキスト プレースホルダ 9"/>
          <p:cNvSpPr>
            <a:spLocks noGrp="1"/>
          </p:cNvSpPr>
          <p:nvPr>
            <p:custDataLst>
              <p:tags r:id="rId31"/>
            </p:custDataLst>
          </p:nvPr>
        </p:nvSpPr>
        <p:spPr bwMode="auto">
          <a:xfrm>
            <a:off x="2590800"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DE404A-57F5-401B-926B-4458C067846D}" type="datetime'''''1''''''''''''''''''''''''''''7'''''''">
              <a:rPr lang="ja-JP" altLang="en-US" sz="1000" smtClean="0"/>
              <a:pPr/>
              <a:t>17</a:t>
            </a:fld>
            <a:endParaRPr kumimoji="0" lang="ja-JP" altLang="en-US" sz="1000" dirty="0">
              <a:sym typeface="+mn-lt"/>
            </a:endParaRPr>
          </a:p>
        </p:txBody>
      </p:sp>
      <p:sp useBgFill="1">
        <p:nvSpPr>
          <p:cNvPr id="137" name="テキスト プレースホルダ 9">
            <a:extLst>
              <a:ext uri="{FF2B5EF4-FFF2-40B4-BE49-F238E27FC236}">
                <a16:creationId xmlns:a16="http://schemas.microsoft.com/office/drawing/2014/main" id="{D23CFDB6-E9EB-4154-613D-4DA143BF711B}"/>
              </a:ext>
            </a:extLst>
          </p:cNvPr>
          <p:cNvSpPr>
            <a:spLocks noGrp="1"/>
          </p:cNvSpPr>
          <p:nvPr>
            <p:custDataLst>
              <p:tags r:id="rId32"/>
            </p:custDataLst>
          </p:nvPr>
        </p:nvSpPr>
        <p:spPr bwMode="gray">
          <a:xfrm>
            <a:off x="2809875" y="6072188"/>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625AF3A-4C26-4D56-9B46-5CEB84B5B2B6}" type="datetime'6''''''''''''''''.4'">
              <a:rPr lang="ja-JP" altLang="en-US" sz="800" smtClean="0">
                <a:effectLst/>
              </a:rPr>
              <a:pPr marL="0" lvl="0" indent="0">
                <a:spcBef>
                  <a:spcPct val="0"/>
                </a:spcBef>
                <a:buNone/>
              </a:pPr>
              <a:t>6.4</a:t>
            </a:fld>
            <a:endParaRPr kumimoji="1" lang="ja-JP" altLang="en-US" sz="800" dirty="0">
              <a:sym typeface="+mn-lt"/>
            </a:endParaRPr>
          </a:p>
        </p:txBody>
      </p:sp>
      <p:sp>
        <p:nvSpPr>
          <p:cNvPr id="68" name="テキスト プレースホルダ 9">
            <a:extLst>
              <a:ext uri="{FF2B5EF4-FFF2-40B4-BE49-F238E27FC236}">
                <a16:creationId xmlns:a16="http://schemas.microsoft.com/office/drawing/2014/main" id="{84C4C9B7-D43B-4B58-8C20-18FC50416850}"/>
              </a:ext>
            </a:extLst>
          </p:cNvPr>
          <p:cNvSpPr>
            <a:spLocks noGrp="1"/>
          </p:cNvSpPr>
          <p:nvPr>
            <p:custDataLst>
              <p:tags r:id="rId33"/>
            </p:custDataLst>
          </p:nvPr>
        </p:nvSpPr>
        <p:spPr bwMode="auto">
          <a:xfrm>
            <a:off x="288607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30B6EF-7CDE-4517-B39D-C85E0C3ED0B0}" type="datetime'''''''''''''''''''''''''''1''''''''''''''''''''8'''''''">
              <a:rPr kumimoji="0" lang="ja-JP" altLang="en-US" sz="1000" smtClean="0"/>
              <a:pPr/>
              <a:t>18</a:t>
            </a:fld>
            <a:endParaRPr kumimoji="0" lang="ja-JP" altLang="en-US" sz="1000" dirty="0">
              <a:sym typeface="+mn-lt"/>
            </a:endParaRPr>
          </a:p>
        </p:txBody>
      </p:sp>
      <p:sp useBgFill="1">
        <p:nvSpPr>
          <p:cNvPr id="139" name="テキスト プレースホルダ 9">
            <a:extLst>
              <a:ext uri="{FF2B5EF4-FFF2-40B4-BE49-F238E27FC236}">
                <a16:creationId xmlns:a16="http://schemas.microsoft.com/office/drawing/2014/main" id="{5A9F8D35-FA47-47DD-E528-1DF3C10D8C6F}"/>
              </a:ext>
            </a:extLst>
          </p:cNvPr>
          <p:cNvSpPr>
            <a:spLocks noGrp="1"/>
          </p:cNvSpPr>
          <p:nvPr>
            <p:custDataLst>
              <p:tags r:id="rId34"/>
            </p:custDataLst>
          </p:nvPr>
        </p:nvSpPr>
        <p:spPr bwMode="gray">
          <a:xfrm>
            <a:off x="3106738" y="607377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DA4914E-BACB-4454-B0C8-7B23E7E49E67}" type="datetime'''''''''''''''''6''''''''''''''''''.''4'">
              <a:rPr lang="ja-JP" altLang="en-US" sz="800" smtClean="0">
                <a:effectLst/>
              </a:rPr>
              <a:pPr marL="0" lvl="0" indent="0">
                <a:spcBef>
                  <a:spcPct val="0"/>
                </a:spcBef>
                <a:buNone/>
              </a:pPr>
              <a:t>6.4</a:t>
            </a:fld>
            <a:endParaRPr kumimoji="1" lang="ja-JP" altLang="en-US" sz="800" dirty="0">
              <a:sym typeface="+mn-lt"/>
            </a:endParaRPr>
          </a:p>
        </p:txBody>
      </p:sp>
      <p:sp>
        <p:nvSpPr>
          <p:cNvPr id="69" name="テキスト プレースホルダ 9">
            <a:extLst>
              <a:ext uri="{FF2B5EF4-FFF2-40B4-BE49-F238E27FC236}">
                <a16:creationId xmlns:a16="http://schemas.microsoft.com/office/drawing/2014/main" id="{459ABDF9-988A-409E-9420-519D8272B12A}"/>
              </a:ext>
            </a:extLst>
          </p:cNvPr>
          <p:cNvSpPr>
            <a:spLocks noGrp="1"/>
          </p:cNvSpPr>
          <p:nvPr>
            <p:custDataLst>
              <p:tags r:id="rId35"/>
            </p:custDataLst>
          </p:nvPr>
        </p:nvSpPr>
        <p:spPr bwMode="auto">
          <a:xfrm>
            <a:off x="318293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377DA6-2EB8-4AAB-9DBE-AF8E19B83D6A}" type="datetime'''''''''''19'''''''''''''''">
              <a:rPr kumimoji="0" lang="ja-JP" altLang="en-US" sz="1000" smtClean="0"/>
              <a:pPr/>
              <a:t>19</a:t>
            </a:fld>
            <a:endParaRPr kumimoji="0" lang="ja-JP" altLang="en-US" sz="1000" dirty="0">
              <a:sym typeface="+mn-lt"/>
            </a:endParaRPr>
          </a:p>
        </p:txBody>
      </p:sp>
      <p:sp useBgFill="1">
        <p:nvSpPr>
          <p:cNvPr id="140" name="テキスト プレースホルダ 9">
            <a:extLst>
              <a:ext uri="{FF2B5EF4-FFF2-40B4-BE49-F238E27FC236}">
                <a16:creationId xmlns:a16="http://schemas.microsoft.com/office/drawing/2014/main" id="{A642391C-FB15-8664-7E43-553654A15929}"/>
              </a:ext>
            </a:extLst>
          </p:cNvPr>
          <p:cNvSpPr>
            <a:spLocks noGrp="1"/>
          </p:cNvSpPr>
          <p:nvPr>
            <p:custDataLst>
              <p:tags r:id="rId36"/>
            </p:custDataLst>
          </p:nvPr>
        </p:nvSpPr>
        <p:spPr bwMode="gray">
          <a:xfrm>
            <a:off x="3402013" y="607695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8447B1B-1348-4D02-8EA4-2A02493E2E86}" type="datetime'''''''''''''''''''''''''''''''6''.''''''''''''''''''''''''''1'">
              <a:rPr lang="ja-JP" altLang="en-US" sz="800" smtClean="0">
                <a:effectLst/>
              </a:rPr>
              <a:pPr marL="0" lvl="0" indent="0">
                <a:spcBef>
                  <a:spcPct val="0"/>
                </a:spcBef>
                <a:buNone/>
              </a:pPr>
              <a:t>6.1</a:t>
            </a:fld>
            <a:endParaRPr kumimoji="1" lang="ja-JP" altLang="en-US" sz="800" dirty="0">
              <a:sym typeface="+mn-lt"/>
            </a:endParaRPr>
          </a:p>
        </p:txBody>
      </p:sp>
      <p:sp>
        <p:nvSpPr>
          <p:cNvPr id="37" name="テキスト プレースホルダ 9">
            <a:extLst>
              <a:ext uri="{FF2B5EF4-FFF2-40B4-BE49-F238E27FC236}">
                <a16:creationId xmlns:a16="http://schemas.microsoft.com/office/drawing/2014/main" id="{DC9C67AD-B422-0263-5C0E-E1C6B4D94DF7}"/>
              </a:ext>
            </a:extLst>
          </p:cNvPr>
          <p:cNvSpPr>
            <a:spLocks noGrp="1"/>
          </p:cNvSpPr>
          <p:nvPr>
            <p:custDataLst>
              <p:tags r:id="rId37"/>
            </p:custDataLst>
          </p:nvPr>
        </p:nvSpPr>
        <p:spPr bwMode="auto">
          <a:xfrm>
            <a:off x="347821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AB4E4-65F5-4517-897F-A2404FE91E13}" type="datetime'''''''''2''''''''''''''''''''''''''0'''''''''''''''''''''''''">
              <a:rPr kumimoji="0" lang="ja-JP" altLang="en-US" sz="1000" smtClean="0"/>
              <a:pPr/>
              <a:t>20</a:t>
            </a:fld>
            <a:endParaRPr kumimoji="0" lang="ja-JP" altLang="en-US" sz="1000" dirty="0">
              <a:sym typeface="+mn-lt"/>
            </a:endParaRPr>
          </a:p>
        </p:txBody>
      </p:sp>
      <p:sp useBgFill="1">
        <p:nvSpPr>
          <p:cNvPr id="141" name="テキスト プレースホルダ 9">
            <a:extLst>
              <a:ext uri="{FF2B5EF4-FFF2-40B4-BE49-F238E27FC236}">
                <a16:creationId xmlns:a16="http://schemas.microsoft.com/office/drawing/2014/main" id="{D3656B3C-E817-E629-0B93-77BF9121AB17}"/>
              </a:ext>
            </a:extLst>
          </p:cNvPr>
          <p:cNvSpPr>
            <a:spLocks noGrp="1"/>
          </p:cNvSpPr>
          <p:nvPr>
            <p:custDataLst>
              <p:tags r:id="rId38"/>
            </p:custDataLst>
          </p:nvPr>
        </p:nvSpPr>
        <p:spPr bwMode="gray">
          <a:xfrm>
            <a:off x="3697288" y="607060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0B1CF8E-E573-406D-9619-7559BEAED9E0}" type="datetime'''''''''''''''''''6''''''''''.''''''''''''''''''''''''''''6'">
              <a:rPr lang="ja-JP" altLang="en-US" sz="800" smtClean="0">
                <a:effectLst/>
              </a:rPr>
              <a:pPr marL="0" lvl="0" indent="0">
                <a:spcBef>
                  <a:spcPct val="0"/>
                </a:spcBef>
                <a:buNone/>
              </a:pPr>
              <a:t>6.6</a:t>
            </a:fld>
            <a:endParaRPr kumimoji="1" lang="ja-JP" altLang="en-US" sz="800" dirty="0">
              <a:sym typeface="+mn-lt"/>
            </a:endParaRPr>
          </a:p>
        </p:txBody>
      </p:sp>
      <p:sp>
        <p:nvSpPr>
          <p:cNvPr id="53" name="テキスト プレースホルダ 9">
            <a:extLst>
              <a:ext uri="{FF2B5EF4-FFF2-40B4-BE49-F238E27FC236}">
                <a16:creationId xmlns:a16="http://schemas.microsoft.com/office/drawing/2014/main" id="{EFE7CF90-17CB-59D0-7212-BACED48C1022}"/>
              </a:ext>
            </a:extLst>
          </p:cNvPr>
          <p:cNvSpPr>
            <a:spLocks noGrp="1"/>
          </p:cNvSpPr>
          <p:nvPr>
            <p:custDataLst>
              <p:tags r:id="rId39"/>
            </p:custDataLst>
          </p:nvPr>
        </p:nvSpPr>
        <p:spPr bwMode="auto">
          <a:xfrm>
            <a:off x="377348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C35633-09C0-4CA0-8183-3A079877308A}" type="datetime'''''''''''2''''''''''''''1'''''''''''''''''''''''''''">
              <a:rPr kumimoji="0" lang="ja-JP" altLang="en-US" sz="1000" smtClean="0"/>
              <a:pPr/>
              <a:t>21</a:t>
            </a:fld>
            <a:endParaRPr kumimoji="0" lang="ja-JP" altLang="en-US" sz="1000" dirty="0">
              <a:sym typeface="+mn-lt"/>
            </a:endParaRPr>
          </a:p>
        </p:txBody>
      </p:sp>
      <p:sp useBgFill="1">
        <p:nvSpPr>
          <p:cNvPr id="142" name="テキスト プレースホルダ 9">
            <a:extLst>
              <a:ext uri="{FF2B5EF4-FFF2-40B4-BE49-F238E27FC236}">
                <a16:creationId xmlns:a16="http://schemas.microsoft.com/office/drawing/2014/main" id="{AC2263B3-51F1-691F-57F0-DFB9A4DB2279}"/>
              </a:ext>
            </a:extLst>
          </p:cNvPr>
          <p:cNvSpPr>
            <a:spLocks noGrp="1"/>
          </p:cNvSpPr>
          <p:nvPr>
            <p:custDataLst>
              <p:tags r:id="rId40"/>
            </p:custDataLst>
          </p:nvPr>
        </p:nvSpPr>
        <p:spPr bwMode="gray">
          <a:xfrm>
            <a:off x="3992563" y="607060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59EC970-743F-4A21-9BC0-49B843E6ED21}" type="datetime'''''''''''6''''''''''''''''''''''''''''''''''.''''''6'''''">
              <a:rPr lang="ja-JP" altLang="en-US" sz="800" smtClean="0">
                <a:effectLst/>
              </a:rPr>
              <a:pPr marL="0" lvl="0" indent="0">
                <a:spcBef>
                  <a:spcPct val="0"/>
                </a:spcBef>
                <a:buNone/>
              </a:pPr>
              <a:t>6.6</a:t>
            </a:fld>
            <a:endParaRPr kumimoji="1" lang="ja-JP" altLang="en-US" sz="800" dirty="0">
              <a:sym typeface="+mn-lt"/>
            </a:endParaRPr>
          </a:p>
        </p:txBody>
      </p:sp>
      <p:sp>
        <p:nvSpPr>
          <p:cNvPr id="55" name="テキスト プレースホルダ 9">
            <a:extLst>
              <a:ext uri="{FF2B5EF4-FFF2-40B4-BE49-F238E27FC236}">
                <a16:creationId xmlns:a16="http://schemas.microsoft.com/office/drawing/2014/main" id="{0AEFB9B3-7A05-EDBF-1B15-BA9C6D929518}"/>
              </a:ext>
            </a:extLst>
          </p:cNvPr>
          <p:cNvSpPr>
            <a:spLocks noGrp="1"/>
          </p:cNvSpPr>
          <p:nvPr>
            <p:custDataLst>
              <p:tags r:id="rId41"/>
            </p:custDataLst>
          </p:nvPr>
        </p:nvSpPr>
        <p:spPr bwMode="auto">
          <a:xfrm>
            <a:off x="406876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B96AF0-640D-42ED-B2ED-2120D1C3B11F}" type="datetime'''''''''''''''''''''''''''2''''''2'''''''''''''''''''''''''''">
              <a:rPr kumimoji="0" lang="ja-JP" altLang="en-US" sz="1000" smtClean="0"/>
              <a:pPr/>
              <a:t>22</a:t>
            </a:fld>
            <a:endParaRPr kumimoji="0" lang="ja-JP" altLang="en-US" sz="1000" dirty="0">
              <a:sym typeface="+mn-lt"/>
            </a:endParaRPr>
          </a:p>
        </p:txBody>
      </p:sp>
      <p:sp useBgFill="1">
        <p:nvSpPr>
          <p:cNvPr id="143" name="テキスト プレースホルダ 9">
            <a:extLst>
              <a:ext uri="{FF2B5EF4-FFF2-40B4-BE49-F238E27FC236}">
                <a16:creationId xmlns:a16="http://schemas.microsoft.com/office/drawing/2014/main" id="{69FBDF5F-4045-8EB1-E64F-96F10BE055F8}"/>
              </a:ext>
            </a:extLst>
          </p:cNvPr>
          <p:cNvSpPr>
            <a:spLocks noGrp="1"/>
          </p:cNvSpPr>
          <p:nvPr>
            <p:custDataLst>
              <p:tags r:id="rId42"/>
            </p:custDataLst>
          </p:nvPr>
        </p:nvSpPr>
        <p:spPr bwMode="gray">
          <a:xfrm>
            <a:off x="4289425" y="6069013"/>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B480A42-9475-44EE-BFDB-38D8AAB1BFC4}" type="datetime'''''''''''''6''''.''''''''''''''''7'''''''''''''''''''''">
              <a:rPr lang="ja-JP" altLang="en-US" sz="800" smtClean="0">
                <a:effectLst/>
              </a:rPr>
              <a:pPr marL="0" lvl="0" indent="0">
                <a:spcBef>
                  <a:spcPct val="0"/>
                </a:spcBef>
                <a:buNone/>
              </a:pPr>
              <a:t>6.7</a:t>
            </a:fld>
            <a:endParaRPr kumimoji="1" lang="ja-JP" altLang="en-US" sz="800" dirty="0">
              <a:sym typeface="+mn-lt"/>
            </a:endParaRPr>
          </a:p>
        </p:txBody>
      </p:sp>
      <p:sp>
        <p:nvSpPr>
          <p:cNvPr id="66" name="テキスト プレースホルダ 9">
            <a:extLst>
              <a:ext uri="{FF2B5EF4-FFF2-40B4-BE49-F238E27FC236}">
                <a16:creationId xmlns:a16="http://schemas.microsoft.com/office/drawing/2014/main" id="{EBCD0F89-A3F5-B455-F7E6-4DF0C6138E06}"/>
              </a:ext>
            </a:extLst>
          </p:cNvPr>
          <p:cNvSpPr>
            <a:spLocks noGrp="1"/>
          </p:cNvSpPr>
          <p:nvPr>
            <p:custDataLst>
              <p:tags r:id="rId43"/>
            </p:custDataLst>
          </p:nvPr>
        </p:nvSpPr>
        <p:spPr bwMode="auto">
          <a:xfrm>
            <a:off x="436562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71D830-5D87-42CD-9B8F-143CDA69FA79}" type="datetime'''''''''''''''''''''''''''''''''''''''''''''''''23'''''''''''">
              <a:rPr kumimoji="0" lang="ja-JP" altLang="en-US" sz="1000" smtClean="0"/>
              <a:pPr/>
              <a:t>23</a:t>
            </a:fld>
            <a:endParaRPr kumimoji="0" lang="ja-JP" altLang="en-US" sz="1000" dirty="0">
              <a:sym typeface="+mn-lt"/>
            </a:endParaRPr>
          </a:p>
        </p:txBody>
      </p:sp>
      <p:sp useBgFill="1">
        <p:nvSpPr>
          <p:cNvPr id="151" name="テキスト プレースホルダ 9">
            <a:extLst>
              <a:ext uri="{FF2B5EF4-FFF2-40B4-BE49-F238E27FC236}">
                <a16:creationId xmlns:a16="http://schemas.microsoft.com/office/drawing/2014/main" id="{B637D142-8ADF-4502-3E0E-CDD874548C1F}"/>
              </a:ext>
            </a:extLst>
          </p:cNvPr>
          <p:cNvSpPr>
            <a:spLocks noGrp="1"/>
          </p:cNvSpPr>
          <p:nvPr>
            <p:custDataLst>
              <p:tags r:id="rId44"/>
            </p:custDataLst>
          </p:nvPr>
        </p:nvSpPr>
        <p:spPr bwMode="gray">
          <a:xfrm>
            <a:off x="4584700" y="60674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3A1E84-1D4C-483B-B8CD-3C3415C9B5F2}" type="datetime'''''''''''''6''''''''''''.''''''''''''''''''''''''''''9'''">
              <a:rPr lang="ja-JP" altLang="en-US" sz="800" smtClean="0">
                <a:effectLst/>
              </a:rPr>
              <a:pPr marL="0" lvl="0" indent="0">
                <a:spcBef>
                  <a:spcPct val="0"/>
                </a:spcBef>
                <a:buNone/>
              </a:pPr>
              <a:t>6.9</a:t>
            </a:fld>
            <a:endParaRPr kumimoji="1" lang="ja-JP" altLang="en-US" sz="800" dirty="0">
              <a:sym typeface="+mn-lt"/>
            </a:endParaRPr>
          </a:p>
        </p:txBody>
      </p:sp>
      <p:sp>
        <p:nvSpPr>
          <p:cNvPr id="67" name="テキスト プレースホルダ 9">
            <a:extLst>
              <a:ext uri="{FF2B5EF4-FFF2-40B4-BE49-F238E27FC236}">
                <a16:creationId xmlns:a16="http://schemas.microsoft.com/office/drawing/2014/main" id="{94E4759E-02CF-1DEF-50AD-E36D727E7EBD}"/>
              </a:ext>
            </a:extLst>
          </p:cNvPr>
          <p:cNvSpPr>
            <a:spLocks noGrp="1"/>
          </p:cNvSpPr>
          <p:nvPr>
            <p:custDataLst>
              <p:tags r:id="rId45"/>
            </p:custDataLst>
          </p:nvPr>
        </p:nvSpPr>
        <p:spPr bwMode="auto">
          <a:xfrm>
            <a:off x="4660900"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DBF742-16C7-4C6C-BB32-381A9A004DD6}" type="datetime'''''''''''''''2''4'">
              <a:rPr kumimoji="0" lang="ja-JP" altLang="en-US" sz="1000" smtClean="0"/>
              <a:pPr/>
              <a:t>24</a:t>
            </a:fld>
            <a:endParaRPr kumimoji="0" lang="ja-JP" altLang="en-US" sz="1000" dirty="0">
              <a:sym typeface="+mn-lt"/>
            </a:endParaRPr>
          </a:p>
        </p:txBody>
      </p:sp>
      <p:sp useBgFill="1">
        <p:nvSpPr>
          <p:cNvPr id="251" name="テキスト プレースホルダ 9">
            <a:extLst>
              <a:ext uri="{FF2B5EF4-FFF2-40B4-BE49-F238E27FC236}">
                <a16:creationId xmlns:a16="http://schemas.microsoft.com/office/drawing/2014/main" id="{87990904-8745-0824-9575-5777395AC6D3}"/>
              </a:ext>
            </a:extLst>
          </p:cNvPr>
          <p:cNvSpPr>
            <a:spLocks noGrp="1"/>
          </p:cNvSpPr>
          <p:nvPr>
            <p:custDataLst>
              <p:tags r:id="rId46"/>
            </p:custDataLst>
          </p:nvPr>
        </p:nvSpPr>
        <p:spPr bwMode="gray">
          <a:xfrm>
            <a:off x="419100" y="5300663"/>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27A989C-F52B-4E90-B58F-58AB6DBF9257}" type="datetime'''''5''2''''''''.''''''''''''''''''''''''''''4'''''''''''''">
              <a:rPr lang="ja-JP" altLang="en-US" sz="800" smtClean="0"/>
              <a:pPr marL="0" lvl="0" indent="0">
                <a:spcBef>
                  <a:spcPct val="0"/>
                </a:spcBef>
                <a:buNone/>
              </a:pPr>
              <a:t>52.4</a:t>
            </a:fld>
            <a:endParaRPr kumimoji="1" lang="ja-JP" altLang="en-US" sz="800" dirty="0">
              <a:sym typeface="+mn-lt"/>
            </a:endParaRPr>
          </a:p>
        </p:txBody>
      </p:sp>
      <p:sp>
        <p:nvSpPr>
          <p:cNvPr id="252" name="テキスト プレースホルダ 9">
            <a:extLst>
              <a:ext uri="{FF2B5EF4-FFF2-40B4-BE49-F238E27FC236}">
                <a16:creationId xmlns:a16="http://schemas.microsoft.com/office/drawing/2014/main" id="{7F72D0C6-D4D0-2C71-A257-1D5BCEF72FAC}"/>
              </a:ext>
            </a:extLst>
          </p:cNvPr>
          <p:cNvSpPr>
            <a:spLocks noGrp="1"/>
          </p:cNvSpPr>
          <p:nvPr>
            <p:custDataLst>
              <p:tags r:id="rId47"/>
            </p:custDataLst>
          </p:nvPr>
        </p:nvSpPr>
        <p:spPr bwMode="gray">
          <a:xfrm>
            <a:off x="777874" y="52324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ADEBEA-A435-4739-B5BF-C6F797F91FFE}" type="datetime'''''''5''''''5''''''''.''''''''''''''''''''''''4'">
              <a:rPr lang="ja-JP" altLang="en-US" sz="800" smtClean="0"/>
              <a:pPr/>
              <a:t>55.4</a:t>
            </a:fld>
            <a:endParaRPr kumimoji="1" lang="ja-JP" altLang="en-US" sz="800" dirty="0">
              <a:sym typeface="+mn-lt"/>
            </a:endParaRPr>
          </a:p>
        </p:txBody>
      </p:sp>
      <p:sp>
        <p:nvSpPr>
          <p:cNvPr id="253" name="テキスト プレースホルダ 9">
            <a:extLst>
              <a:ext uri="{FF2B5EF4-FFF2-40B4-BE49-F238E27FC236}">
                <a16:creationId xmlns:a16="http://schemas.microsoft.com/office/drawing/2014/main" id="{18215FF5-5D5F-719A-288E-CBD5815586EB}"/>
              </a:ext>
            </a:extLst>
          </p:cNvPr>
          <p:cNvSpPr>
            <a:spLocks noGrp="1"/>
          </p:cNvSpPr>
          <p:nvPr>
            <p:custDataLst>
              <p:tags r:id="rId48"/>
            </p:custDataLst>
          </p:nvPr>
        </p:nvSpPr>
        <p:spPr bwMode="gray">
          <a:xfrm>
            <a:off x="777874" y="57292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8A7E67-3C09-4F01-A64C-E97085D552A9}" type="datetime'''''''''1''''''''''''''''''''''2''''''''.''''''''''''8'''''">
              <a:rPr lang="ja-JP" altLang="en-US" sz="800" smtClean="0"/>
              <a:pPr/>
              <a:t>12.8</a:t>
            </a:fld>
            <a:endParaRPr kumimoji="1" lang="ja-JP" altLang="en-US" sz="800" dirty="0">
              <a:sym typeface="+mn-lt"/>
            </a:endParaRPr>
          </a:p>
        </p:txBody>
      </p:sp>
      <p:sp>
        <p:nvSpPr>
          <p:cNvPr id="254" name="テキスト プレースホルダ 9">
            <a:extLst>
              <a:ext uri="{FF2B5EF4-FFF2-40B4-BE49-F238E27FC236}">
                <a16:creationId xmlns:a16="http://schemas.microsoft.com/office/drawing/2014/main" id="{C1E03C33-4F4A-9C14-CDC1-E2524BAD63F8}"/>
              </a:ext>
            </a:extLst>
          </p:cNvPr>
          <p:cNvSpPr>
            <a:spLocks noGrp="1"/>
          </p:cNvSpPr>
          <p:nvPr>
            <p:custDataLst>
              <p:tags r:id="rId49"/>
            </p:custDataLst>
          </p:nvPr>
        </p:nvSpPr>
        <p:spPr bwMode="gray">
          <a:xfrm>
            <a:off x="1074737" y="51943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5533E9-09FD-4D5B-B91D-CE9EE481E27C}" type="datetime'''''''''5''8''''''''''''''''''''.7'''">
              <a:rPr lang="ja-JP" altLang="en-US" sz="800" smtClean="0"/>
              <a:pPr/>
              <a:t>58.7</a:t>
            </a:fld>
            <a:endParaRPr kumimoji="1" lang="ja-JP" altLang="en-US" sz="800" dirty="0">
              <a:sym typeface="+mn-lt"/>
            </a:endParaRPr>
          </a:p>
        </p:txBody>
      </p:sp>
      <p:sp>
        <p:nvSpPr>
          <p:cNvPr id="255" name="テキスト プレースホルダ 9">
            <a:extLst>
              <a:ext uri="{FF2B5EF4-FFF2-40B4-BE49-F238E27FC236}">
                <a16:creationId xmlns:a16="http://schemas.microsoft.com/office/drawing/2014/main" id="{2B36EE30-2D7B-0895-A9C4-722F1CC9DE2B}"/>
              </a:ext>
            </a:extLst>
          </p:cNvPr>
          <p:cNvSpPr>
            <a:spLocks noGrp="1"/>
          </p:cNvSpPr>
          <p:nvPr>
            <p:custDataLst>
              <p:tags r:id="rId50"/>
            </p:custDataLst>
          </p:nvPr>
        </p:nvSpPr>
        <p:spPr bwMode="gray">
          <a:xfrm>
            <a:off x="1074737" y="57197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EC567C-8E21-427E-ABFB-52CE763DF0E0}" type="datetime'''''''''''''''''''''''''''''''1''''''''''3''''''''.''''6'">
              <a:rPr lang="ja-JP" altLang="en-US" sz="800" smtClean="0"/>
              <a:pPr/>
              <a:t>13.6</a:t>
            </a:fld>
            <a:endParaRPr kumimoji="1" lang="ja-JP" altLang="en-US" sz="800" dirty="0">
              <a:sym typeface="+mn-lt"/>
            </a:endParaRPr>
          </a:p>
        </p:txBody>
      </p:sp>
      <p:sp>
        <p:nvSpPr>
          <p:cNvPr id="256" name="テキスト プレースホルダ 9">
            <a:extLst>
              <a:ext uri="{FF2B5EF4-FFF2-40B4-BE49-F238E27FC236}">
                <a16:creationId xmlns:a16="http://schemas.microsoft.com/office/drawing/2014/main" id="{87F173CB-1AE7-DD86-ED32-B020C241FAE2}"/>
              </a:ext>
            </a:extLst>
          </p:cNvPr>
          <p:cNvSpPr>
            <a:spLocks noGrp="1"/>
          </p:cNvSpPr>
          <p:nvPr>
            <p:custDataLst>
              <p:tags r:id="rId51"/>
            </p:custDataLst>
          </p:nvPr>
        </p:nvSpPr>
        <p:spPr bwMode="gray">
          <a:xfrm>
            <a:off x="1370012" y="51355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9839E9-ECE8-45BE-8956-73BC12D0D3A3}" type="datetime'63''''''''''''''''''''''''''.''8'''''''''''''''''''''''">
              <a:rPr lang="ja-JP" altLang="en-US" sz="800" smtClean="0"/>
              <a:pPr/>
              <a:t>63.8</a:t>
            </a:fld>
            <a:endParaRPr kumimoji="1" lang="ja-JP" altLang="en-US" sz="800" dirty="0">
              <a:sym typeface="+mn-lt"/>
            </a:endParaRPr>
          </a:p>
        </p:txBody>
      </p:sp>
      <p:sp>
        <p:nvSpPr>
          <p:cNvPr id="257" name="テキスト プレースホルダ 9">
            <a:extLst>
              <a:ext uri="{FF2B5EF4-FFF2-40B4-BE49-F238E27FC236}">
                <a16:creationId xmlns:a16="http://schemas.microsoft.com/office/drawing/2014/main" id="{FE48941D-480C-36A4-2A0C-F41B13452FDC}"/>
              </a:ext>
            </a:extLst>
          </p:cNvPr>
          <p:cNvSpPr>
            <a:spLocks noGrp="1"/>
          </p:cNvSpPr>
          <p:nvPr>
            <p:custDataLst>
              <p:tags r:id="rId52"/>
            </p:custDataLst>
          </p:nvPr>
        </p:nvSpPr>
        <p:spPr bwMode="gray">
          <a:xfrm>
            <a:off x="1370012" y="54149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36760-62E2-4249-9E27-1059123CDB0A}" type="datetime'''''''''3''''''''''9''''''''''''''''''''''''''.''''8'''''">
              <a:rPr lang="ja-JP" altLang="en-US" sz="800" smtClean="0"/>
              <a:pPr/>
              <a:t>39.8</a:t>
            </a:fld>
            <a:endParaRPr kumimoji="1" lang="ja-JP" altLang="en-US" sz="800" dirty="0">
              <a:sym typeface="+mn-lt"/>
            </a:endParaRPr>
          </a:p>
        </p:txBody>
      </p:sp>
      <p:sp useBgFill="1">
        <p:nvSpPr>
          <p:cNvPr id="258" name="テキスト プレースホルダ 9">
            <a:extLst>
              <a:ext uri="{FF2B5EF4-FFF2-40B4-BE49-F238E27FC236}">
                <a16:creationId xmlns:a16="http://schemas.microsoft.com/office/drawing/2014/main" id="{010F5F0D-53F6-059B-2F61-C12B0F5FFAEF}"/>
              </a:ext>
            </a:extLst>
          </p:cNvPr>
          <p:cNvSpPr>
            <a:spLocks noGrp="1"/>
          </p:cNvSpPr>
          <p:nvPr>
            <p:custDataLst>
              <p:tags r:id="rId53"/>
            </p:custDataLst>
          </p:nvPr>
        </p:nvSpPr>
        <p:spPr bwMode="gray">
          <a:xfrm>
            <a:off x="1331913"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32B2A2-6E44-42D9-894F-F37D412D2963}" type="datetime'''''''''''''''''''''''''''''5''''''''''.8'''''">
              <a:rPr lang="ja-JP" altLang="en-US" sz="800" smtClean="0"/>
              <a:pPr marL="0" lvl="0" indent="0">
                <a:spcBef>
                  <a:spcPct val="0"/>
                </a:spcBef>
                <a:buNone/>
              </a:pPr>
              <a:t>5.8</a:t>
            </a:fld>
            <a:endParaRPr kumimoji="1" lang="ja-JP" altLang="en-US" sz="800" dirty="0">
              <a:sym typeface="+mn-lt"/>
            </a:endParaRPr>
          </a:p>
        </p:txBody>
      </p:sp>
      <p:sp>
        <p:nvSpPr>
          <p:cNvPr id="259" name="テキスト プレースホルダ 9">
            <a:extLst>
              <a:ext uri="{FF2B5EF4-FFF2-40B4-BE49-F238E27FC236}">
                <a16:creationId xmlns:a16="http://schemas.microsoft.com/office/drawing/2014/main" id="{A98258A3-E526-724D-44A8-C5AB2563A0E0}"/>
              </a:ext>
            </a:extLst>
          </p:cNvPr>
          <p:cNvSpPr>
            <a:spLocks noGrp="1"/>
          </p:cNvSpPr>
          <p:nvPr>
            <p:custDataLst>
              <p:tags r:id="rId54"/>
            </p:custDataLst>
          </p:nvPr>
        </p:nvSpPr>
        <p:spPr bwMode="gray">
          <a:xfrm>
            <a:off x="1665287" y="5399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6B4C0-99D9-42B7-9627-A64341683D44}" type="datetime'''''''''''4''1''''''''''''''''''''''''''''''.1'''''''">
              <a:rPr lang="ja-JP" altLang="en-US" sz="800" smtClean="0"/>
              <a:pPr/>
              <a:t>41.1</a:t>
            </a:fld>
            <a:endParaRPr kumimoji="1" lang="ja-JP" altLang="en-US" sz="800" dirty="0">
              <a:sym typeface="+mn-lt"/>
            </a:endParaRPr>
          </a:p>
        </p:txBody>
      </p:sp>
      <p:sp>
        <p:nvSpPr>
          <p:cNvPr id="260" name="テキスト プレースホルダ 9">
            <a:extLst>
              <a:ext uri="{FF2B5EF4-FFF2-40B4-BE49-F238E27FC236}">
                <a16:creationId xmlns:a16="http://schemas.microsoft.com/office/drawing/2014/main" id="{6FB62E3B-BDD3-9328-2255-62645C2967D4}"/>
              </a:ext>
            </a:extLst>
          </p:cNvPr>
          <p:cNvSpPr>
            <a:spLocks noGrp="1"/>
          </p:cNvSpPr>
          <p:nvPr>
            <p:custDataLst>
              <p:tags r:id="rId55"/>
            </p:custDataLst>
          </p:nvPr>
        </p:nvSpPr>
        <p:spPr bwMode="gray">
          <a:xfrm>
            <a:off x="1665287" y="57038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B0E49-DAC3-4C6C-BFF4-EB96832DCEAE}" type="datetime'''''''''1''''''''5''''.0'''''''''''''''''''''''''''''''">
              <a:rPr lang="ja-JP" altLang="en-US" sz="800" smtClean="0"/>
              <a:pPr/>
              <a:t>15.0</a:t>
            </a:fld>
            <a:endParaRPr kumimoji="1" lang="ja-JP" altLang="en-US" sz="800" dirty="0">
              <a:sym typeface="+mn-lt"/>
            </a:endParaRPr>
          </a:p>
        </p:txBody>
      </p:sp>
      <p:sp>
        <p:nvSpPr>
          <p:cNvPr id="261" name="テキスト プレースホルダ 9">
            <a:extLst>
              <a:ext uri="{FF2B5EF4-FFF2-40B4-BE49-F238E27FC236}">
                <a16:creationId xmlns:a16="http://schemas.microsoft.com/office/drawing/2014/main" id="{983209C3-81DB-9DBF-B085-8BC405DD4A19}"/>
              </a:ext>
            </a:extLst>
          </p:cNvPr>
          <p:cNvSpPr>
            <a:spLocks noGrp="1"/>
          </p:cNvSpPr>
          <p:nvPr>
            <p:custDataLst>
              <p:tags r:id="rId56"/>
            </p:custDataLst>
          </p:nvPr>
        </p:nvSpPr>
        <p:spPr bwMode="gray">
          <a:xfrm>
            <a:off x="1931987" y="26320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6E499D-7D38-4BDC-BED6-08FE1A68D25B}" type="datetime'2''''''''''''7''''''''''8''''''''''''.''''6'">
              <a:rPr lang="ja-JP" altLang="en-US" sz="800" smtClean="0"/>
              <a:pPr/>
              <a:t>278.6</a:t>
            </a:fld>
            <a:endParaRPr kumimoji="1" lang="ja-JP" altLang="en-US" sz="800" dirty="0">
              <a:sym typeface="+mn-lt"/>
            </a:endParaRPr>
          </a:p>
        </p:txBody>
      </p:sp>
      <p:sp>
        <p:nvSpPr>
          <p:cNvPr id="262" name="テキスト プレースホルダ 9">
            <a:extLst>
              <a:ext uri="{FF2B5EF4-FFF2-40B4-BE49-F238E27FC236}">
                <a16:creationId xmlns:a16="http://schemas.microsoft.com/office/drawing/2014/main" id="{E977D3CA-8EB7-9E12-1D3B-02621653D17C}"/>
              </a:ext>
            </a:extLst>
          </p:cNvPr>
          <p:cNvSpPr>
            <a:spLocks noGrp="1"/>
          </p:cNvSpPr>
          <p:nvPr>
            <p:custDataLst>
              <p:tags r:id="rId57"/>
            </p:custDataLst>
          </p:nvPr>
        </p:nvSpPr>
        <p:spPr bwMode="gray">
          <a:xfrm>
            <a:off x="1960562" y="53752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12CD60-1635-4D91-BBA6-E1433CE5480E}" type="datetime'43''''''.''''''''''''''''''''''''''3'''''''''''''''">
              <a:rPr lang="ja-JP" altLang="en-US" sz="800" smtClean="0"/>
              <a:pPr/>
              <a:t>43.3</a:t>
            </a:fld>
            <a:endParaRPr kumimoji="1" lang="ja-JP" altLang="en-US" sz="800" dirty="0">
              <a:sym typeface="+mn-lt"/>
            </a:endParaRPr>
          </a:p>
        </p:txBody>
      </p:sp>
      <p:sp>
        <p:nvSpPr>
          <p:cNvPr id="263" name="テキスト プレースホルダ 9">
            <a:extLst>
              <a:ext uri="{FF2B5EF4-FFF2-40B4-BE49-F238E27FC236}">
                <a16:creationId xmlns:a16="http://schemas.microsoft.com/office/drawing/2014/main" id="{F5CD8E64-57CC-5D6C-351B-98D8F0A548E0}"/>
              </a:ext>
            </a:extLst>
          </p:cNvPr>
          <p:cNvSpPr>
            <a:spLocks noGrp="1"/>
          </p:cNvSpPr>
          <p:nvPr>
            <p:custDataLst>
              <p:tags r:id="rId58"/>
            </p:custDataLst>
          </p:nvPr>
        </p:nvSpPr>
        <p:spPr bwMode="gray">
          <a:xfrm>
            <a:off x="1960562" y="56943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E2F33-03AE-4AD0-B9F1-BFECA768625E}" type="datetime'1''5''''''''''''''''''''''''''.''''''''''8'''">
              <a:rPr lang="ja-JP" altLang="en-US" sz="800" smtClean="0"/>
              <a:pPr/>
              <a:t>15.8</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392844A1-F875-2B5B-F443-E1CC91DA916C}"/>
              </a:ext>
            </a:extLst>
          </p:cNvPr>
          <p:cNvSpPr>
            <a:spLocks noGrp="1"/>
          </p:cNvSpPr>
          <p:nvPr>
            <p:custDataLst>
              <p:tags r:id="rId59"/>
            </p:custDataLst>
          </p:nvPr>
        </p:nvSpPr>
        <p:spPr bwMode="gray">
          <a:xfrm>
            <a:off x="2228849" y="25130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5F1A1E-4E4C-48FC-91B8-3C7DC98F75D1}" type="datetime'''''''''2''''''''''''8''''''''''''''''8.''''7'''''''''''''">
              <a:rPr lang="ja-JP" altLang="en-US" sz="800" smtClean="0"/>
              <a:pPr/>
              <a:t>288.7</a:t>
            </a:fld>
            <a:endParaRPr kumimoji="1" lang="ja-JP" altLang="en-US" sz="800" dirty="0">
              <a:sym typeface="+mn-lt"/>
            </a:endParaRPr>
          </a:p>
        </p:txBody>
      </p:sp>
      <p:sp>
        <p:nvSpPr>
          <p:cNvPr id="265" name="テキスト プレースホルダ 9">
            <a:extLst>
              <a:ext uri="{FF2B5EF4-FFF2-40B4-BE49-F238E27FC236}">
                <a16:creationId xmlns:a16="http://schemas.microsoft.com/office/drawing/2014/main" id="{2C58D87C-ABE5-AE9A-5009-67C722DE1A08}"/>
              </a:ext>
            </a:extLst>
          </p:cNvPr>
          <p:cNvSpPr>
            <a:spLocks noGrp="1"/>
          </p:cNvSpPr>
          <p:nvPr>
            <p:custDataLst>
              <p:tags r:id="rId60"/>
            </p:custDataLst>
          </p:nvPr>
        </p:nvSpPr>
        <p:spPr bwMode="gray">
          <a:xfrm>
            <a:off x="2257424" y="5376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E8CFB7-F8C5-4E9E-95D3-31AD02465C16}" type="datetime'''''''''''''''''''''''''''43.''''''''''''''''''''''''''1'">
              <a:rPr lang="ja-JP" altLang="en-US" sz="800" smtClean="0"/>
              <a:pPr/>
              <a:t>43.1</a:t>
            </a:fld>
            <a:endParaRPr kumimoji="1" lang="ja-JP" altLang="en-US" sz="800" dirty="0">
              <a:sym typeface="+mn-lt"/>
            </a:endParaRPr>
          </a:p>
        </p:txBody>
      </p:sp>
      <p:sp>
        <p:nvSpPr>
          <p:cNvPr id="266" name="テキスト プレースホルダ 9">
            <a:extLst>
              <a:ext uri="{FF2B5EF4-FFF2-40B4-BE49-F238E27FC236}">
                <a16:creationId xmlns:a16="http://schemas.microsoft.com/office/drawing/2014/main" id="{0901B794-F1D0-B8BE-47C0-77744EC7FA50}"/>
              </a:ext>
            </a:extLst>
          </p:cNvPr>
          <p:cNvSpPr>
            <a:spLocks noGrp="1"/>
          </p:cNvSpPr>
          <p:nvPr>
            <p:custDataLst>
              <p:tags r:id="rId61"/>
            </p:custDataLst>
          </p:nvPr>
        </p:nvSpPr>
        <p:spPr bwMode="gray">
          <a:xfrm>
            <a:off x="2257424" y="57007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22105F-154B-4147-9498-0630C27324B2}" type="datetime'''1''''''''''''''''5''''''''''''''''''''''.''''''3'''''''''">
              <a:rPr lang="ja-JP" altLang="en-US" sz="800" smtClean="0"/>
              <a:pPr/>
              <a:t>15.3</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5A9EBA3B-38FC-5890-B9BA-DF68585D1A7D}"/>
              </a:ext>
            </a:extLst>
          </p:cNvPr>
          <p:cNvSpPr>
            <a:spLocks noGrp="1"/>
          </p:cNvSpPr>
          <p:nvPr>
            <p:custDataLst>
              <p:tags r:id="rId62"/>
            </p:custDataLst>
          </p:nvPr>
        </p:nvSpPr>
        <p:spPr bwMode="gray">
          <a:xfrm>
            <a:off x="2524124" y="2532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3AAC59-C39B-491C-AADC-36F0B53D8434}" type="datetime'''''''''2''''''''''87''''.''1'''''''''">
              <a:rPr lang="ja-JP" altLang="en-US" sz="800" smtClean="0"/>
              <a:pPr/>
              <a:t>287.1</a:t>
            </a:fld>
            <a:endParaRPr kumimoji="1" lang="ja-JP" altLang="en-US" sz="800" dirty="0">
              <a:sym typeface="+mn-lt"/>
            </a:endParaRPr>
          </a:p>
        </p:txBody>
      </p:sp>
      <p:sp>
        <p:nvSpPr>
          <p:cNvPr id="268" name="テキスト プレースホルダ 9">
            <a:extLst>
              <a:ext uri="{FF2B5EF4-FFF2-40B4-BE49-F238E27FC236}">
                <a16:creationId xmlns:a16="http://schemas.microsoft.com/office/drawing/2014/main" id="{674C04FF-BF74-DD82-E6AF-8F603EA70143}"/>
              </a:ext>
            </a:extLst>
          </p:cNvPr>
          <p:cNvSpPr>
            <a:spLocks noGrp="1"/>
          </p:cNvSpPr>
          <p:nvPr>
            <p:custDataLst>
              <p:tags r:id="rId63"/>
            </p:custDataLst>
          </p:nvPr>
        </p:nvSpPr>
        <p:spPr bwMode="gray">
          <a:xfrm>
            <a:off x="2552699" y="53578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83BCFB-8A36-4496-9FD1-7824E1FCBA52}" type="datetime'''''''''4''''''''''4''''''''''''''''''''''''''''.7'''''''''''">
              <a:rPr lang="ja-JP" altLang="en-US" sz="800" smtClean="0"/>
              <a:pPr/>
              <a:t>44.7</a:t>
            </a:fld>
            <a:endParaRPr kumimoji="1" lang="ja-JP" altLang="en-US" sz="800" dirty="0">
              <a:sym typeface="+mn-lt"/>
            </a:endParaRPr>
          </a:p>
        </p:txBody>
      </p:sp>
      <p:sp>
        <p:nvSpPr>
          <p:cNvPr id="269" name="テキスト プレースホルダ 9">
            <a:extLst>
              <a:ext uri="{FF2B5EF4-FFF2-40B4-BE49-F238E27FC236}">
                <a16:creationId xmlns:a16="http://schemas.microsoft.com/office/drawing/2014/main" id="{773DA47B-8256-4932-B128-BA029305AA68}"/>
              </a:ext>
            </a:extLst>
          </p:cNvPr>
          <p:cNvSpPr>
            <a:spLocks noGrp="1"/>
          </p:cNvSpPr>
          <p:nvPr>
            <p:custDataLst>
              <p:tags r:id="rId64"/>
            </p:custDataLst>
          </p:nvPr>
        </p:nvSpPr>
        <p:spPr bwMode="gray">
          <a:xfrm>
            <a:off x="2819399" y="25495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E8CC4D-E4DA-4853-9D98-59DE0BE36FC7}" type="datetime'''2''''''''''''''8''''5''''''''''''''''''''''.''''7'">
              <a:rPr lang="ja-JP" altLang="en-US" sz="800" smtClean="0"/>
              <a:pPr/>
              <a:t>285.7</a:t>
            </a:fld>
            <a:endParaRPr kumimoji="1" lang="ja-JP" altLang="en-US" sz="800" dirty="0">
              <a:sym typeface="+mn-lt"/>
            </a:endParaRPr>
          </a:p>
        </p:txBody>
      </p:sp>
      <p:sp>
        <p:nvSpPr>
          <p:cNvPr id="270" name="テキスト プレースホルダ 9">
            <a:extLst>
              <a:ext uri="{FF2B5EF4-FFF2-40B4-BE49-F238E27FC236}">
                <a16:creationId xmlns:a16="http://schemas.microsoft.com/office/drawing/2014/main" id="{2115262A-F066-495A-4717-A2BBF0160654}"/>
              </a:ext>
            </a:extLst>
          </p:cNvPr>
          <p:cNvSpPr>
            <a:spLocks noGrp="1"/>
          </p:cNvSpPr>
          <p:nvPr>
            <p:custDataLst>
              <p:tags r:id="rId65"/>
            </p:custDataLst>
          </p:nvPr>
        </p:nvSpPr>
        <p:spPr bwMode="gray">
          <a:xfrm>
            <a:off x="2847974" y="53721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51124A-62C8-4CE1-9824-444E33EBFEBE}" type="datetime'''''''''''''''4''3.''''5'''''">
              <a:rPr lang="ja-JP" altLang="en-US" sz="800" smtClean="0"/>
              <a:pPr/>
              <a:t>43.5</a:t>
            </a:fld>
            <a:endParaRPr kumimoji="1" lang="ja-JP" altLang="en-US" sz="800" dirty="0">
              <a:sym typeface="+mn-lt"/>
            </a:endParaRPr>
          </a:p>
        </p:txBody>
      </p:sp>
      <p:sp>
        <p:nvSpPr>
          <p:cNvPr id="271" name="テキスト プレースホルダ 9">
            <a:extLst>
              <a:ext uri="{FF2B5EF4-FFF2-40B4-BE49-F238E27FC236}">
                <a16:creationId xmlns:a16="http://schemas.microsoft.com/office/drawing/2014/main" id="{E98B67FE-41D3-8CD8-097F-A69092AD5210}"/>
              </a:ext>
            </a:extLst>
          </p:cNvPr>
          <p:cNvSpPr>
            <a:spLocks noGrp="1"/>
          </p:cNvSpPr>
          <p:nvPr>
            <p:custDataLst>
              <p:tags r:id="rId66"/>
            </p:custDataLst>
          </p:nvPr>
        </p:nvSpPr>
        <p:spPr bwMode="gray">
          <a:xfrm>
            <a:off x="3116262" y="25590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539CCC-ED30-4F35-8D6F-EC1C508A02FA}" type="datetime'''''''''''''2''8''''''''''4''.''''''''8'''''''''">
              <a:rPr lang="ja-JP" altLang="en-US" sz="800" smtClean="0"/>
              <a:pPr/>
              <a:t>284.8</a:t>
            </a:fld>
            <a:endParaRPr kumimoji="1" lang="ja-JP" altLang="en-US" sz="800" dirty="0">
              <a:sym typeface="+mn-lt"/>
            </a:endParaRPr>
          </a:p>
        </p:txBody>
      </p:sp>
      <p:sp>
        <p:nvSpPr>
          <p:cNvPr id="272" name="テキスト プレースホルダ 9">
            <a:extLst>
              <a:ext uri="{FF2B5EF4-FFF2-40B4-BE49-F238E27FC236}">
                <a16:creationId xmlns:a16="http://schemas.microsoft.com/office/drawing/2014/main" id="{784DE889-FE35-73B8-10B9-FF17C2C4FEBA}"/>
              </a:ext>
            </a:extLst>
          </p:cNvPr>
          <p:cNvSpPr>
            <a:spLocks noGrp="1"/>
          </p:cNvSpPr>
          <p:nvPr>
            <p:custDataLst>
              <p:tags r:id="rId67"/>
            </p:custDataLst>
          </p:nvPr>
        </p:nvSpPr>
        <p:spPr bwMode="gray">
          <a:xfrm>
            <a:off x="3144837" y="53387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DC611-0DA8-4DD8-88B8-C71062712EBD}" type="datetime'4''''''''''''''''''''''6''''''''.''''4'''''''''''''''">
              <a:rPr lang="ja-JP" altLang="en-US" sz="800" smtClean="0"/>
              <a:pPr/>
              <a:t>46.4</a:t>
            </a:fld>
            <a:endParaRPr kumimoji="1" lang="ja-JP" altLang="en-US" sz="800" dirty="0">
              <a:sym typeface="+mn-lt"/>
            </a:endParaRPr>
          </a:p>
        </p:txBody>
      </p:sp>
      <p:sp useBgFill="1">
        <p:nvSpPr>
          <p:cNvPr id="127" name="テキスト プレースホルダ 9">
            <a:extLst>
              <a:ext uri="{FF2B5EF4-FFF2-40B4-BE49-F238E27FC236}">
                <a16:creationId xmlns:a16="http://schemas.microsoft.com/office/drawing/2014/main" id="{0C786234-1A52-CCE6-2C19-766D58BB2AE0}"/>
              </a:ext>
            </a:extLst>
          </p:cNvPr>
          <p:cNvSpPr>
            <a:spLocks noGrp="1"/>
          </p:cNvSpPr>
          <p:nvPr>
            <p:custDataLst>
              <p:tags r:id="rId68"/>
            </p:custDataLst>
          </p:nvPr>
        </p:nvSpPr>
        <p:spPr bwMode="gray">
          <a:xfrm>
            <a:off x="561975" y="6084888"/>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9F96D27-4FD7-44A4-9FF1-F858D6AE20AA}" type="datetime'5''.''''''''''3'''''''''''">
              <a:rPr lang="ja-JP" altLang="en-US" sz="800" smtClean="0"/>
              <a:pPr marL="0" lvl="0" indent="0">
                <a:spcBef>
                  <a:spcPct val="0"/>
                </a:spcBef>
                <a:buNone/>
              </a:pPr>
              <a:t>5.3</a:t>
            </a:fld>
            <a:endParaRPr kumimoji="1" lang="ja-JP" altLang="en-US" sz="800" dirty="0">
              <a:sym typeface="+mn-lt"/>
            </a:endParaRPr>
          </a:p>
        </p:txBody>
      </p:sp>
      <p:sp>
        <p:nvSpPr>
          <p:cNvPr id="274" name="テキスト プレースホルダ 9">
            <a:extLst>
              <a:ext uri="{FF2B5EF4-FFF2-40B4-BE49-F238E27FC236}">
                <a16:creationId xmlns:a16="http://schemas.microsoft.com/office/drawing/2014/main" id="{89840EA6-5B99-4E3A-263A-DBA2D4A83B1D}"/>
              </a:ext>
            </a:extLst>
          </p:cNvPr>
          <p:cNvSpPr>
            <a:spLocks noGrp="1"/>
          </p:cNvSpPr>
          <p:nvPr>
            <p:custDataLst>
              <p:tags r:id="rId69"/>
            </p:custDataLst>
          </p:nvPr>
        </p:nvSpPr>
        <p:spPr bwMode="gray">
          <a:xfrm>
            <a:off x="3440112" y="53673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FA9811-B16F-417D-8EC6-5F6166FB57DA}" type="datetime'''''4''''3''''''''''.''''''9'''''''''''''''''''">
              <a:rPr lang="ja-JP" altLang="en-US" sz="800" smtClean="0"/>
              <a:pPr/>
              <a:t>43.9</a:t>
            </a:fld>
            <a:endParaRPr kumimoji="1" lang="ja-JP" altLang="en-US" sz="800" dirty="0">
              <a:sym typeface="+mn-lt"/>
            </a:endParaRPr>
          </a:p>
        </p:txBody>
      </p:sp>
      <p:sp>
        <p:nvSpPr>
          <p:cNvPr id="275" name="テキスト プレースホルダ 9">
            <a:extLst>
              <a:ext uri="{FF2B5EF4-FFF2-40B4-BE49-F238E27FC236}">
                <a16:creationId xmlns:a16="http://schemas.microsoft.com/office/drawing/2014/main" id="{BEA931DD-0178-3278-A550-0EA0F03F5011}"/>
              </a:ext>
            </a:extLst>
          </p:cNvPr>
          <p:cNvSpPr>
            <a:spLocks noGrp="1"/>
          </p:cNvSpPr>
          <p:nvPr>
            <p:custDataLst>
              <p:tags r:id="rId70"/>
            </p:custDataLst>
          </p:nvPr>
        </p:nvSpPr>
        <p:spPr bwMode="gray">
          <a:xfrm>
            <a:off x="3706812" y="26574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513FF0-9137-4BF1-A086-A3377C6B9974}" type="datetime'''''2''''''''''''''''7''6''''''''''''.''''4'''''">
              <a:rPr lang="ja-JP" altLang="en-US" sz="800" smtClean="0"/>
              <a:pPr/>
              <a:t>276.4</a:t>
            </a:fld>
            <a:endParaRPr kumimoji="1" lang="ja-JP" altLang="en-US" sz="800" dirty="0">
              <a:sym typeface="+mn-lt"/>
            </a:endParaRPr>
          </a:p>
        </p:txBody>
      </p:sp>
      <p:sp>
        <p:nvSpPr>
          <p:cNvPr id="276" name="テキスト プレースホルダ 9">
            <a:extLst>
              <a:ext uri="{FF2B5EF4-FFF2-40B4-BE49-F238E27FC236}">
                <a16:creationId xmlns:a16="http://schemas.microsoft.com/office/drawing/2014/main" id="{6AFAA597-EEE3-2C2B-AAAB-678FF2F1BB43}"/>
              </a:ext>
            </a:extLst>
          </p:cNvPr>
          <p:cNvSpPr>
            <a:spLocks noGrp="1"/>
          </p:cNvSpPr>
          <p:nvPr>
            <p:custDataLst>
              <p:tags r:id="rId71"/>
            </p:custDataLst>
          </p:nvPr>
        </p:nvSpPr>
        <p:spPr bwMode="gray">
          <a:xfrm>
            <a:off x="3735387" y="53197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5EAE8-D23A-470D-BB13-7FDF485DAF20}" type="datetime'''''4''8''''''''''''''''''.''''''''0'''''''''''''''''">
              <a:rPr lang="ja-JP" altLang="en-US" sz="800" smtClean="0"/>
              <a:pPr/>
              <a:t>48.0</a:t>
            </a:fld>
            <a:endParaRPr kumimoji="1" lang="ja-JP" altLang="en-US" sz="800" dirty="0">
              <a:sym typeface="+mn-lt"/>
            </a:endParaRPr>
          </a:p>
        </p:txBody>
      </p:sp>
      <p:sp>
        <p:nvSpPr>
          <p:cNvPr id="277" name="テキスト プレースホルダ 9">
            <a:extLst>
              <a:ext uri="{FF2B5EF4-FFF2-40B4-BE49-F238E27FC236}">
                <a16:creationId xmlns:a16="http://schemas.microsoft.com/office/drawing/2014/main" id="{7FCD072E-6B72-BB15-7EA3-73CE4F657FA1}"/>
              </a:ext>
            </a:extLst>
          </p:cNvPr>
          <p:cNvSpPr>
            <a:spLocks noGrp="1"/>
          </p:cNvSpPr>
          <p:nvPr>
            <p:custDataLst>
              <p:tags r:id="rId72"/>
            </p:custDataLst>
          </p:nvPr>
        </p:nvSpPr>
        <p:spPr bwMode="gray">
          <a:xfrm>
            <a:off x="4002087" y="27019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01750-9B76-4939-A4FB-28485D01579B}" type="datetime'''2''''''''7''''''''''''2''''''''''''''''''''.''6'''">
              <a:rPr lang="ja-JP" altLang="en-US" sz="800" smtClean="0"/>
              <a:pPr/>
              <a:t>272.6</a:t>
            </a:fld>
            <a:endParaRPr kumimoji="1" lang="ja-JP" altLang="en-US" sz="800" dirty="0">
              <a:sym typeface="+mn-lt"/>
            </a:endParaRPr>
          </a:p>
        </p:txBody>
      </p:sp>
      <p:sp>
        <p:nvSpPr>
          <p:cNvPr id="278" name="テキスト プレースホルダ 9">
            <a:extLst>
              <a:ext uri="{FF2B5EF4-FFF2-40B4-BE49-F238E27FC236}">
                <a16:creationId xmlns:a16="http://schemas.microsoft.com/office/drawing/2014/main" id="{2E6C4C69-43BE-3AB1-69D9-43CC4F0A290C}"/>
              </a:ext>
            </a:extLst>
          </p:cNvPr>
          <p:cNvSpPr>
            <a:spLocks noGrp="1"/>
          </p:cNvSpPr>
          <p:nvPr>
            <p:custDataLst>
              <p:tags r:id="rId73"/>
            </p:custDataLst>
          </p:nvPr>
        </p:nvSpPr>
        <p:spPr bwMode="gray">
          <a:xfrm>
            <a:off x="4030662" y="5302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F3159D-73DA-41F7-AADC-927FAB0356CD}" type="datetime'4''''''''''''''''''''''''''9''''''''''.''''''''''''''5'''">
              <a:rPr lang="ja-JP" altLang="en-US" sz="800" smtClean="0"/>
              <a:pPr/>
              <a:t>49.5</a:t>
            </a:fld>
            <a:endParaRPr kumimoji="1" lang="ja-JP" altLang="en-US" sz="800" dirty="0">
              <a:sym typeface="+mn-lt"/>
            </a:endParaRPr>
          </a:p>
        </p:txBody>
      </p:sp>
      <p:sp>
        <p:nvSpPr>
          <p:cNvPr id="279" name="テキスト プレースホルダ 9">
            <a:extLst>
              <a:ext uri="{FF2B5EF4-FFF2-40B4-BE49-F238E27FC236}">
                <a16:creationId xmlns:a16="http://schemas.microsoft.com/office/drawing/2014/main" id="{8BF7EF47-1FEB-56A0-E297-E2C377755241}"/>
              </a:ext>
            </a:extLst>
          </p:cNvPr>
          <p:cNvSpPr>
            <a:spLocks noGrp="1"/>
          </p:cNvSpPr>
          <p:nvPr>
            <p:custDataLst>
              <p:tags r:id="rId74"/>
            </p:custDataLst>
          </p:nvPr>
        </p:nvSpPr>
        <p:spPr bwMode="gray">
          <a:xfrm>
            <a:off x="4030662" y="5683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96408-2A27-4906-8341-778C0366460B}" type="datetime'''''''''''''''''1''6''''.''''8'">
              <a:rPr lang="ja-JP" altLang="en-US" sz="800" smtClean="0"/>
              <a:pPr/>
              <a:t>16.8</a:t>
            </a:fld>
            <a:endParaRPr kumimoji="1" lang="ja-JP" altLang="en-US" sz="800" dirty="0">
              <a:sym typeface="+mn-lt"/>
            </a:endParaRPr>
          </a:p>
        </p:txBody>
      </p:sp>
      <p:sp>
        <p:nvSpPr>
          <p:cNvPr id="280" name="テキスト プレースホルダ 9">
            <a:extLst>
              <a:ext uri="{FF2B5EF4-FFF2-40B4-BE49-F238E27FC236}">
                <a16:creationId xmlns:a16="http://schemas.microsoft.com/office/drawing/2014/main" id="{9E9A108C-4926-FAA9-116F-7218C714B03C}"/>
              </a:ext>
            </a:extLst>
          </p:cNvPr>
          <p:cNvSpPr>
            <a:spLocks noGrp="1"/>
          </p:cNvSpPr>
          <p:nvPr>
            <p:custDataLst>
              <p:tags r:id="rId75"/>
            </p:custDataLst>
          </p:nvPr>
        </p:nvSpPr>
        <p:spPr bwMode="gray">
          <a:xfrm>
            <a:off x="4298949" y="27447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AAB8C-CD6B-42BB-A97B-FC5B75BB52FC}" type="datetime'''''''26''''''''8.''''''9'''''''''''''''''''">
              <a:rPr lang="ja-JP" altLang="en-US" sz="800" smtClean="0"/>
              <a:pPr/>
              <a:t>268.9</a:t>
            </a:fld>
            <a:endParaRPr kumimoji="1" lang="ja-JP" altLang="en-US" sz="800" dirty="0">
              <a:sym typeface="+mn-lt"/>
            </a:endParaRPr>
          </a:p>
        </p:txBody>
      </p:sp>
      <p:sp>
        <p:nvSpPr>
          <p:cNvPr id="281" name="テキスト プレースホルダ 9">
            <a:extLst>
              <a:ext uri="{FF2B5EF4-FFF2-40B4-BE49-F238E27FC236}">
                <a16:creationId xmlns:a16="http://schemas.microsoft.com/office/drawing/2014/main" id="{37531879-53A1-0170-907F-25BE07F15439}"/>
              </a:ext>
            </a:extLst>
          </p:cNvPr>
          <p:cNvSpPr>
            <a:spLocks noGrp="1"/>
          </p:cNvSpPr>
          <p:nvPr>
            <p:custDataLst>
              <p:tags r:id="rId76"/>
            </p:custDataLst>
          </p:nvPr>
        </p:nvSpPr>
        <p:spPr bwMode="gray">
          <a:xfrm>
            <a:off x="4327524" y="52784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895B7A-2062-4EA6-8024-E25F5EC767AA}" type="datetime'5''''1.''6'''''''''''''''''''''''''''''''''''">
              <a:rPr lang="ja-JP" altLang="en-US" sz="800" smtClean="0"/>
              <a:pPr/>
              <a:t>51.6</a:t>
            </a:fld>
            <a:endParaRPr kumimoji="1" lang="ja-JP" altLang="en-US" sz="800" dirty="0">
              <a:sym typeface="+mn-lt"/>
            </a:endParaRPr>
          </a:p>
        </p:txBody>
      </p:sp>
      <p:sp>
        <p:nvSpPr>
          <p:cNvPr id="282" name="テキスト プレースホルダ 9">
            <a:extLst>
              <a:ext uri="{FF2B5EF4-FFF2-40B4-BE49-F238E27FC236}">
                <a16:creationId xmlns:a16="http://schemas.microsoft.com/office/drawing/2014/main" id="{87533A74-051D-D54D-AC5F-960E7623C535}"/>
              </a:ext>
            </a:extLst>
          </p:cNvPr>
          <p:cNvSpPr>
            <a:spLocks noGrp="1"/>
          </p:cNvSpPr>
          <p:nvPr>
            <p:custDataLst>
              <p:tags r:id="rId77"/>
            </p:custDataLst>
          </p:nvPr>
        </p:nvSpPr>
        <p:spPr bwMode="gray">
          <a:xfrm>
            <a:off x="4327524" y="56705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EBDA63-7C26-4A22-B1A6-420DD898DE97}" type="datetime'1''7''''.''''''''9'">
              <a:rPr lang="ja-JP" altLang="en-US" sz="800" smtClean="0"/>
              <a:pPr/>
              <a:t>17.9</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BDD469AF-CA81-2CBA-7858-28A1794B9B03}"/>
              </a:ext>
            </a:extLst>
          </p:cNvPr>
          <p:cNvSpPr>
            <a:spLocks noGrp="1"/>
          </p:cNvSpPr>
          <p:nvPr>
            <p:custDataLst>
              <p:tags r:id="rId78"/>
            </p:custDataLst>
          </p:nvPr>
        </p:nvSpPr>
        <p:spPr bwMode="gray">
          <a:xfrm>
            <a:off x="3411537" y="26130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29A93-0ED5-4077-BBE1-CA79766BECBB}" type="datetime'2''''8''''''''''''''''0''.''''2'''''''''''''''">
              <a:rPr lang="ja-JP" altLang="en-US" sz="800" smtClean="0"/>
              <a:pPr/>
              <a:t>280.2</a:t>
            </a:fld>
            <a:endParaRPr kumimoji="1" lang="ja-JP" altLang="en-US" sz="800" dirty="0">
              <a:sym typeface="+mn-lt"/>
            </a:endParaRPr>
          </a:p>
        </p:txBody>
      </p:sp>
      <p:sp>
        <p:nvSpPr>
          <p:cNvPr id="284" name="テキスト プレースホルダ 9">
            <a:extLst>
              <a:ext uri="{FF2B5EF4-FFF2-40B4-BE49-F238E27FC236}">
                <a16:creationId xmlns:a16="http://schemas.microsoft.com/office/drawing/2014/main" id="{48B88FFD-576C-E56D-3E81-630253B62E49}"/>
              </a:ext>
            </a:extLst>
          </p:cNvPr>
          <p:cNvSpPr>
            <a:spLocks noGrp="1"/>
          </p:cNvSpPr>
          <p:nvPr>
            <p:custDataLst>
              <p:tags r:id="rId79"/>
            </p:custDataLst>
          </p:nvPr>
        </p:nvSpPr>
        <p:spPr bwMode="gray">
          <a:xfrm>
            <a:off x="4622799" y="53070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E0534E-1ABD-4ACC-A3F6-25939AC45C4F}" type="datetime'''4''''''''''''''''''''''''''''''''9.''1'''''''''">
              <a:rPr lang="ja-JP" altLang="en-US" sz="800" smtClean="0"/>
              <a:pPr/>
              <a:t>49.1</a:t>
            </a:fld>
            <a:endParaRPr kumimoji="1" lang="ja-JP" altLang="en-US" sz="800" dirty="0">
              <a:sym typeface="+mn-lt"/>
            </a:endParaRPr>
          </a:p>
        </p:txBody>
      </p:sp>
      <p:sp>
        <p:nvSpPr>
          <p:cNvPr id="285" name="テキスト プレースホルダ 9">
            <a:extLst>
              <a:ext uri="{FF2B5EF4-FFF2-40B4-BE49-F238E27FC236}">
                <a16:creationId xmlns:a16="http://schemas.microsoft.com/office/drawing/2014/main" id="{87320E02-A7FC-B1FD-CC1B-68BC1E6EDDC8}"/>
              </a:ext>
            </a:extLst>
          </p:cNvPr>
          <p:cNvSpPr>
            <a:spLocks noGrp="1"/>
          </p:cNvSpPr>
          <p:nvPr>
            <p:custDataLst>
              <p:tags r:id="rId80"/>
            </p:custDataLst>
          </p:nvPr>
        </p:nvSpPr>
        <p:spPr bwMode="gray">
          <a:xfrm>
            <a:off x="4622799" y="56657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02AB1-C43F-4B00-BE71-4ABFBB145490}" type="datetime'''''''''''1''8''''''''.''3'''''''''''''">
              <a:rPr lang="ja-JP" altLang="en-US" sz="800" smtClean="0"/>
              <a:pPr/>
              <a:t>18.3</a:t>
            </a:fld>
            <a:endParaRPr kumimoji="1" lang="ja-JP" altLang="en-US" sz="800" dirty="0">
              <a:sym typeface="+mn-lt"/>
            </a:endParaRPr>
          </a:p>
        </p:txBody>
      </p:sp>
      <p:sp>
        <p:nvSpPr>
          <p:cNvPr id="30" name="テキスト プレースホルダ 9"/>
          <p:cNvSpPr>
            <a:spLocks noGrp="1"/>
          </p:cNvSpPr>
          <p:nvPr>
            <p:custDataLst>
              <p:tags r:id="rId81"/>
            </p:custDataLst>
          </p:nvPr>
        </p:nvSpPr>
        <p:spPr bwMode="auto">
          <a:xfrm>
            <a:off x="450850" y="62499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A33094-FA59-4E86-919D-E136E33B88EF}" type="datetime'''''''''''''20''''''''''''1''''''0'''''''''''''''''''''''">
              <a:rPr lang="ja-JP" altLang="en-US" sz="1000" smtClean="0"/>
              <a:pPr/>
              <a:t>2010</a:t>
            </a:fld>
            <a:endParaRPr kumimoji="0" lang="ja-JP" altLang="en-US" sz="1000" dirty="0">
              <a:sym typeface="+mn-lt"/>
            </a:endParaRPr>
          </a:p>
        </p:txBody>
      </p:sp>
      <p:sp useBgFill="1">
        <p:nvSpPr>
          <p:cNvPr id="128" name="テキスト プレースホルダ 9">
            <a:extLst>
              <a:ext uri="{FF2B5EF4-FFF2-40B4-BE49-F238E27FC236}">
                <a16:creationId xmlns:a16="http://schemas.microsoft.com/office/drawing/2014/main" id="{6C290933-FE37-86DC-3F22-83859F781D82}"/>
              </a:ext>
            </a:extLst>
          </p:cNvPr>
          <p:cNvSpPr>
            <a:spLocks noGrp="1"/>
          </p:cNvSpPr>
          <p:nvPr>
            <p:custDataLst>
              <p:tags r:id="rId82"/>
            </p:custDataLst>
          </p:nvPr>
        </p:nvSpPr>
        <p:spPr bwMode="gray">
          <a:xfrm>
            <a:off x="777874" y="544036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CA9358-C574-4403-B2CD-51945D7D56F6}" type="datetime'''''''''''''''''''3''''''7''''''''''''''''''''.6'''''''''">
              <a:rPr lang="ja-JP" altLang="en-US" sz="800" smtClean="0">
                <a:effectLst/>
              </a:rPr>
              <a:pPr/>
              <a:t>37.6</a:t>
            </a:fld>
            <a:endParaRPr kumimoji="1" lang="ja-JP" altLang="en-US" sz="800" dirty="0">
              <a:sym typeface="+mn-lt"/>
            </a:endParaRPr>
          </a:p>
        </p:txBody>
      </p:sp>
      <p:sp>
        <p:nvSpPr>
          <p:cNvPr id="129" name="テキスト プレースホルダ 9">
            <a:extLst>
              <a:ext uri="{FF2B5EF4-FFF2-40B4-BE49-F238E27FC236}">
                <a16:creationId xmlns:a16="http://schemas.microsoft.com/office/drawing/2014/main" id="{A136C6D3-57BA-E982-ED59-01B5AC2A4196}"/>
              </a:ext>
            </a:extLst>
          </p:cNvPr>
          <p:cNvSpPr>
            <a:spLocks noGrp="1"/>
          </p:cNvSpPr>
          <p:nvPr>
            <p:custDataLst>
              <p:tags r:id="rId83"/>
            </p:custDataLst>
          </p:nvPr>
        </p:nvSpPr>
        <p:spPr bwMode="gray">
          <a:xfrm>
            <a:off x="739775" y="6084888"/>
            <a:ext cx="1714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A976F23-E350-4D1E-8DFF-73AE0D7B6972}" type="datetime'''''''''''''''5.''4'''''''''''''''''''''''''''''''">
              <a:rPr lang="ja-JP" altLang="en-US" sz="800" smtClean="0">
                <a:effectLst/>
              </a:rPr>
              <a:pPr marL="0" lvl="0" indent="0">
                <a:spcBef>
                  <a:spcPct val="0"/>
                </a:spcBef>
                <a:buNone/>
              </a:pPr>
              <a:t>5.4</a:t>
            </a:fld>
            <a:endParaRPr kumimoji="1" lang="ja-JP" altLang="en-US" sz="800" dirty="0">
              <a:sym typeface="+mn-lt"/>
            </a:endParaRPr>
          </a:p>
        </p:txBody>
      </p:sp>
      <p:sp>
        <p:nvSpPr>
          <p:cNvPr id="27" name="テキスト プレースホルダ 9"/>
          <p:cNvSpPr>
            <a:spLocks noGrp="1"/>
          </p:cNvSpPr>
          <p:nvPr>
            <p:custDataLst>
              <p:tags r:id="rId84"/>
            </p:custDataLst>
          </p:nvPr>
        </p:nvSpPr>
        <p:spPr bwMode="auto">
          <a:xfrm>
            <a:off x="81597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CFBEC7-F547-41AE-B39A-77D98019D799}" type="datetime'''''''''''''''''''''1''''''''''''''''1'''''">
              <a:rPr lang="ja-JP" altLang="en-US" sz="1000" smtClean="0"/>
              <a:pPr/>
              <a:t>11</a:t>
            </a:fld>
            <a:endParaRPr kumimoji="0" lang="ja-JP" altLang="en-US" sz="1000" dirty="0">
              <a:sym typeface="+mn-lt"/>
            </a:endParaRPr>
          </a:p>
        </p:txBody>
      </p:sp>
      <p:sp useBgFill="1">
        <p:nvSpPr>
          <p:cNvPr id="130" name="テキスト プレースホルダ 9">
            <a:extLst>
              <a:ext uri="{FF2B5EF4-FFF2-40B4-BE49-F238E27FC236}">
                <a16:creationId xmlns:a16="http://schemas.microsoft.com/office/drawing/2014/main" id="{4B987545-3A61-0D8D-2AE8-D2488153B2B5}"/>
              </a:ext>
            </a:extLst>
          </p:cNvPr>
          <p:cNvSpPr>
            <a:spLocks noGrp="1"/>
          </p:cNvSpPr>
          <p:nvPr>
            <p:custDataLst>
              <p:tags r:id="rId85"/>
            </p:custDataLst>
          </p:nvPr>
        </p:nvSpPr>
        <p:spPr bwMode="gray">
          <a:xfrm>
            <a:off x="1074737" y="54308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D6753D-6174-4B83-8C08-407841A187A7}" type="datetime'''''''3''8''''.''''''''''''''''''''''''4'''''''''''''''">
              <a:rPr lang="ja-JP" altLang="en-US" sz="800" smtClean="0">
                <a:effectLst/>
              </a:rPr>
              <a:pPr/>
              <a:t>38.4</a:t>
            </a:fld>
            <a:endParaRPr kumimoji="1" lang="ja-JP" altLang="en-US" sz="800" dirty="0">
              <a:sym typeface="+mn-lt"/>
            </a:endParaRPr>
          </a:p>
        </p:txBody>
      </p:sp>
      <p:sp useBgFill="1">
        <p:nvSpPr>
          <p:cNvPr id="126" name="テキスト プレースホルダ 9">
            <a:extLst>
              <a:ext uri="{FF2B5EF4-FFF2-40B4-BE49-F238E27FC236}">
                <a16:creationId xmlns:a16="http://schemas.microsoft.com/office/drawing/2014/main" id="{19908F0E-F86B-432B-E1C5-F29F747E5D85}"/>
              </a:ext>
            </a:extLst>
          </p:cNvPr>
          <p:cNvSpPr>
            <a:spLocks noGrp="1"/>
          </p:cNvSpPr>
          <p:nvPr>
            <p:custDataLst>
              <p:tags r:id="rId86"/>
            </p:custDataLst>
          </p:nvPr>
        </p:nvSpPr>
        <p:spPr bwMode="gray">
          <a:xfrm>
            <a:off x="628649" y="544830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D3308-ACB1-4362-BC0D-5C660AA3D436}" type="datetime'''''36.''9'''''''''''''''">
              <a:rPr lang="ja-JP" altLang="en-US" sz="800" smtClean="0">
                <a:effectLst/>
              </a:rPr>
              <a:pPr/>
              <a:t>36.9</a:t>
            </a:fld>
            <a:endParaRPr kumimoji="1" lang="ja-JP" altLang="en-US" sz="800" dirty="0">
              <a:sym typeface="+mn-lt"/>
            </a:endParaRPr>
          </a:p>
        </p:txBody>
      </p:sp>
      <p:sp>
        <p:nvSpPr>
          <p:cNvPr id="131" name="テキスト プレースホルダ 9">
            <a:extLst>
              <a:ext uri="{FF2B5EF4-FFF2-40B4-BE49-F238E27FC236}">
                <a16:creationId xmlns:a16="http://schemas.microsoft.com/office/drawing/2014/main" id="{88184583-D14E-812E-A511-BEC3F344CF24}"/>
              </a:ext>
            </a:extLst>
          </p:cNvPr>
          <p:cNvSpPr>
            <a:spLocks noGrp="1"/>
          </p:cNvSpPr>
          <p:nvPr>
            <p:custDataLst>
              <p:tags r:id="rId87"/>
            </p:custDataLst>
          </p:nvPr>
        </p:nvSpPr>
        <p:spPr bwMode="gray">
          <a:xfrm>
            <a:off x="1036638" y="6083300"/>
            <a:ext cx="1714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EB55B82-64A7-43DB-B391-380F5FB2A5E5}" type="datetime'''''''''''5''''''''''''''''''''''''''.''''''''''''''6'''''">
              <a:rPr lang="ja-JP" altLang="en-US" sz="800" smtClean="0">
                <a:effectLst/>
              </a:rPr>
              <a:pPr marL="0" lvl="0" indent="0">
                <a:spcBef>
                  <a:spcPct val="0"/>
                </a:spcBef>
                <a:buNone/>
              </a:pPr>
              <a:t>5.6</a:t>
            </a:fld>
            <a:endParaRPr kumimoji="1" lang="ja-JP" altLang="en-US" sz="800" dirty="0">
              <a:sym typeface="+mn-lt"/>
            </a:endParaRPr>
          </a:p>
        </p:txBody>
      </p:sp>
      <p:sp>
        <p:nvSpPr>
          <p:cNvPr id="283" name="テキスト プレースホルダ 9">
            <a:extLst>
              <a:ext uri="{FF2B5EF4-FFF2-40B4-BE49-F238E27FC236}">
                <a16:creationId xmlns:a16="http://schemas.microsoft.com/office/drawing/2014/main" id="{DDAFF988-B094-1C7B-F251-21127AF01992}"/>
              </a:ext>
            </a:extLst>
          </p:cNvPr>
          <p:cNvSpPr>
            <a:spLocks noGrp="1"/>
          </p:cNvSpPr>
          <p:nvPr>
            <p:custDataLst>
              <p:tags r:id="rId88"/>
            </p:custDataLst>
          </p:nvPr>
        </p:nvSpPr>
        <p:spPr bwMode="gray">
          <a:xfrm>
            <a:off x="4594224" y="27797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20086-7468-48C4-8D16-88C73AB74BD7}" type="datetime'2''''''''65''''''''.''''''''''''9'''''''''''">
              <a:rPr lang="ja-JP" altLang="en-US" sz="800" smtClean="0"/>
              <a:pPr/>
              <a:t>265.9</a:t>
            </a:fld>
            <a:endParaRPr kumimoji="1" lang="ja-JP" altLang="en-US" sz="800" dirty="0">
              <a:sym typeface="+mn-lt"/>
            </a:endParaRPr>
          </a:p>
        </p:txBody>
      </p:sp>
      <p:graphicFrame>
        <p:nvGraphicFramePr>
          <p:cNvPr id="482" name="Chart 481">
            <a:extLst>
              <a:ext uri="{FF2B5EF4-FFF2-40B4-BE49-F238E27FC236}">
                <a16:creationId xmlns:a16="http://schemas.microsoft.com/office/drawing/2014/main" id="{0B94CDE8-7297-E24F-E4AF-740647A3BC7B}"/>
              </a:ext>
            </a:extLst>
          </p:cNvPr>
          <p:cNvGraphicFramePr/>
          <p:nvPr>
            <p:custDataLst>
              <p:tags r:id="rId89"/>
            </p:custDataLst>
            <p:extLst>
              <p:ext uri="{D42A27DB-BD31-4B8C-83A1-F6EECF244321}">
                <p14:modId xmlns:p14="http://schemas.microsoft.com/office/powerpoint/2010/main" val="2488277582"/>
              </p:ext>
            </p:extLst>
          </p:nvPr>
        </p:nvGraphicFramePr>
        <p:xfrm>
          <a:off x="5229225" y="2411413"/>
          <a:ext cx="4622800" cy="3921125"/>
        </p:xfrm>
        <a:graphic>
          <a:graphicData uri="http://schemas.openxmlformats.org/drawingml/2006/chart">
            <c:chart xmlns:c="http://schemas.openxmlformats.org/drawingml/2006/chart" xmlns:r="http://schemas.openxmlformats.org/officeDocument/2006/relationships" r:id="rId167"/>
          </a:graphicData>
        </a:graphic>
      </p:graphicFrame>
      <p:cxnSp>
        <p:nvCxnSpPr>
          <p:cNvPr id="407" name="Straight Connector 406">
            <a:extLst>
              <a:ext uri="{FF2B5EF4-FFF2-40B4-BE49-F238E27FC236}">
                <a16:creationId xmlns:a16="http://schemas.microsoft.com/office/drawing/2014/main" id="{6639D6FB-D229-936C-162A-6D1AF64AB389}"/>
              </a:ext>
            </a:extLst>
          </p:cNvPr>
          <p:cNvCxnSpPr/>
          <p:nvPr>
            <p:custDataLst>
              <p:tags r:id="rId90"/>
            </p:custDataLst>
          </p:nvPr>
        </p:nvCxnSpPr>
        <p:spPr bwMode="auto">
          <a:xfrm>
            <a:off x="9120188" y="58293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D924ACDF-ED14-7AA2-F066-4AB952FCBB96}"/>
              </a:ext>
            </a:extLst>
          </p:cNvPr>
          <p:cNvCxnSpPr/>
          <p:nvPr>
            <p:custDataLst>
              <p:tags r:id="rId91"/>
            </p:custDataLst>
          </p:nvPr>
        </p:nvCxnSpPr>
        <p:spPr bwMode="auto">
          <a:xfrm>
            <a:off x="9705975" y="58197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4A87382E-55ED-C700-29CA-3E2F3E66121D}"/>
              </a:ext>
            </a:extLst>
          </p:cNvPr>
          <p:cNvCxnSpPr/>
          <p:nvPr>
            <p:custDataLst>
              <p:tags r:id="rId92"/>
            </p:custDataLst>
          </p:nvPr>
        </p:nvCxnSpPr>
        <p:spPr bwMode="auto">
          <a:xfrm flipV="1">
            <a:off x="5827713" y="6075363"/>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6BE00E7D-E647-0235-1D92-20D280074025}"/>
              </a:ext>
            </a:extLst>
          </p:cNvPr>
          <p:cNvCxnSpPr/>
          <p:nvPr>
            <p:custDataLst>
              <p:tags r:id="rId93"/>
            </p:custDataLst>
          </p:nvPr>
        </p:nvCxnSpPr>
        <p:spPr bwMode="auto">
          <a:xfrm flipV="1">
            <a:off x="6119813" y="6075363"/>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7FC4074D-DCBD-2FC0-AEA6-473840B02428}"/>
              </a:ext>
            </a:extLst>
          </p:cNvPr>
          <p:cNvCxnSpPr/>
          <p:nvPr>
            <p:custDataLst>
              <p:tags r:id="rId94"/>
            </p:custDataLst>
          </p:nvPr>
        </p:nvCxnSpPr>
        <p:spPr bwMode="auto">
          <a:xfrm flipV="1">
            <a:off x="6413500" y="6073775"/>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EC34BF40-3328-017E-7DA5-C10F886A6C3A}"/>
              </a:ext>
            </a:extLst>
          </p:cNvPr>
          <p:cNvCxnSpPr/>
          <p:nvPr>
            <p:custDataLst>
              <p:tags r:id="rId95"/>
            </p:custDataLst>
          </p:nvPr>
        </p:nvCxnSpPr>
        <p:spPr bwMode="auto">
          <a:xfrm flipV="1">
            <a:off x="7000875" y="6073775"/>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47D8EED0-B9B8-FEE1-D1B5-49D28726D6BB}"/>
              </a:ext>
            </a:extLst>
          </p:cNvPr>
          <p:cNvCxnSpPr/>
          <p:nvPr>
            <p:custDataLst>
              <p:tags r:id="rId96"/>
            </p:custDataLst>
          </p:nvPr>
        </p:nvCxnSpPr>
        <p:spPr bwMode="auto">
          <a:xfrm flipH="1">
            <a:off x="5651500" y="5364163"/>
            <a:ext cx="36513" cy="396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38950CFE-51AC-A5FC-2900-7CA34D419236}"/>
              </a:ext>
            </a:extLst>
          </p:cNvPr>
          <p:cNvCxnSpPr/>
          <p:nvPr>
            <p:custDataLst>
              <p:tags r:id="rId97"/>
            </p:custDataLst>
          </p:nvPr>
        </p:nvCxnSpPr>
        <p:spPr bwMode="auto">
          <a:xfrm flipV="1">
            <a:off x="7292975"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58D7C06E-E625-126F-4C20-84E9E0BF8D8B}"/>
              </a:ext>
            </a:extLst>
          </p:cNvPr>
          <p:cNvCxnSpPr/>
          <p:nvPr>
            <p:custDataLst>
              <p:tags r:id="rId98"/>
            </p:custDataLst>
          </p:nvPr>
        </p:nvCxnSpPr>
        <p:spPr bwMode="auto">
          <a:xfrm flipV="1">
            <a:off x="7586663" y="6070600"/>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AB6C0291-1522-AD60-6BAE-1C46255190F1}"/>
              </a:ext>
            </a:extLst>
          </p:cNvPr>
          <p:cNvCxnSpPr/>
          <p:nvPr>
            <p:custDataLst>
              <p:tags r:id="rId99"/>
            </p:custDataLst>
          </p:nvPr>
        </p:nvCxnSpPr>
        <p:spPr bwMode="auto">
          <a:xfrm flipV="1">
            <a:off x="7880350" y="6070600"/>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690EA179-4C12-EDAA-7F08-73794A8F5B87}"/>
              </a:ext>
            </a:extLst>
          </p:cNvPr>
          <p:cNvCxnSpPr/>
          <p:nvPr>
            <p:custDataLst>
              <p:tags r:id="rId100"/>
            </p:custDataLst>
          </p:nvPr>
        </p:nvCxnSpPr>
        <p:spPr bwMode="auto">
          <a:xfrm flipV="1">
            <a:off x="8172450"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86DF0E20-E61F-E62F-D614-1FB727D0E438}"/>
              </a:ext>
            </a:extLst>
          </p:cNvPr>
          <p:cNvCxnSpPr/>
          <p:nvPr>
            <p:custDataLst>
              <p:tags r:id="rId101"/>
            </p:custDataLst>
          </p:nvPr>
        </p:nvCxnSpPr>
        <p:spPr bwMode="auto">
          <a:xfrm flipV="1">
            <a:off x="8759825"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35AB3A98-1F84-331B-004F-0ABA128AD76F}"/>
              </a:ext>
            </a:extLst>
          </p:cNvPr>
          <p:cNvCxnSpPr/>
          <p:nvPr>
            <p:custDataLst>
              <p:tags r:id="rId102"/>
            </p:custDataLst>
          </p:nvPr>
        </p:nvCxnSpPr>
        <p:spPr bwMode="auto">
          <a:xfrm flipV="1">
            <a:off x="9053513" y="6073775"/>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DF826D5D-A15A-5436-DFB2-742885035BEB}"/>
              </a:ext>
            </a:extLst>
          </p:cNvPr>
          <p:cNvCxnSpPr/>
          <p:nvPr>
            <p:custDataLst>
              <p:tags r:id="rId103"/>
            </p:custDataLst>
          </p:nvPr>
        </p:nvCxnSpPr>
        <p:spPr bwMode="auto">
          <a:xfrm flipV="1">
            <a:off x="9345613" y="6073775"/>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251BBA7F-6888-95C7-8BEA-088C71DDE403}"/>
              </a:ext>
            </a:extLst>
          </p:cNvPr>
          <p:cNvCxnSpPr/>
          <p:nvPr>
            <p:custDataLst>
              <p:tags r:id="rId104"/>
            </p:custDataLst>
          </p:nvPr>
        </p:nvCxnSpPr>
        <p:spPr bwMode="auto">
          <a:xfrm flipV="1">
            <a:off x="9639300"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45FD660B-89E9-CD14-42B1-15EF9455804D}"/>
              </a:ext>
            </a:extLst>
          </p:cNvPr>
          <p:cNvCxnSpPr/>
          <p:nvPr>
            <p:custDataLst>
              <p:tags r:id="rId105"/>
            </p:custDataLst>
          </p:nvPr>
        </p:nvCxnSpPr>
        <p:spPr bwMode="auto">
          <a:xfrm>
            <a:off x="5894388" y="58467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D27BBD48-F4EE-D528-EB10-726BFC3683E6}"/>
              </a:ext>
            </a:extLst>
          </p:cNvPr>
          <p:cNvCxnSpPr/>
          <p:nvPr>
            <p:custDataLst>
              <p:tags r:id="rId106"/>
            </p:custDataLst>
          </p:nvPr>
        </p:nvCxnSpPr>
        <p:spPr bwMode="auto">
          <a:xfrm flipV="1">
            <a:off x="8466138" y="6076950"/>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AABBACE2-D220-889B-7E03-7A0954E36952}"/>
              </a:ext>
            </a:extLst>
          </p:cNvPr>
          <p:cNvCxnSpPr/>
          <p:nvPr>
            <p:custDataLst>
              <p:tags r:id="rId107"/>
            </p:custDataLst>
          </p:nvPr>
        </p:nvCxnSpPr>
        <p:spPr bwMode="auto">
          <a:xfrm>
            <a:off x="6773863" y="55308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C7E9880D-B48B-E0AB-7B4F-B7A8333252C7}"/>
              </a:ext>
            </a:extLst>
          </p:cNvPr>
          <p:cNvCxnSpPr/>
          <p:nvPr>
            <p:custDataLst>
              <p:tags r:id="rId108"/>
            </p:custDataLst>
          </p:nvPr>
        </p:nvCxnSpPr>
        <p:spPr bwMode="auto">
          <a:xfrm flipH="1">
            <a:off x="5645150" y="5553075"/>
            <a:ext cx="2540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6DABA3DF-482B-5E50-0A7C-5095C7BE7807}"/>
              </a:ext>
            </a:extLst>
          </p:cNvPr>
          <p:cNvCxnSpPr/>
          <p:nvPr>
            <p:custDataLst>
              <p:tags r:id="rId109"/>
            </p:custDataLst>
          </p:nvPr>
        </p:nvCxnSpPr>
        <p:spPr bwMode="auto">
          <a:xfrm>
            <a:off x="5894388" y="55499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DA5F292A-3659-C6BF-0A87-E39371901E8D}"/>
              </a:ext>
            </a:extLst>
          </p:cNvPr>
          <p:cNvCxnSpPr/>
          <p:nvPr>
            <p:custDataLst>
              <p:tags r:id="rId110"/>
            </p:custDataLst>
          </p:nvPr>
        </p:nvCxnSpPr>
        <p:spPr bwMode="auto">
          <a:xfrm>
            <a:off x="6186488" y="55467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363F3722-5074-ACB3-3027-5EC48573E3CF}"/>
              </a:ext>
            </a:extLst>
          </p:cNvPr>
          <p:cNvCxnSpPr/>
          <p:nvPr>
            <p:custDataLst>
              <p:tags r:id="rId111"/>
            </p:custDataLst>
          </p:nvPr>
        </p:nvCxnSpPr>
        <p:spPr bwMode="auto">
          <a:xfrm>
            <a:off x="6186488" y="58404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4DA087D9-216C-12DB-1E03-ACA79704DB68}"/>
              </a:ext>
            </a:extLst>
          </p:cNvPr>
          <p:cNvCxnSpPr/>
          <p:nvPr>
            <p:custDataLst>
              <p:tags r:id="rId112"/>
            </p:custDataLst>
          </p:nvPr>
        </p:nvCxnSpPr>
        <p:spPr bwMode="auto">
          <a:xfrm>
            <a:off x="6480175" y="55372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68D5AEB0-E1E9-F6C3-4712-779943F843F8}"/>
              </a:ext>
            </a:extLst>
          </p:cNvPr>
          <p:cNvCxnSpPr/>
          <p:nvPr>
            <p:custDataLst>
              <p:tags r:id="rId113"/>
            </p:custDataLst>
          </p:nvPr>
        </p:nvCxnSpPr>
        <p:spPr bwMode="auto">
          <a:xfrm flipV="1">
            <a:off x="6707188" y="6073775"/>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67F89B4F-9F65-4EBC-11CF-D4EAF54FC4AB}"/>
              </a:ext>
            </a:extLst>
          </p:cNvPr>
          <p:cNvCxnSpPr/>
          <p:nvPr>
            <p:custDataLst>
              <p:tags r:id="rId114"/>
            </p:custDataLst>
          </p:nvPr>
        </p:nvCxnSpPr>
        <p:spPr bwMode="auto">
          <a:xfrm>
            <a:off x="6773863" y="58293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2C5A405A-2D6E-B8CC-2C6A-493BDFA5678B}"/>
              </a:ext>
            </a:extLst>
          </p:cNvPr>
          <p:cNvCxnSpPr/>
          <p:nvPr>
            <p:custDataLst>
              <p:tags r:id="rId115"/>
            </p:custDataLst>
          </p:nvPr>
        </p:nvCxnSpPr>
        <p:spPr bwMode="auto">
          <a:xfrm>
            <a:off x="7067550" y="582453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6463C39D-A574-92C0-F1D5-513CFF02A637}"/>
              </a:ext>
            </a:extLst>
          </p:cNvPr>
          <p:cNvCxnSpPr/>
          <p:nvPr>
            <p:custDataLst>
              <p:tags r:id="rId116"/>
            </p:custDataLst>
          </p:nvPr>
        </p:nvCxnSpPr>
        <p:spPr bwMode="auto">
          <a:xfrm>
            <a:off x="7359650" y="58308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テキスト プレースホルダ 9"/>
          <p:cNvSpPr>
            <a:spLocks noGrp="1"/>
          </p:cNvSpPr>
          <p:nvPr>
            <p:custDataLst>
              <p:tags r:id="rId117"/>
            </p:custDataLst>
          </p:nvPr>
        </p:nvSpPr>
        <p:spPr bwMode="auto">
          <a:xfrm>
            <a:off x="5454650" y="6245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1000" dirty="0">
              <a:sym typeface="+mn-lt"/>
            </a:endParaRPr>
          </a:p>
        </p:txBody>
      </p:sp>
      <p:sp>
        <p:nvSpPr>
          <p:cNvPr id="62" name="テキスト プレースホルダ 9"/>
          <p:cNvSpPr>
            <a:spLocks noGrp="1"/>
          </p:cNvSpPr>
          <p:nvPr>
            <p:custDataLst>
              <p:tags r:id="rId118"/>
            </p:custDataLst>
          </p:nvPr>
        </p:nvSpPr>
        <p:spPr bwMode="auto">
          <a:xfrm>
            <a:off x="58181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119"/>
            </p:custDataLst>
          </p:nvPr>
        </p:nvSpPr>
        <p:spPr bwMode="auto">
          <a:xfrm>
            <a:off x="61102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1000" dirty="0">
              <a:sym typeface="+mn-lt"/>
            </a:endParaRPr>
          </a:p>
        </p:txBody>
      </p:sp>
      <p:sp>
        <p:nvSpPr>
          <p:cNvPr id="58" name="テキスト プレースホルダ 9"/>
          <p:cNvSpPr>
            <a:spLocks noGrp="1"/>
          </p:cNvSpPr>
          <p:nvPr>
            <p:custDataLst>
              <p:tags r:id="rId120"/>
            </p:custDataLst>
          </p:nvPr>
        </p:nvSpPr>
        <p:spPr bwMode="auto">
          <a:xfrm>
            <a:off x="640397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1000" dirty="0">
              <a:sym typeface="+mn-lt"/>
            </a:endParaRPr>
          </a:p>
        </p:txBody>
      </p:sp>
      <p:sp>
        <p:nvSpPr>
          <p:cNvPr id="56" name="テキスト プレースホルダ 9"/>
          <p:cNvSpPr>
            <a:spLocks noGrp="1"/>
          </p:cNvSpPr>
          <p:nvPr>
            <p:custDataLst>
              <p:tags r:id="rId121"/>
            </p:custDataLst>
          </p:nvPr>
        </p:nvSpPr>
        <p:spPr bwMode="auto">
          <a:xfrm>
            <a:off x="6697663"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1000" dirty="0">
              <a:sym typeface="+mn-lt"/>
            </a:endParaRPr>
          </a:p>
        </p:txBody>
      </p:sp>
      <p:sp>
        <p:nvSpPr>
          <p:cNvPr id="54" name="テキスト プレースホルダ 9"/>
          <p:cNvSpPr>
            <a:spLocks noGrp="1"/>
          </p:cNvSpPr>
          <p:nvPr>
            <p:custDataLst>
              <p:tags r:id="rId122"/>
            </p:custDataLst>
          </p:nvPr>
        </p:nvSpPr>
        <p:spPr bwMode="auto">
          <a:xfrm>
            <a:off x="6991350"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1000" dirty="0">
              <a:sym typeface="+mn-lt"/>
            </a:endParaRPr>
          </a:p>
        </p:txBody>
      </p:sp>
      <p:sp>
        <p:nvSpPr>
          <p:cNvPr id="65" name="テキスト プレースホルダ 9"/>
          <p:cNvSpPr>
            <a:spLocks noGrp="1"/>
          </p:cNvSpPr>
          <p:nvPr>
            <p:custDataLst>
              <p:tags r:id="rId123"/>
            </p:custDataLst>
          </p:nvPr>
        </p:nvSpPr>
        <p:spPr bwMode="auto">
          <a:xfrm>
            <a:off x="757713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7E4A0001-32F7-4383-8285-F70225DBD84E}"/>
              </a:ext>
            </a:extLst>
          </p:cNvPr>
          <p:cNvSpPr>
            <a:spLocks noGrp="1"/>
          </p:cNvSpPr>
          <p:nvPr>
            <p:custDataLst>
              <p:tags r:id="rId124"/>
            </p:custDataLst>
          </p:nvPr>
        </p:nvSpPr>
        <p:spPr bwMode="auto">
          <a:xfrm>
            <a:off x="787082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32BE9-8B46-4C1E-8620-98A9DDC80143}" type="datetime'''''''''''''''''''''''''''''''''''''''''''''1''''''8'''''">
              <a:rPr kumimoji="0" lang="ja-JP" altLang="en-US" sz="1000" smtClean="0"/>
              <a:pPr/>
              <a:t>18</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2BD9B734-8DD5-493D-A590-66D006FF6BBF}"/>
              </a:ext>
            </a:extLst>
          </p:cNvPr>
          <p:cNvSpPr>
            <a:spLocks noGrp="1"/>
          </p:cNvSpPr>
          <p:nvPr>
            <p:custDataLst>
              <p:tags r:id="rId125"/>
            </p:custDataLst>
          </p:nvPr>
        </p:nvSpPr>
        <p:spPr bwMode="auto">
          <a:xfrm>
            <a:off x="816292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5E13B-2133-4120-B127-05ECE1B67444}" type="datetime'1''''''''''9'''''''''''''''''''''''''''''''''''''''">
              <a:rPr kumimoji="0" lang="ja-JP" altLang="en-US" sz="1000" smtClean="0"/>
              <a:pPr/>
              <a:t>19</a:t>
            </a:fld>
            <a:endParaRPr kumimoji="0" lang="ja-JP" altLang="en-US" sz="1000" dirty="0">
              <a:sym typeface="+mn-lt"/>
            </a:endParaRPr>
          </a:p>
        </p:txBody>
      </p:sp>
      <p:sp>
        <p:nvSpPr>
          <p:cNvPr id="330" name="テキスト プレースホルダ 9">
            <a:extLst>
              <a:ext uri="{FF2B5EF4-FFF2-40B4-BE49-F238E27FC236}">
                <a16:creationId xmlns:a16="http://schemas.microsoft.com/office/drawing/2014/main" id="{B578AC3F-C622-BAAA-7EC9-33338FC0A964}"/>
              </a:ext>
            </a:extLst>
          </p:cNvPr>
          <p:cNvSpPr>
            <a:spLocks noGrp="1"/>
          </p:cNvSpPr>
          <p:nvPr>
            <p:custDataLst>
              <p:tags r:id="rId126"/>
            </p:custDataLst>
          </p:nvPr>
        </p:nvSpPr>
        <p:spPr bwMode="auto">
          <a:xfrm>
            <a:off x="8456613"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A837DF-DAE6-40B4-885A-709FF33AABD9}" type="datetime'''''''''''''''''''''''2''''''''''''''''''''''''''''''0'''''''">
              <a:rPr kumimoji="0" lang="ja-JP" altLang="en-US" sz="1000" smtClean="0"/>
              <a:pPr/>
              <a:t>20</a:t>
            </a:fld>
            <a:endParaRPr kumimoji="0" lang="ja-JP" altLang="en-US" sz="1000" dirty="0">
              <a:sym typeface="+mn-lt"/>
            </a:endParaRPr>
          </a:p>
        </p:txBody>
      </p:sp>
      <p:sp>
        <p:nvSpPr>
          <p:cNvPr id="331" name="テキスト プレースホルダ 9">
            <a:extLst>
              <a:ext uri="{FF2B5EF4-FFF2-40B4-BE49-F238E27FC236}">
                <a16:creationId xmlns:a16="http://schemas.microsoft.com/office/drawing/2014/main" id="{4C372009-7A8C-0731-45D9-F49A02D1F027}"/>
              </a:ext>
            </a:extLst>
          </p:cNvPr>
          <p:cNvSpPr>
            <a:spLocks noGrp="1"/>
          </p:cNvSpPr>
          <p:nvPr>
            <p:custDataLst>
              <p:tags r:id="rId127"/>
            </p:custDataLst>
          </p:nvPr>
        </p:nvSpPr>
        <p:spPr bwMode="auto">
          <a:xfrm>
            <a:off x="8750300"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1BC52-74B3-42DD-85EF-D053CDAB6F8B}" type="datetime'2''''''''''1'''''''''''''''''''">
              <a:rPr kumimoji="0" lang="ja-JP" altLang="en-US" sz="1000" smtClean="0"/>
              <a:pPr/>
              <a:t>21</a:t>
            </a:fld>
            <a:endParaRPr kumimoji="0" lang="ja-JP" altLang="en-US" sz="1000" dirty="0">
              <a:sym typeface="+mn-lt"/>
            </a:endParaRPr>
          </a:p>
        </p:txBody>
      </p:sp>
      <p:sp>
        <p:nvSpPr>
          <p:cNvPr id="332" name="テキスト プレースホルダ 9">
            <a:extLst>
              <a:ext uri="{FF2B5EF4-FFF2-40B4-BE49-F238E27FC236}">
                <a16:creationId xmlns:a16="http://schemas.microsoft.com/office/drawing/2014/main" id="{AE25162C-8A2A-537C-7B6E-4C915D2D6E63}"/>
              </a:ext>
            </a:extLst>
          </p:cNvPr>
          <p:cNvSpPr>
            <a:spLocks noGrp="1"/>
          </p:cNvSpPr>
          <p:nvPr>
            <p:custDataLst>
              <p:tags r:id="rId128"/>
            </p:custDataLst>
          </p:nvPr>
        </p:nvSpPr>
        <p:spPr bwMode="auto">
          <a:xfrm>
            <a:off x="90439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1687C-789E-4B84-A2FF-9A64456F2C0D}" type="datetime'''''''''2''2'''''''''''''''''''''''''''''''''''''''''''''''''">
              <a:rPr kumimoji="0" lang="ja-JP" altLang="en-US" sz="1000" smtClean="0"/>
              <a:pPr/>
              <a:t>22</a:t>
            </a:fld>
            <a:endParaRPr kumimoji="0" lang="ja-JP" altLang="en-US" sz="1000" dirty="0">
              <a:sym typeface="+mn-lt"/>
            </a:endParaRPr>
          </a:p>
        </p:txBody>
      </p:sp>
      <p:sp>
        <p:nvSpPr>
          <p:cNvPr id="333" name="テキスト プレースホルダ 9">
            <a:extLst>
              <a:ext uri="{FF2B5EF4-FFF2-40B4-BE49-F238E27FC236}">
                <a16:creationId xmlns:a16="http://schemas.microsoft.com/office/drawing/2014/main" id="{CEBA76E6-960C-7E18-A14A-2CB21CD46DEE}"/>
              </a:ext>
            </a:extLst>
          </p:cNvPr>
          <p:cNvSpPr>
            <a:spLocks noGrp="1"/>
          </p:cNvSpPr>
          <p:nvPr>
            <p:custDataLst>
              <p:tags r:id="rId129"/>
            </p:custDataLst>
          </p:nvPr>
        </p:nvSpPr>
        <p:spPr bwMode="auto">
          <a:xfrm>
            <a:off x="93360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CF9CCC-C33E-4B1C-8F32-2CAE9096AD1D}" type="datetime'2''''''''''''''''''''''''''''''''''''''''''''''''3'''''''">
              <a:rPr kumimoji="0" lang="ja-JP" altLang="en-US" sz="1000" smtClean="0"/>
              <a:pPr/>
              <a:t>23</a:t>
            </a:fld>
            <a:endParaRPr kumimoji="0" lang="ja-JP" altLang="en-US" sz="1000" dirty="0">
              <a:sym typeface="+mn-lt"/>
            </a:endParaRPr>
          </a:p>
        </p:txBody>
      </p:sp>
      <p:sp>
        <p:nvSpPr>
          <p:cNvPr id="334" name="テキスト プレースホルダ 9">
            <a:extLst>
              <a:ext uri="{FF2B5EF4-FFF2-40B4-BE49-F238E27FC236}">
                <a16:creationId xmlns:a16="http://schemas.microsoft.com/office/drawing/2014/main" id="{5132E860-61EB-C42F-4993-2625CDE8D172}"/>
              </a:ext>
            </a:extLst>
          </p:cNvPr>
          <p:cNvSpPr>
            <a:spLocks noGrp="1"/>
          </p:cNvSpPr>
          <p:nvPr>
            <p:custDataLst>
              <p:tags r:id="rId130"/>
            </p:custDataLst>
          </p:nvPr>
        </p:nvSpPr>
        <p:spPr bwMode="auto">
          <a:xfrm>
            <a:off x="962977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8B2EC2-DF29-4B4D-8CDA-B51D99B955BD}" type="datetime'''''2''''''''''''''''''''4'''''''''''''''''''''''''''''''''''">
              <a:rPr kumimoji="0" lang="ja-JP" altLang="en-US" sz="1000" smtClean="0"/>
              <a:pPr/>
              <a:t>24</a:t>
            </a:fld>
            <a:endParaRPr kumimoji="0" lang="ja-JP" altLang="en-US" sz="1000" dirty="0">
              <a:sym typeface="+mn-lt"/>
            </a:endParaRPr>
          </a:p>
        </p:txBody>
      </p:sp>
      <p:sp useBgFill="1">
        <p:nvSpPr>
          <p:cNvPr id="376" name="テキスト プレースホルダ 9">
            <a:extLst>
              <a:ext uri="{FF2B5EF4-FFF2-40B4-BE49-F238E27FC236}">
                <a16:creationId xmlns:a16="http://schemas.microsoft.com/office/drawing/2014/main" id="{355D2658-7801-A171-F334-8DD7DF4DFC24}"/>
              </a:ext>
            </a:extLst>
          </p:cNvPr>
          <p:cNvSpPr>
            <a:spLocks noGrp="1"/>
          </p:cNvSpPr>
          <p:nvPr>
            <p:custDataLst>
              <p:tags r:id="rId131"/>
            </p:custDataLst>
          </p:nvPr>
        </p:nvSpPr>
        <p:spPr bwMode="gray">
          <a:xfrm>
            <a:off x="5632449" y="5430838"/>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1BE8B9-AF34-4CF4-9041-4B86D8622C2E}" type="datetime'''7''.''''''''''''''''''''''''''''''''''''''''''''''1'''''">
              <a:rPr lang="ja-JP" altLang="en-US" sz="800" smtClean="0">
                <a:effectLst/>
              </a:rPr>
              <a:pPr/>
              <a:t>7.1</a:t>
            </a:fld>
            <a:endParaRPr kumimoji="1" lang="ja-JP" altLang="en-US" sz="800" dirty="0">
              <a:sym typeface="+mn-lt"/>
            </a:endParaRPr>
          </a:p>
        </p:txBody>
      </p:sp>
      <p:sp useBgFill="1">
        <p:nvSpPr>
          <p:cNvPr id="377" name="テキスト プレースホルダ 9">
            <a:extLst>
              <a:ext uri="{FF2B5EF4-FFF2-40B4-BE49-F238E27FC236}">
                <a16:creationId xmlns:a16="http://schemas.microsoft.com/office/drawing/2014/main" id="{E2708837-BCCD-B3E7-C4D2-BF2C40C4A9E9}"/>
              </a:ext>
            </a:extLst>
          </p:cNvPr>
          <p:cNvSpPr>
            <a:spLocks noGrp="1"/>
          </p:cNvSpPr>
          <p:nvPr>
            <p:custDataLst>
              <p:tags r:id="rId132"/>
            </p:custDataLst>
          </p:nvPr>
        </p:nvSpPr>
        <p:spPr bwMode="gray">
          <a:xfrm>
            <a:off x="5808662" y="5427663"/>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6EA798-0205-4B82-AB1B-F01336E9F789}" type="datetime'7''''''''''''''''''''''''''''''''''.''1'''">
              <a:rPr lang="ja-JP" altLang="en-US" sz="800" smtClean="0">
                <a:effectLst/>
              </a:rPr>
              <a:pPr/>
              <a:t>7.1</a:t>
            </a:fld>
            <a:endParaRPr kumimoji="1" lang="ja-JP" altLang="en-US" sz="800" dirty="0">
              <a:sym typeface="+mn-lt"/>
            </a:endParaRPr>
          </a:p>
        </p:txBody>
      </p:sp>
      <p:sp useBgFill="1">
        <p:nvSpPr>
          <p:cNvPr id="452" name="テキスト プレースホルダ 9">
            <a:extLst>
              <a:ext uri="{FF2B5EF4-FFF2-40B4-BE49-F238E27FC236}">
                <a16:creationId xmlns:a16="http://schemas.microsoft.com/office/drawing/2014/main" id="{5006E0D1-CB9B-8C0D-B982-0CF3DD43E3E8}"/>
              </a:ext>
            </a:extLst>
          </p:cNvPr>
          <p:cNvSpPr>
            <a:spLocks noGrp="1"/>
          </p:cNvSpPr>
          <p:nvPr>
            <p:custDataLst>
              <p:tags r:id="rId133"/>
            </p:custDataLst>
          </p:nvPr>
        </p:nvSpPr>
        <p:spPr bwMode="gray">
          <a:xfrm>
            <a:off x="7723188"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299F4BE-720E-451A-99E0-8E7A0CEA9D8B}" type="datetime'''''''''''''''''''''''1.''''''1'">
              <a:rPr lang="ja-JP" altLang="en-US" sz="800" smtClean="0">
                <a:effectLst/>
                <a:sym typeface="+mn-lt"/>
              </a:rPr>
              <a:pPr marL="0" lvl="0" indent="0">
                <a:spcBef>
                  <a:spcPct val="0"/>
                </a:spcBef>
                <a:buNone/>
              </a:pPr>
              <a:t>1.1</a:t>
            </a:fld>
            <a:endParaRPr kumimoji="1" lang="ja-JP" altLang="en-US" sz="800" dirty="0">
              <a:sym typeface="+mn-lt"/>
            </a:endParaRPr>
          </a:p>
        </p:txBody>
      </p:sp>
      <p:sp useBgFill="1">
        <p:nvSpPr>
          <p:cNvPr id="378" name="テキスト プレースホルダ 9">
            <a:extLst>
              <a:ext uri="{FF2B5EF4-FFF2-40B4-BE49-F238E27FC236}">
                <a16:creationId xmlns:a16="http://schemas.microsoft.com/office/drawing/2014/main" id="{48EA392E-A2F7-78D6-FCA3-87E3EAF2950C}"/>
              </a:ext>
            </a:extLst>
          </p:cNvPr>
          <p:cNvSpPr>
            <a:spLocks noGrp="1"/>
          </p:cNvSpPr>
          <p:nvPr>
            <p:custDataLst>
              <p:tags r:id="rId134"/>
            </p:custDataLst>
          </p:nvPr>
        </p:nvSpPr>
        <p:spPr bwMode="gray">
          <a:xfrm>
            <a:off x="6100762" y="5424488"/>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DCC19-1C07-4B2B-8943-97E45CBB66C6}" type="datetime'''''''''''''''''''''''''''7''''''''''''''.''2'''''''''''''''''">
              <a:rPr lang="ja-JP" altLang="en-US" sz="800" smtClean="0">
                <a:effectLst/>
              </a:rPr>
              <a:pPr/>
              <a:t>7.2</a:t>
            </a:fld>
            <a:endParaRPr kumimoji="1" lang="ja-JP" altLang="en-US" sz="800" dirty="0">
              <a:sym typeface="+mn-lt"/>
            </a:endParaRPr>
          </a:p>
        </p:txBody>
      </p:sp>
      <p:sp useBgFill="1">
        <p:nvSpPr>
          <p:cNvPr id="380" name="テキスト プレースホルダ 9">
            <a:extLst>
              <a:ext uri="{FF2B5EF4-FFF2-40B4-BE49-F238E27FC236}">
                <a16:creationId xmlns:a16="http://schemas.microsoft.com/office/drawing/2014/main" id="{C5CDAE88-1145-FA6C-64AA-7C3FBB055EA1}"/>
              </a:ext>
            </a:extLst>
          </p:cNvPr>
          <p:cNvSpPr>
            <a:spLocks noGrp="1"/>
          </p:cNvSpPr>
          <p:nvPr>
            <p:custDataLst>
              <p:tags r:id="rId135"/>
            </p:custDataLst>
          </p:nvPr>
        </p:nvSpPr>
        <p:spPr bwMode="gray">
          <a:xfrm>
            <a:off x="6659562" y="51149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C15D86-8ADE-408B-951A-99BFDAFC0BBF}" type="datetime'''1''''''''''''''''2.''''''''''''''0'''''''''''''">
              <a:rPr lang="ja-JP" altLang="en-US" sz="800" smtClean="0">
                <a:effectLst/>
              </a:rPr>
              <a:pPr/>
              <a:t>12.0</a:t>
            </a:fld>
            <a:endParaRPr kumimoji="1" lang="ja-JP" altLang="en-US" sz="800" dirty="0">
              <a:sym typeface="+mn-lt"/>
            </a:endParaRPr>
          </a:p>
        </p:txBody>
      </p:sp>
      <p:sp>
        <p:nvSpPr>
          <p:cNvPr id="83" name="テキスト プレースホルダ 9"/>
          <p:cNvSpPr>
            <a:spLocks noGrp="1"/>
          </p:cNvSpPr>
          <p:nvPr>
            <p:custDataLst>
              <p:tags r:id="rId136"/>
            </p:custDataLst>
          </p:nvPr>
        </p:nvSpPr>
        <p:spPr bwMode="auto">
          <a:xfrm>
            <a:off x="7283450"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1000" dirty="0">
              <a:sym typeface="+mn-lt"/>
            </a:endParaRPr>
          </a:p>
        </p:txBody>
      </p:sp>
      <p:sp useBgFill="1">
        <p:nvSpPr>
          <p:cNvPr id="451" name="テキスト プレースホルダ 9">
            <a:extLst>
              <a:ext uri="{FF2B5EF4-FFF2-40B4-BE49-F238E27FC236}">
                <a16:creationId xmlns:a16="http://schemas.microsoft.com/office/drawing/2014/main" id="{C7C9A2E1-2619-440D-4328-CC99A7E16DB0}"/>
              </a:ext>
            </a:extLst>
          </p:cNvPr>
          <p:cNvSpPr>
            <a:spLocks noGrp="1"/>
          </p:cNvSpPr>
          <p:nvPr>
            <p:custDataLst>
              <p:tags r:id="rId137"/>
            </p:custDataLst>
          </p:nvPr>
        </p:nvSpPr>
        <p:spPr bwMode="gray">
          <a:xfrm>
            <a:off x="7429500"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704D3D2-6140-4C55-A791-5C9B843A4BFB}" type="datetime'''''''''''''''''''''''1''''.''''''''''''1'''">
              <a:rPr lang="ja-JP" altLang="en-US" sz="800" smtClean="0">
                <a:effectLst/>
                <a:sym typeface="+mn-lt"/>
              </a:rPr>
              <a:pPr marL="0" lvl="0" indent="0">
                <a:spcBef>
                  <a:spcPct val="0"/>
                </a:spcBef>
                <a:buNone/>
              </a:pPr>
              <a:t>1.1</a:t>
            </a:fld>
            <a:endParaRPr kumimoji="1" lang="ja-JP" altLang="en-US" sz="800" dirty="0">
              <a:sym typeface="+mn-lt"/>
            </a:endParaRPr>
          </a:p>
        </p:txBody>
      </p:sp>
      <p:cxnSp>
        <p:nvCxnSpPr>
          <p:cNvPr id="237" name="Straight Connector 236">
            <a:extLst>
              <a:ext uri="{FF2B5EF4-FFF2-40B4-BE49-F238E27FC236}">
                <a16:creationId xmlns:a16="http://schemas.microsoft.com/office/drawing/2014/main" id="{BA4847B9-B84E-2B59-59D8-0993A7A5E024}"/>
              </a:ext>
            </a:extLst>
          </p:cNvPr>
          <p:cNvCxnSpPr/>
          <p:nvPr>
            <p:custDataLst>
              <p:tags r:id="rId138"/>
            </p:custDataLst>
          </p:nvPr>
        </p:nvCxnSpPr>
        <p:spPr bwMode="gray">
          <a:xfrm>
            <a:off x="2705099" y="362267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09FBDE3A-F2C0-FE8C-9D81-832DBEE280E8}"/>
              </a:ext>
            </a:extLst>
          </p:cNvPr>
          <p:cNvCxnSpPr/>
          <p:nvPr>
            <p:custDataLst>
              <p:tags r:id="rId139"/>
            </p:custDataLst>
          </p:nvPr>
        </p:nvCxnSpPr>
        <p:spPr bwMode="gray">
          <a:xfrm>
            <a:off x="2705099" y="382587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C7C09F61-1A67-D11D-5694-DD74FFC3F6B6}"/>
              </a:ext>
            </a:extLst>
          </p:cNvPr>
          <p:cNvCxnSpPr/>
          <p:nvPr>
            <p:custDataLst>
              <p:tags r:id="rId140"/>
            </p:custDataLst>
          </p:nvPr>
        </p:nvCxnSpPr>
        <p:spPr bwMode="gray">
          <a:xfrm>
            <a:off x="2705099" y="402907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704B7C49-9253-9A18-47B7-F4443416064E}"/>
              </a:ext>
            </a:extLst>
          </p:cNvPr>
          <p:cNvCxnSpPr/>
          <p:nvPr>
            <p:custDataLst>
              <p:tags r:id="rId141"/>
            </p:custDataLst>
          </p:nvPr>
        </p:nvCxnSpPr>
        <p:spPr bwMode="gray">
          <a:xfrm>
            <a:off x="2705099" y="423227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8" name="Oval 237">
            <a:extLst>
              <a:ext uri="{FF2B5EF4-FFF2-40B4-BE49-F238E27FC236}">
                <a16:creationId xmlns:a16="http://schemas.microsoft.com/office/drawing/2014/main" id="{8C3CBA00-D300-3D34-0F80-CD352C42F060}"/>
              </a:ext>
            </a:extLst>
          </p:cNvPr>
          <p:cNvSpPr/>
          <p:nvPr>
            <p:custDataLst>
              <p:tags r:id="rId142"/>
            </p:custDataLst>
          </p:nvPr>
        </p:nvSpPr>
        <p:spPr bwMode="auto">
          <a:xfrm>
            <a:off x="2794000" y="3584575"/>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0" name="Rectangle 239">
            <a:extLst>
              <a:ext uri="{FF2B5EF4-FFF2-40B4-BE49-F238E27FC236}">
                <a16:creationId xmlns:a16="http://schemas.microsoft.com/office/drawing/2014/main" id="{A7354A8B-FBD0-4890-C37C-9A5F3898E56F}"/>
              </a:ext>
            </a:extLst>
          </p:cNvPr>
          <p:cNvSpPr/>
          <p:nvPr>
            <p:custDataLst>
              <p:tags r:id="rId143"/>
            </p:custDataLst>
          </p:nvPr>
        </p:nvSpPr>
        <p:spPr bwMode="auto">
          <a:xfrm>
            <a:off x="2794000" y="3787775"/>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2" name="Isosceles Triangle 241">
            <a:extLst>
              <a:ext uri="{FF2B5EF4-FFF2-40B4-BE49-F238E27FC236}">
                <a16:creationId xmlns:a16="http://schemas.microsoft.com/office/drawing/2014/main" id="{8DD740CF-A9CF-F14B-99DF-FC93F34FE384}"/>
              </a:ext>
            </a:extLst>
          </p:cNvPr>
          <p:cNvSpPr/>
          <p:nvPr>
            <p:custDataLst>
              <p:tags r:id="rId144"/>
            </p:custDataLst>
          </p:nvPr>
        </p:nvSpPr>
        <p:spPr bwMode="auto">
          <a:xfrm>
            <a:off x="2794000" y="399097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4" name="Diamond 243">
            <a:extLst>
              <a:ext uri="{FF2B5EF4-FFF2-40B4-BE49-F238E27FC236}">
                <a16:creationId xmlns:a16="http://schemas.microsoft.com/office/drawing/2014/main" id="{0B21447F-7E83-5800-A9E2-5E4A8AECFD1B}"/>
              </a:ext>
            </a:extLst>
          </p:cNvPr>
          <p:cNvSpPr/>
          <p:nvPr>
            <p:custDataLst>
              <p:tags r:id="rId145"/>
            </p:custDataLst>
          </p:nvPr>
        </p:nvSpPr>
        <p:spPr bwMode="auto">
          <a:xfrm>
            <a:off x="2794000" y="4194175"/>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1" name="テキスト プレースホルダ 9">
            <a:extLst>
              <a:ext uri="{FF2B5EF4-FFF2-40B4-BE49-F238E27FC236}">
                <a16:creationId xmlns:a16="http://schemas.microsoft.com/office/drawing/2014/main" id="{E2BCCA8C-1F09-F454-BFCF-0DCD9734C7DA}"/>
              </a:ext>
            </a:extLst>
          </p:cNvPr>
          <p:cNvSpPr>
            <a:spLocks noGrp="1"/>
          </p:cNvSpPr>
          <p:nvPr>
            <p:custDataLst>
              <p:tags r:id="rId146"/>
            </p:custDataLst>
          </p:nvPr>
        </p:nvSpPr>
        <p:spPr bwMode="auto">
          <a:xfrm>
            <a:off x="3016250" y="355123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B5C3CAB-3FC0-489B-8C41-25C562ADFA8D}" type="datetime'看''''''''''護''''師・''''''''''''''''''助産師'''''''''''''''''">
              <a:rPr lang="ja-JP" altLang="en-US" sz="1000" smtClean="0"/>
              <a:pPr/>
              <a:t>看護師・助産師</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754B4BE1-6808-DE0A-AA4E-31A29FFAD66C}"/>
              </a:ext>
            </a:extLst>
          </p:cNvPr>
          <p:cNvSpPr>
            <a:spLocks noGrp="1"/>
          </p:cNvSpPr>
          <p:nvPr>
            <p:custDataLst>
              <p:tags r:id="rId147"/>
            </p:custDataLst>
          </p:nvPr>
        </p:nvSpPr>
        <p:spPr bwMode="auto">
          <a:xfrm>
            <a:off x="3016250" y="41608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75A7B43-6233-44B2-8AB5-7DFCE1E831C1}" type="datetime'''''''''''''''歯''''''''''科''''''医'''''''''''''''''''''''''''''">
              <a:rPr lang="ja-JP" altLang="en-US" sz="1000" smtClean="0"/>
              <a:pPr/>
              <a:t>歯科医</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40616849-7107-D426-6BC6-D9B37F22AE99}"/>
              </a:ext>
            </a:extLst>
          </p:cNvPr>
          <p:cNvSpPr>
            <a:spLocks noGrp="1"/>
          </p:cNvSpPr>
          <p:nvPr>
            <p:custDataLst>
              <p:tags r:id="rId148"/>
            </p:custDataLst>
          </p:nvPr>
        </p:nvSpPr>
        <p:spPr bwMode="auto">
          <a:xfrm>
            <a:off x="3016250" y="37544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5120173-08AA-421D-ACD7-3CC2D1BE85BC}" type="datetime'''''''''''''''''医''師'''''''''">
              <a:rPr lang="ja-JP" altLang="en-US" sz="1000" smtClean="0"/>
              <a:pPr/>
              <a:t>医師</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47B33B29-3FD5-B2C0-73E4-DDF0409520B9}"/>
              </a:ext>
            </a:extLst>
          </p:cNvPr>
          <p:cNvSpPr>
            <a:spLocks noGrp="1"/>
          </p:cNvSpPr>
          <p:nvPr>
            <p:custDataLst>
              <p:tags r:id="rId149"/>
            </p:custDataLst>
          </p:nvPr>
        </p:nvSpPr>
        <p:spPr bwMode="auto">
          <a:xfrm>
            <a:off x="3016250" y="39576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7C4586-EFF2-47CF-ADCF-24E0A8D63EB8}" type="datetime'''''''''''''''''''''''''''''''薬''''''''剤''師'''''''''">
              <a:rPr lang="ja-JP" altLang="en-US" sz="1000" smtClean="0"/>
              <a:pPr/>
              <a:t>薬剤師</a:t>
            </a:fld>
            <a:endParaRPr kumimoji="1" lang="ja-JP" altLang="en-US" sz="1000" dirty="0">
              <a:sym typeface="+mn-lt"/>
            </a:endParaRPr>
          </a:p>
        </p:txBody>
      </p:sp>
      <p:cxnSp>
        <p:nvCxnSpPr>
          <p:cNvPr id="422" name="Straight Connector 421">
            <a:extLst>
              <a:ext uri="{FF2B5EF4-FFF2-40B4-BE49-F238E27FC236}">
                <a16:creationId xmlns:a16="http://schemas.microsoft.com/office/drawing/2014/main" id="{B8580438-5C97-ED75-7209-2DC727E85CC0}"/>
              </a:ext>
            </a:extLst>
          </p:cNvPr>
          <p:cNvCxnSpPr/>
          <p:nvPr>
            <p:custDataLst>
              <p:tags r:id="rId150"/>
            </p:custDataLst>
          </p:nvPr>
        </p:nvCxnSpPr>
        <p:spPr bwMode="gray">
          <a:xfrm>
            <a:off x="7313613" y="362267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7DA94636-B5C8-AF3A-F4C4-7960B8DDD745}"/>
              </a:ext>
            </a:extLst>
          </p:cNvPr>
          <p:cNvCxnSpPr/>
          <p:nvPr>
            <p:custDataLst>
              <p:tags r:id="rId151"/>
            </p:custDataLst>
          </p:nvPr>
        </p:nvCxnSpPr>
        <p:spPr bwMode="gray">
          <a:xfrm>
            <a:off x="7313613" y="382587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3FD94E75-DB4C-AA4D-BE45-6805A98151D6}"/>
              </a:ext>
            </a:extLst>
          </p:cNvPr>
          <p:cNvCxnSpPr/>
          <p:nvPr>
            <p:custDataLst>
              <p:tags r:id="rId152"/>
            </p:custDataLst>
          </p:nvPr>
        </p:nvCxnSpPr>
        <p:spPr bwMode="gray">
          <a:xfrm>
            <a:off x="7313613" y="402907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17F31F37-F146-BF65-BFFD-4E78EAF1E8AB}"/>
              </a:ext>
            </a:extLst>
          </p:cNvPr>
          <p:cNvCxnSpPr/>
          <p:nvPr>
            <p:custDataLst>
              <p:tags r:id="rId153"/>
            </p:custDataLst>
          </p:nvPr>
        </p:nvCxnSpPr>
        <p:spPr bwMode="gray">
          <a:xfrm>
            <a:off x="7313613" y="423227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3" name="Oval 422">
            <a:extLst>
              <a:ext uri="{FF2B5EF4-FFF2-40B4-BE49-F238E27FC236}">
                <a16:creationId xmlns:a16="http://schemas.microsoft.com/office/drawing/2014/main" id="{05E65F2F-9717-B4D4-048C-EC1310ADE437}"/>
              </a:ext>
            </a:extLst>
          </p:cNvPr>
          <p:cNvSpPr/>
          <p:nvPr>
            <p:custDataLst>
              <p:tags r:id="rId154"/>
            </p:custDataLst>
          </p:nvPr>
        </p:nvSpPr>
        <p:spPr bwMode="auto">
          <a:xfrm>
            <a:off x="7402513" y="3584575"/>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5" name="Rectangle 424">
            <a:extLst>
              <a:ext uri="{FF2B5EF4-FFF2-40B4-BE49-F238E27FC236}">
                <a16:creationId xmlns:a16="http://schemas.microsoft.com/office/drawing/2014/main" id="{F93F64D2-05E3-B148-8F17-DD19DFD7FD3C}"/>
              </a:ext>
            </a:extLst>
          </p:cNvPr>
          <p:cNvSpPr/>
          <p:nvPr>
            <p:custDataLst>
              <p:tags r:id="rId155"/>
            </p:custDataLst>
          </p:nvPr>
        </p:nvSpPr>
        <p:spPr bwMode="auto">
          <a:xfrm>
            <a:off x="7402513" y="3787775"/>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7" name="Isosceles Triangle 426">
            <a:extLst>
              <a:ext uri="{FF2B5EF4-FFF2-40B4-BE49-F238E27FC236}">
                <a16:creationId xmlns:a16="http://schemas.microsoft.com/office/drawing/2014/main" id="{9BCC006B-5295-FBE7-84F9-A5B8A3DFD56B}"/>
              </a:ext>
            </a:extLst>
          </p:cNvPr>
          <p:cNvSpPr/>
          <p:nvPr>
            <p:custDataLst>
              <p:tags r:id="rId156"/>
            </p:custDataLst>
          </p:nvPr>
        </p:nvSpPr>
        <p:spPr bwMode="auto">
          <a:xfrm>
            <a:off x="7402513" y="399097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9" name="Diamond 428">
            <a:extLst>
              <a:ext uri="{FF2B5EF4-FFF2-40B4-BE49-F238E27FC236}">
                <a16:creationId xmlns:a16="http://schemas.microsoft.com/office/drawing/2014/main" id="{3477F467-DFDC-08B3-3ADF-DC098F7D5778}"/>
              </a:ext>
            </a:extLst>
          </p:cNvPr>
          <p:cNvSpPr/>
          <p:nvPr>
            <p:custDataLst>
              <p:tags r:id="rId157"/>
            </p:custDataLst>
          </p:nvPr>
        </p:nvSpPr>
        <p:spPr bwMode="auto">
          <a:xfrm>
            <a:off x="7402513" y="4194175"/>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6" name="テキスト プレースホルダ 9">
            <a:extLst>
              <a:ext uri="{FF2B5EF4-FFF2-40B4-BE49-F238E27FC236}">
                <a16:creationId xmlns:a16="http://schemas.microsoft.com/office/drawing/2014/main" id="{D72C6F2E-884D-3714-8523-E1AB5584C028}"/>
              </a:ext>
            </a:extLst>
          </p:cNvPr>
          <p:cNvSpPr>
            <a:spLocks noGrp="1"/>
          </p:cNvSpPr>
          <p:nvPr>
            <p:custDataLst>
              <p:tags r:id="rId158"/>
            </p:custDataLst>
          </p:nvPr>
        </p:nvSpPr>
        <p:spPr bwMode="auto">
          <a:xfrm>
            <a:off x="7624763" y="37544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527E102-DCDC-408C-9BCB-965BC13D8483}" type="datetime'''''医''''''''''''''''''''''''''''''''''''''''''''''師'''''''''">
              <a:rPr lang="ja-JP" altLang="en-US" sz="1000" smtClean="0"/>
              <a:pPr/>
              <a:t>医師</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1A5F322D-22CB-2DD5-341E-6417CB9E748D}"/>
              </a:ext>
            </a:extLst>
          </p:cNvPr>
          <p:cNvSpPr>
            <a:spLocks noGrp="1"/>
          </p:cNvSpPr>
          <p:nvPr>
            <p:custDataLst>
              <p:tags r:id="rId159"/>
            </p:custDataLst>
          </p:nvPr>
        </p:nvSpPr>
        <p:spPr bwMode="auto">
          <a:xfrm>
            <a:off x="7624763" y="355123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D95B0CE-C183-4FBE-83E9-655C2622A5A5}" type="datetime'''''看''''護''''師''''''''''・助''産師'''''''''''''''''''''''''''''">
              <a:rPr lang="ja-JP" altLang="en-US" sz="1000" smtClean="0"/>
              <a:pPr/>
              <a:t>看護師・助産師</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D3D7FFF9-459A-C440-B08C-50F6C8FBE0F0}"/>
              </a:ext>
            </a:extLst>
          </p:cNvPr>
          <p:cNvSpPr>
            <a:spLocks noGrp="1"/>
          </p:cNvSpPr>
          <p:nvPr>
            <p:custDataLst>
              <p:tags r:id="rId160"/>
            </p:custDataLst>
          </p:nvPr>
        </p:nvSpPr>
        <p:spPr bwMode="auto">
          <a:xfrm>
            <a:off x="7624763" y="39576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FC50E4-99F8-41A5-AFA6-6891DAF9E19C}" type="datetime'''''''''''''''薬''''''''''''''''''''''''''''''''''''剤師'''''">
              <a:rPr lang="ja-JP" altLang="en-US" sz="1000" smtClean="0"/>
              <a:pPr/>
              <a:t>薬剤師</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30A0909A-6576-C208-36AE-75EE4F2EF005}"/>
              </a:ext>
            </a:extLst>
          </p:cNvPr>
          <p:cNvSpPr>
            <a:spLocks noGrp="1"/>
          </p:cNvSpPr>
          <p:nvPr>
            <p:custDataLst>
              <p:tags r:id="rId161"/>
            </p:custDataLst>
          </p:nvPr>
        </p:nvSpPr>
        <p:spPr bwMode="auto">
          <a:xfrm>
            <a:off x="7624763" y="41608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342CE8B-F12F-42D3-902E-6BC2D14FF1EB}" type="datetime'''歯''科医'''''''''''''''''''''''''''''''''''''''''''">
              <a:rPr lang="ja-JP" altLang="en-US" sz="1000" smtClean="0"/>
              <a:pPr/>
              <a:t>歯科医</a:t>
            </a:fld>
            <a:endParaRPr kumimoji="1" lang="ja-JP" altLang="en-US" sz="1000" dirty="0">
              <a:sym typeface="+mn-lt"/>
            </a:endParaRPr>
          </a:p>
        </p:txBody>
      </p:sp>
    </p:spTree>
    <p:extLst>
      <p:ext uri="{BB962C8B-B14F-4D97-AF65-F5344CB8AC3E}">
        <p14:creationId xmlns:p14="http://schemas.microsoft.com/office/powerpoint/2010/main" val="32043816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0270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388602"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5C0BEB72-1F44-4DA3-A681-AF027759C4AF}"/>
              </a:ext>
            </a:extLst>
          </p:cNvPr>
          <p:cNvSpPr txBox="1"/>
          <p:nvPr/>
        </p:nvSpPr>
        <p:spPr>
          <a:xfrm>
            <a:off x="1568622" y="310837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6" name="テキスト ボックス 45">
            <a:extLst>
              <a:ext uri="{FF2B5EF4-FFF2-40B4-BE49-F238E27FC236}">
                <a16:creationId xmlns:a16="http://schemas.microsoft.com/office/drawing/2014/main" id="{7CB988F6-96AD-48AC-9F4C-6767ABA6B162}"/>
              </a:ext>
            </a:extLst>
          </p:cNvPr>
          <p:cNvSpPr txBox="1"/>
          <p:nvPr/>
        </p:nvSpPr>
        <p:spPr>
          <a:xfrm>
            <a:off x="1568622" y="36930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9" name="テキスト ボックス 45">
            <a:extLst>
              <a:ext uri="{FF2B5EF4-FFF2-40B4-BE49-F238E27FC236}">
                <a16:creationId xmlns:a16="http://schemas.microsoft.com/office/drawing/2014/main" id="{E1623107-83C0-4D6C-A573-B69AF95F1881}"/>
              </a:ext>
            </a:extLst>
          </p:cNvPr>
          <p:cNvSpPr txBox="1"/>
          <p:nvPr/>
        </p:nvSpPr>
        <p:spPr>
          <a:xfrm>
            <a:off x="1568622" y="427196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環境・産業保健衛生専門家 </a:t>
            </a:r>
          </a:p>
        </p:txBody>
      </p:sp>
      <p:sp>
        <p:nvSpPr>
          <p:cNvPr id="21" name="テキスト ボックス 45">
            <a:extLst>
              <a:ext uri="{FF2B5EF4-FFF2-40B4-BE49-F238E27FC236}">
                <a16:creationId xmlns:a16="http://schemas.microsoft.com/office/drawing/2014/main" id="{AF10C9C8-89FD-4B34-91F6-6E2D959846A0}"/>
              </a:ext>
            </a:extLst>
          </p:cNvPr>
          <p:cNvSpPr txBox="1"/>
          <p:nvPr/>
        </p:nvSpPr>
        <p:spPr>
          <a:xfrm>
            <a:off x="1568622" y="487786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2" name="テキスト ボックス 45">
            <a:extLst>
              <a:ext uri="{FF2B5EF4-FFF2-40B4-BE49-F238E27FC236}">
                <a16:creationId xmlns:a16="http://schemas.microsoft.com/office/drawing/2014/main" id="{FB52C5D0-ABF3-4A8C-A6B9-333FC0B22A54}"/>
              </a:ext>
            </a:extLst>
          </p:cNvPr>
          <p:cNvSpPr txBox="1"/>
          <p:nvPr/>
        </p:nvSpPr>
        <p:spPr>
          <a:xfrm>
            <a:off x="4628964" y="4877869"/>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45">
            <a:extLst>
              <a:ext uri="{FF2B5EF4-FFF2-40B4-BE49-F238E27FC236}">
                <a16:creationId xmlns:a16="http://schemas.microsoft.com/office/drawing/2014/main" id="{E3C30198-FC49-44C7-8D67-C5E3A0DFD7BF}"/>
              </a:ext>
            </a:extLst>
          </p:cNvPr>
          <p:cNvSpPr txBox="1"/>
          <p:nvPr/>
        </p:nvSpPr>
        <p:spPr>
          <a:xfrm>
            <a:off x="6141132" y="31127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8B8B1E04-641A-4C5E-91A5-4025DC0318A9}"/>
              </a:ext>
            </a:extLst>
          </p:cNvPr>
          <p:cNvSpPr txBox="1"/>
          <p:nvPr/>
        </p:nvSpPr>
        <p:spPr>
          <a:xfrm>
            <a:off x="6141132" y="371131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3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3C898992-E489-490F-A9CF-65B87135B0D4}"/>
              </a:ext>
            </a:extLst>
          </p:cNvPr>
          <p:cNvSpPr txBox="1"/>
          <p:nvPr/>
        </p:nvSpPr>
        <p:spPr>
          <a:xfrm>
            <a:off x="6141132" y="434152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テキスト ボックス 45">
            <a:extLst>
              <a:ext uri="{FF2B5EF4-FFF2-40B4-BE49-F238E27FC236}">
                <a16:creationId xmlns:a16="http://schemas.microsoft.com/office/drawing/2014/main" id="{AF7C76DA-CAB8-4B78-8D8A-A1D8A3C27702}"/>
              </a:ext>
            </a:extLst>
          </p:cNvPr>
          <p:cNvSpPr txBox="1"/>
          <p:nvPr/>
        </p:nvSpPr>
        <p:spPr>
          <a:xfrm>
            <a:off x="6108216" y="488036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9" name="テキスト ボックス 45">
            <a:extLst>
              <a:ext uri="{FF2B5EF4-FFF2-40B4-BE49-F238E27FC236}">
                <a16:creationId xmlns:a16="http://schemas.microsoft.com/office/drawing/2014/main" id="{76663235-D73B-F50F-68DB-D44425A6608E}"/>
              </a:ext>
            </a:extLst>
          </p:cNvPr>
          <p:cNvSpPr txBox="1"/>
          <p:nvPr/>
        </p:nvSpPr>
        <p:spPr>
          <a:xfrm>
            <a:off x="4623551" y="31266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4A5976FA-2D5B-D7EE-0619-0B39D25F20BA}"/>
              </a:ext>
            </a:extLst>
          </p:cNvPr>
          <p:cNvSpPr txBox="1"/>
          <p:nvPr/>
        </p:nvSpPr>
        <p:spPr>
          <a:xfrm>
            <a:off x="4628964" y="371131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45">
            <a:extLst>
              <a:ext uri="{FF2B5EF4-FFF2-40B4-BE49-F238E27FC236}">
                <a16:creationId xmlns:a16="http://schemas.microsoft.com/office/drawing/2014/main" id="{CAA44D8D-A27D-FBC9-7CC0-A444D6D56A54}"/>
              </a:ext>
            </a:extLst>
          </p:cNvPr>
          <p:cNvSpPr txBox="1"/>
          <p:nvPr/>
        </p:nvSpPr>
        <p:spPr>
          <a:xfrm>
            <a:off x="4623551" y="434137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43989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285305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mek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5"/>
              </a:rPr>
              <a:t>https://www.simekahealth.co.za/south-africas-national-health-insurance-act-paving-the-way-for-universal-healthcare-and-equit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outh Africa Parliamen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34000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国民皆保険制度の確立を目指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提出された国民健康保険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シリル・ラマポーザ大統領によって署名され、法律として成立した。しかし、完全な実施は依然として進行中です。導入は段階的に進められており、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規則の策定、委員会の任命、公的医療部門と民間医療部門の統合開始など、基礎的な改革に重点が置かれている。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これらの改革を継続し、完全な実施には最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と見込まれ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初頭、憲法裁判所が国民参加プロセスに関する判決を下すまで、主要条項の公布を延期することに合意しており、これにより実施時期の不確実性がさらに高まっている。南アフリカ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基金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H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病院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A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ィスカバリー・ヘルスなどの団体が国民健康保険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の条項と財政的実現可能性について懸念を表明し、複数の法的異議申し立てが行われ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公立医療施設でのプライマリケアは引き続き無料、入院費用は所得水準に応じて無料または低価格と、引き続き最小限に抑えられている。移行期間中は、包括的な医療サービスを受けるために、既存の医療扶助と健康保険が引き続き不可欠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完全に実施されると、医療制度の役割は変化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金で償還されないサービスのみをカバーすることになる。</a:t>
            </a:r>
          </a:p>
        </p:txBody>
      </p:sp>
    </p:spTree>
    <p:extLst>
      <p:ext uri="{BB962C8B-B14F-4D97-AF65-F5344CB8AC3E}">
        <p14:creationId xmlns:p14="http://schemas.microsoft.com/office/powerpoint/2010/main" val="16879241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216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7" imgW="395" imgH="396" progId="TCLayout.ActiveDocument.1">
                  <p:embed/>
                </p:oleObj>
              </mc:Choice>
              <mc:Fallback>
                <p:oleObj name="think-cellスライド" r:id="rId27"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29">
                  <a:extLst>
                    <a:ext uri="{A12FA001-AC4F-418D-AE19-62706E023703}">
                      <ahyp:hlinkClr xmlns:ahyp="http://schemas.microsoft.com/office/drawing/2018/hyperlinkcolor" val="tx"/>
                    </a:ext>
                  </a:extLst>
                </a:hlinkClick>
              </a:rPr>
              <a:t>https://www.statssa.gov.za/publications/P0318/P03182021.pdf</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General Household Survey 2024 and 2023,</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South African Insurance Industry Survey 2017-2022 (KPMG)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現地の民間保険であるメディカルエイドへの加入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大きくは伸び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収入自体は近年、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増加している。</a:t>
            </a:r>
          </a:p>
        </p:txBody>
      </p:sp>
      <p:sp>
        <p:nvSpPr>
          <p:cNvPr id="25" name="Rectangle 6">
            <a:extLst>
              <a:ext uri="{FF2B5EF4-FFF2-40B4-BE49-F238E27FC236}">
                <a16:creationId xmlns:a16="http://schemas.microsoft.com/office/drawing/2014/main" id="{84211E3B-6900-4BD6-8D73-06C56DE6CD4A}"/>
              </a:ext>
            </a:extLst>
          </p:cNvPr>
          <p:cNvSpPr>
            <a:spLocks noChangeArrowheads="1"/>
          </p:cNvSpPr>
          <p:nvPr/>
        </p:nvSpPr>
        <p:spPr bwMode="auto">
          <a:xfrm>
            <a:off x="200025" y="1845131"/>
            <a:ext cx="5591175"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メディカルエイドへの加入率</a:t>
            </a:r>
          </a:p>
        </p:txBody>
      </p:sp>
      <p:sp>
        <p:nvSpPr>
          <p:cNvPr id="26" name="Rectangle 6">
            <a:extLst>
              <a:ext uri="{FF2B5EF4-FFF2-40B4-BE49-F238E27FC236}">
                <a16:creationId xmlns:a16="http://schemas.microsoft.com/office/drawing/2014/main" id="{375992DD-E958-4821-B6F7-545D694699B0}"/>
              </a:ext>
            </a:extLst>
          </p:cNvPr>
          <p:cNvSpPr>
            <a:spLocks noChangeArrowheads="1"/>
          </p:cNvSpPr>
          <p:nvPr/>
        </p:nvSpPr>
        <p:spPr bwMode="auto">
          <a:xfrm>
            <a:off x="6281033" y="1844675"/>
            <a:ext cx="3424048" cy="430213"/>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民間医療保険の保険料収入</a:t>
            </a:r>
          </a:p>
          <a:p>
            <a:r>
              <a:rPr lang="ja-JP" altLang="en-US" sz="1400" dirty="0">
                <a:latin typeface="+mj-lt"/>
                <a:ea typeface="HGP創英角ｺﾞｼｯｸUB" pitchFamily="50" charset="-128"/>
              </a:rPr>
              <a:t>百万</a:t>
            </a:r>
            <a:r>
              <a:rPr lang="en-US" altLang="ja-JP" sz="1400" dirty="0">
                <a:latin typeface="+mj-lt"/>
                <a:ea typeface="HGP創英角ｺﾞｼｯｸUB" pitchFamily="50" charset="-128"/>
              </a:rPr>
              <a:t>US$</a:t>
            </a:r>
          </a:p>
        </p:txBody>
      </p:sp>
      <p:graphicFrame>
        <p:nvGraphicFramePr>
          <p:cNvPr id="31" name="Chart 30">
            <a:extLst>
              <a:ext uri="{FF2B5EF4-FFF2-40B4-BE49-F238E27FC236}">
                <a16:creationId xmlns:a16="http://schemas.microsoft.com/office/drawing/2014/main" id="{64C17E88-961A-403B-9762-E191E7EE89AA}"/>
              </a:ext>
            </a:extLst>
          </p:cNvPr>
          <p:cNvGraphicFramePr/>
          <p:nvPr>
            <p:custDataLst>
              <p:tags r:id="rId2"/>
            </p:custDataLst>
            <p:extLst>
              <p:ext uri="{D42A27DB-BD31-4B8C-83A1-F6EECF244321}">
                <p14:modId xmlns:p14="http://schemas.microsoft.com/office/powerpoint/2010/main" val="2106022195"/>
              </p:ext>
            </p:extLst>
          </p:nvPr>
        </p:nvGraphicFramePr>
        <p:xfrm>
          <a:off x="6199188" y="2805113"/>
          <a:ext cx="3587750" cy="3370262"/>
        </p:xfrm>
        <a:graphic>
          <a:graphicData uri="http://schemas.openxmlformats.org/drawingml/2006/chart">
            <c:chart xmlns:c="http://schemas.openxmlformats.org/drawingml/2006/chart" xmlns:r="http://schemas.openxmlformats.org/officeDocument/2006/relationships" r:id="rId30"/>
          </a:graphicData>
        </a:graphic>
      </p:graphicFrame>
      <p:cxnSp>
        <p:nvCxnSpPr>
          <p:cNvPr id="28" name="Straight Connector 27">
            <a:extLst>
              <a:ext uri="{FF2B5EF4-FFF2-40B4-BE49-F238E27FC236}">
                <a16:creationId xmlns:a16="http://schemas.microsoft.com/office/drawing/2014/main" id="{DDB45F6D-6BCD-4661-A307-5A51CF54D432}"/>
              </a:ext>
            </a:extLst>
          </p:cNvPr>
          <p:cNvCxnSpPr/>
          <p:nvPr>
            <p:custDataLst>
              <p:tags r:id="rId3"/>
            </p:custDataLst>
          </p:nvPr>
        </p:nvCxnSpPr>
        <p:spPr bwMode="auto">
          <a:xfrm flipV="1">
            <a:off x="6565899" y="2595563"/>
            <a:ext cx="2852738" cy="928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6" name="テキスト プレースホルダ 9">
            <a:extLst>
              <a:ext uri="{FF2B5EF4-FFF2-40B4-BE49-F238E27FC236}">
                <a16:creationId xmlns:a16="http://schemas.microsoft.com/office/drawing/2014/main" id="{A55B01BD-6372-41EB-BD9D-C4B4273F9AE1}"/>
              </a:ext>
            </a:extLst>
          </p:cNvPr>
          <p:cNvSpPr>
            <a:spLocks noGrp="1"/>
          </p:cNvSpPr>
          <p:nvPr>
            <p:custDataLst>
              <p:tags r:id="rId4"/>
            </p:custDataLst>
          </p:nvPr>
        </p:nvSpPr>
        <p:spPr bwMode="auto">
          <a:xfrm>
            <a:off x="63912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504AEA-B236-40C1-A140-689BF1F7CCB8}" type="datetime'''''2''''''''''''''''''0''''''''''''''''''1''5'''''">
              <a:rPr lang="en-US" altLang="en-US" sz="1200" smtClean="0"/>
              <a:pPr/>
              <a:t>2015</a:t>
            </a:fld>
            <a:endParaRPr lang="ja-JP" altLang="en-US" sz="1200" dirty="0"/>
          </a:p>
        </p:txBody>
      </p:sp>
      <p:sp>
        <p:nvSpPr>
          <p:cNvPr id="34" name="テキスト プレースホルダ 9">
            <a:extLst>
              <a:ext uri="{FF2B5EF4-FFF2-40B4-BE49-F238E27FC236}">
                <a16:creationId xmlns:a16="http://schemas.microsoft.com/office/drawing/2014/main" id="{94C9646C-BAD7-4653-B6AA-43134215EE4D}"/>
              </a:ext>
            </a:extLst>
          </p:cNvPr>
          <p:cNvSpPr>
            <a:spLocks noGrp="1"/>
          </p:cNvSpPr>
          <p:nvPr>
            <p:custDataLst>
              <p:tags r:id="rId5"/>
            </p:custDataLst>
          </p:nvPr>
        </p:nvSpPr>
        <p:spPr bwMode="auto">
          <a:xfrm>
            <a:off x="69627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2B6EA5-6C32-46B9-86F8-C0B7E70EF9C0}"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AA20D263-C946-4E64-92FB-998384B63C7D}"/>
              </a:ext>
            </a:extLst>
          </p:cNvPr>
          <p:cNvSpPr>
            <a:spLocks noGrp="1"/>
          </p:cNvSpPr>
          <p:nvPr>
            <p:custDataLst>
              <p:tags r:id="rId6"/>
            </p:custDataLst>
          </p:nvPr>
        </p:nvSpPr>
        <p:spPr bwMode="auto">
          <a:xfrm>
            <a:off x="75326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80CEA-A208-48BF-BF9B-2EDABE65D846}" type="datetime'''''2''''0''''''''''1''''7'''''''">
              <a:rPr lang="en-US" altLang="en-US" sz="1200" smtClean="0"/>
              <a:pPr/>
              <a:t>2017</a:t>
            </a:fld>
            <a:endParaRPr lang="ja-JP" altLang="en-US" sz="1200" dirty="0"/>
          </a:p>
        </p:txBody>
      </p:sp>
      <p:sp>
        <p:nvSpPr>
          <p:cNvPr id="38" name="テキスト プレースホルダ 9">
            <a:extLst>
              <a:ext uri="{FF2B5EF4-FFF2-40B4-BE49-F238E27FC236}">
                <a16:creationId xmlns:a16="http://schemas.microsoft.com/office/drawing/2014/main" id="{2C76050F-1654-4190-9E7A-6A69F9283B0D}"/>
              </a:ext>
            </a:extLst>
          </p:cNvPr>
          <p:cNvSpPr>
            <a:spLocks noGrp="1"/>
          </p:cNvSpPr>
          <p:nvPr>
            <p:custDataLst>
              <p:tags r:id="rId7"/>
            </p:custDataLst>
          </p:nvPr>
        </p:nvSpPr>
        <p:spPr bwMode="auto">
          <a:xfrm>
            <a:off x="81026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222A7-2E1E-4FB4-B6C9-F29AF3D798FA}" type="datetime'''''''''''''''''''''''''''''''''''''2''0''''''''''''''1''8'">
              <a:rPr lang="en-US" altLang="en-US" sz="1200" smtClean="0"/>
              <a:pPr/>
              <a:t>2018</a:t>
            </a:fld>
            <a:endParaRPr lang="ja-JP" altLang="en-US" sz="1200" dirty="0"/>
          </a:p>
        </p:txBody>
      </p:sp>
      <p:sp>
        <p:nvSpPr>
          <p:cNvPr id="43" name="テキスト プレースホルダ 9">
            <a:extLst>
              <a:ext uri="{FF2B5EF4-FFF2-40B4-BE49-F238E27FC236}">
                <a16:creationId xmlns:a16="http://schemas.microsoft.com/office/drawing/2014/main" id="{0BFD4BDB-3193-43D0-9526-E39F95B7F504}"/>
              </a:ext>
            </a:extLst>
          </p:cNvPr>
          <p:cNvSpPr>
            <a:spLocks noGrp="1"/>
          </p:cNvSpPr>
          <p:nvPr>
            <p:custDataLst>
              <p:tags r:id="rId8"/>
            </p:custDataLst>
          </p:nvPr>
        </p:nvSpPr>
        <p:spPr bwMode="auto">
          <a:xfrm>
            <a:off x="86741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F8A75-F12C-4B84-B30F-E23F88FAB7B0}" type="datetime'''''''''2''''''''''''''''''''''''0''''''''''''1''''''''''9'">
              <a:rPr lang="en-US" altLang="en-US" sz="1200" smtClean="0"/>
              <a:pPr/>
              <a:t>2019</a:t>
            </a:fld>
            <a:endParaRPr lang="ja-JP" altLang="en-US" sz="1200" dirty="0"/>
          </a:p>
        </p:txBody>
      </p:sp>
      <p:sp>
        <p:nvSpPr>
          <p:cNvPr id="44" name="テキスト プレースホルダ 9">
            <a:extLst>
              <a:ext uri="{FF2B5EF4-FFF2-40B4-BE49-F238E27FC236}">
                <a16:creationId xmlns:a16="http://schemas.microsoft.com/office/drawing/2014/main" id="{B3957AF7-53A1-458D-907A-436467B951A6}"/>
              </a:ext>
            </a:extLst>
          </p:cNvPr>
          <p:cNvSpPr>
            <a:spLocks noGrp="1"/>
          </p:cNvSpPr>
          <p:nvPr>
            <p:custDataLst>
              <p:tags r:id="rId9"/>
            </p:custDataLst>
          </p:nvPr>
        </p:nvSpPr>
        <p:spPr bwMode="auto">
          <a:xfrm>
            <a:off x="9244013"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9BFB3F-C451-43AF-BEDD-74908994D46B}" type="datetime'''''''2''''''''''0''''''2''''''''0'''''''''''''''''''''''''">
              <a:rPr lang="en-US" altLang="en-US" sz="1200" smtClean="0"/>
              <a:pPr/>
              <a:t>2020</a:t>
            </a:fld>
            <a:endParaRPr lang="ja-JP" altLang="en-US" sz="1200" dirty="0"/>
          </a:p>
        </p:txBody>
      </p:sp>
      <p:sp>
        <p:nvSpPr>
          <p:cNvPr id="45" name="テキスト プレースホルダ 9">
            <a:extLst>
              <a:ext uri="{FF2B5EF4-FFF2-40B4-BE49-F238E27FC236}">
                <a16:creationId xmlns:a16="http://schemas.microsoft.com/office/drawing/2014/main" id="{3E8DD0D9-78B5-465D-ADC3-EBD1F523241E}"/>
              </a:ext>
            </a:extLst>
          </p:cNvPr>
          <p:cNvSpPr>
            <a:spLocks noGrp="1"/>
          </p:cNvSpPr>
          <p:nvPr>
            <p:custDataLst>
              <p:tags r:id="rId10"/>
            </p:custDataLst>
          </p:nvPr>
        </p:nvSpPr>
        <p:spPr bwMode="auto">
          <a:xfrm>
            <a:off x="7558088" y="2930525"/>
            <a:ext cx="866775" cy="25876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200" b="1" dirty="0">
                <a:effectLst/>
              </a:rPr>
              <a:t>年率</a:t>
            </a:r>
            <a:fld id="{21831D87-0CA1-4002-8839-CF12A4399EF8}" type="datetime'''''''''+''''''''''''''''''''''''''''''''''''''''''''8''''''%'">
              <a:rPr lang="en-US" altLang="en-US" sz="1200" b="1" smtClean="0">
                <a:effectLst/>
              </a:rPr>
              <a:pPr/>
              <a:t>+8%</a:t>
            </a:fld>
            <a:endParaRPr lang="ja-JP" altLang="en-US" sz="1200" b="1" dirty="0"/>
          </a:p>
        </p:txBody>
      </p:sp>
      <p:graphicFrame>
        <p:nvGraphicFramePr>
          <p:cNvPr id="105" name="Chart 104">
            <a:extLst>
              <a:ext uri="{FF2B5EF4-FFF2-40B4-BE49-F238E27FC236}">
                <a16:creationId xmlns:a16="http://schemas.microsoft.com/office/drawing/2014/main" id="{E3B84835-24AE-FD43-2151-DD806126616A}"/>
              </a:ext>
            </a:extLst>
          </p:cNvPr>
          <p:cNvGraphicFramePr/>
          <p:nvPr>
            <p:custDataLst>
              <p:tags r:id="rId11"/>
            </p:custDataLst>
            <p:extLst>
              <p:ext uri="{D42A27DB-BD31-4B8C-83A1-F6EECF244321}">
                <p14:modId xmlns:p14="http://schemas.microsoft.com/office/powerpoint/2010/main" val="3942822173"/>
              </p:ext>
            </p:extLst>
          </p:nvPr>
        </p:nvGraphicFramePr>
        <p:xfrm>
          <a:off x="117475" y="2222500"/>
          <a:ext cx="5756275" cy="4137025"/>
        </p:xfrm>
        <a:graphic>
          <a:graphicData uri="http://schemas.openxmlformats.org/drawingml/2006/chart">
            <c:chart xmlns:c="http://schemas.openxmlformats.org/drawingml/2006/chart" xmlns:r="http://schemas.openxmlformats.org/officeDocument/2006/relationships" r:id="rId31"/>
          </a:graphicData>
        </a:graphic>
      </p:graphicFrame>
      <p:sp>
        <p:nvSpPr>
          <p:cNvPr id="90" name="テキスト プレースホルダ 9">
            <a:extLst>
              <a:ext uri="{FF2B5EF4-FFF2-40B4-BE49-F238E27FC236}">
                <a16:creationId xmlns:a16="http://schemas.microsoft.com/office/drawing/2014/main" id="{AAF49EC2-090F-5076-7DFC-5D1F35A7142B}"/>
              </a:ext>
            </a:extLst>
          </p:cNvPr>
          <p:cNvSpPr>
            <a:spLocks/>
          </p:cNvSpPr>
          <p:nvPr>
            <p:custDataLst>
              <p:tags r:id="rId12"/>
            </p:custDataLst>
          </p:nvPr>
        </p:nvSpPr>
        <p:spPr bwMode="auto">
          <a:xfrm>
            <a:off x="225425"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29A4E-B67F-4688-8F23-82831C7335F3}" type="datetime'''''2''''''''''''''''''0''''''''''0''''''2'''''''''''''">
              <a:rPr lang="en-US" altLang="en-US" sz="1200" smtClean="0">
                <a:effectLst/>
              </a:rPr>
              <a:pPr marL="0" lvl="0" indent="0" algn="ctr">
                <a:spcBef>
                  <a:spcPct val="0"/>
                </a:spcBef>
                <a:buNone/>
              </a:pPr>
              <a:t>2002</a:t>
            </a:fld>
            <a:endParaRPr kumimoji="1" lang="en-US" altLang="ja-JP" sz="1200" dirty="0"/>
          </a:p>
        </p:txBody>
      </p:sp>
      <p:sp>
        <p:nvSpPr>
          <p:cNvPr id="92" name="テキスト プレースホルダ 9">
            <a:extLst>
              <a:ext uri="{FF2B5EF4-FFF2-40B4-BE49-F238E27FC236}">
                <a16:creationId xmlns:a16="http://schemas.microsoft.com/office/drawing/2014/main" id="{51A7048C-AAC2-D983-2333-F8D811082321}"/>
              </a:ext>
            </a:extLst>
          </p:cNvPr>
          <p:cNvSpPr>
            <a:spLocks/>
          </p:cNvSpPr>
          <p:nvPr>
            <p:custDataLst>
              <p:tags r:id="rId13"/>
            </p:custDataLst>
          </p:nvPr>
        </p:nvSpPr>
        <p:spPr bwMode="auto">
          <a:xfrm>
            <a:off x="62388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98E6CD-87D0-480C-A05E-2C750F8A6EA7}" type="datetime'''''''''''''''''''2''''''''''''''''''''0''04'''''''">
              <a:rPr lang="en-US" altLang="en-US" sz="1200" smtClean="0">
                <a:effectLst/>
              </a:rPr>
              <a:pPr marL="0" lvl="0" indent="0" algn="ctr">
                <a:spcBef>
                  <a:spcPct val="0"/>
                </a:spcBef>
                <a:buNone/>
              </a:pPr>
              <a:t>2004</a:t>
            </a:fld>
            <a:endParaRPr kumimoji="1" lang="en-US" altLang="ja-JP" sz="1200" dirty="0"/>
          </a:p>
        </p:txBody>
      </p:sp>
      <p:sp>
        <p:nvSpPr>
          <p:cNvPr id="93" name="テキスト プレースホルダ 9">
            <a:extLst>
              <a:ext uri="{FF2B5EF4-FFF2-40B4-BE49-F238E27FC236}">
                <a16:creationId xmlns:a16="http://schemas.microsoft.com/office/drawing/2014/main" id="{AEC8C38E-2B32-E8E1-AE89-58B08F3E14FD}"/>
              </a:ext>
            </a:extLst>
          </p:cNvPr>
          <p:cNvSpPr>
            <a:spLocks/>
          </p:cNvSpPr>
          <p:nvPr>
            <p:custDataLst>
              <p:tags r:id="rId14"/>
            </p:custDataLst>
          </p:nvPr>
        </p:nvSpPr>
        <p:spPr bwMode="auto">
          <a:xfrm>
            <a:off x="102393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A396C-D0EC-4641-8AD1-3EC9D43CD667}" type="datetime'''2''00''''''''''''''''''''''''8'''">
              <a:rPr lang="en-US" altLang="en-US" sz="1200" smtClean="0">
                <a:effectLst/>
              </a:rPr>
              <a:pPr marL="0" lvl="0" indent="0" algn="ctr">
                <a:spcBef>
                  <a:spcPct val="0"/>
                </a:spcBef>
                <a:buNone/>
              </a:pPr>
              <a:t>2008</a:t>
            </a:fld>
            <a:endParaRPr kumimoji="1" lang="en-US" altLang="ja-JP" sz="1200" dirty="0"/>
          </a:p>
        </p:txBody>
      </p:sp>
      <p:sp>
        <p:nvSpPr>
          <p:cNvPr id="94" name="テキスト プレースホルダ 9">
            <a:extLst>
              <a:ext uri="{FF2B5EF4-FFF2-40B4-BE49-F238E27FC236}">
                <a16:creationId xmlns:a16="http://schemas.microsoft.com/office/drawing/2014/main" id="{5C1A9EAF-4592-A132-E9AA-97BB669DF20A}"/>
              </a:ext>
            </a:extLst>
          </p:cNvPr>
          <p:cNvSpPr>
            <a:spLocks/>
          </p:cNvSpPr>
          <p:nvPr>
            <p:custDataLst>
              <p:tags r:id="rId15"/>
            </p:custDataLst>
          </p:nvPr>
        </p:nvSpPr>
        <p:spPr bwMode="auto">
          <a:xfrm>
            <a:off x="142240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486163-E0E0-4A74-B5BC-869B311F38B1}" type="datetime'2''''''0''1''''''0'''''''''''''''''''''''''''''''''''''''''">
              <a:rPr lang="en-US" altLang="en-US" sz="1200" smtClean="0">
                <a:effectLst/>
              </a:rPr>
              <a:pPr marL="0" lvl="0" indent="0" algn="ctr">
                <a:spcBef>
                  <a:spcPct val="0"/>
                </a:spcBef>
                <a:buNone/>
              </a:pPr>
              <a:t>2010</a:t>
            </a:fld>
            <a:endParaRPr kumimoji="1" lang="en-US" altLang="ja-JP" sz="1200" dirty="0"/>
          </a:p>
        </p:txBody>
      </p:sp>
      <p:sp>
        <p:nvSpPr>
          <p:cNvPr id="95" name="テキスト プレースホルダ 9">
            <a:extLst>
              <a:ext uri="{FF2B5EF4-FFF2-40B4-BE49-F238E27FC236}">
                <a16:creationId xmlns:a16="http://schemas.microsoft.com/office/drawing/2014/main" id="{241371F0-C533-CE31-5214-5FE60B772D8E}"/>
              </a:ext>
            </a:extLst>
          </p:cNvPr>
          <p:cNvSpPr>
            <a:spLocks/>
          </p:cNvSpPr>
          <p:nvPr>
            <p:custDataLst>
              <p:tags r:id="rId16"/>
            </p:custDataLst>
          </p:nvPr>
        </p:nvSpPr>
        <p:spPr bwMode="auto">
          <a:xfrm>
            <a:off x="182245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9F9998-44DF-4B7A-BAD9-13E8EB080D5A}" type="datetime'''''''''''''''''''2''''0''''''''''1''''''''''''2'">
              <a:rPr lang="en-US" altLang="en-US" sz="1200" smtClean="0">
                <a:effectLst/>
              </a:rPr>
              <a:pPr marL="0" lvl="0" indent="0" algn="ctr">
                <a:spcBef>
                  <a:spcPct val="0"/>
                </a:spcBef>
                <a:buNone/>
              </a:pPr>
              <a:t>2012</a:t>
            </a:fld>
            <a:endParaRPr kumimoji="1" lang="en-US" altLang="ja-JP" sz="1200" dirty="0"/>
          </a:p>
        </p:txBody>
      </p:sp>
      <p:sp>
        <p:nvSpPr>
          <p:cNvPr id="96" name="テキスト プレースホルダ 9">
            <a:extLst>
              <a:ext uri="{FF2B5EF4-FFF2-40B4-BE49-F238E27FC236}">
                <a16:creationId xmlns:a16="http://schemas.microsoft.com/office/drawing/2014/main" id="{B282E7A1-5BA6-0F29-BEB2-C5AD895C3D56}"/>
              </a:ext>
            </a:extLst>
          </p:cNvPr>
          <p:cNvSpPr>
            <a:spLocks/>
          </p:cNvSpPr>
          <p:nvPr>
            <p:custDataLst>
              <p:tags r:id="rId17"/>
            </p:custDataLst>
          </p:nvPr>
        </p:nvSpPr>
        <p:spPr bwMode="auto">
          <a:xfrm>
            <a:off x="2220913"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858F1C-3491-4BBB-9C34-ED456D9C1EAE}" type="datetime'2''''''''''''''''''''''0''''''''''1''''4'''''''''">
              <a:rPr lang="en-US" altLang="en-US" sz="1200" smtClean="0">
                <a:effectLst/>
              </a:rPr>
              <a:pPr marL="0" lvl="0" indent="0" algn="ctr">
                <a:spcBef>
                  <a:spcPct val="0"/>
                </a:spcBef>
                <a:buNone/>
              </a:pPr>
              <a:t>2014</a:t>
            </a:fld>
            <a:endParaRPr kumimoji="1" lang="en-US" altLang="ja-JP" sz="1200" dirty="0"/>
          </a:p>
        </p:txBody>
      </p:sp>
      <p:sp>
        <p:nvSpPr>
          <p:cNvPr id="97" name="テキスト プレースホルダ 9">
            <a:extLst>
              <a:ext uri="{FF2B5EF4-FFF2-40B4-BE49-F238E27FC236}">
                <a16:creationId xmlns:a16="http://schemas.microsoft.com/office/drawing/2014/main" id="{24C3D20E-840C-E493-8A18-677D56377180}"/>
              </a:ext>
            </a:extLst>
          </p:cNvPr>
          <p:cNvSpPr>
            <a:spLocks/>
          </p:cNvSpPr>
          <p:nvPr>
            <p:custDataLst>
              <p:tags r:id="rId18"/>
            </p:custDataLst>
          </p:nvPr>
        </p:nvSpPr>
        <p:spPr bwMode="auto">
          <a:xfrm>
            <a:off x="2620963"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C0F9F5-8C81-4CA7-A2FD-03C4FA585A09}" type="datetime'''''''''''''''''''''''2''''''0''''''1''''''''''6'''''''''''">
              <a:rPr lang="en-US" altLang="en-US" sz="1200" smtClean="0">
                <a:effectLst/>
              </a:rPr>
              <a:pPr marL="0" lvl="0" indent="0" algn="ctr">
                <a:spcBef>
                  <a:spcPct val="0"/>
                </a:spcBef>
                <a:buNone/>
              </a:pPr>
              <a:t>2016</a:t>
            </a:fld>
            <a:endParaRPr kumimoji="1" lang="en-US" altLang="ja-JP" sz="1200" dirty="0"/>
          </a:p>
        </p:txBody>
      </p:sp>
      <p:sp>
        <p:nvSpPr>
          <p:cNvPr id="98" name="テキスト プレースホルダ 9">
            <a:extLst>
              <a:ext uri="{FF2B5EF4-FFF2-40B4-BE49-F238E27FC236}">
                <a16:creationId xmlns:a16="http://schemas.microsoft.com/office/drawing/2014/main" id="{64363299-50A5-65F5-0524-010E546CAE9F}"/>
              </a:ext>
            </a:extLst>
          </p:cNvPr>
          <p:cNvSpPr>
            <a:spLocks/>
          </p:cNvSpPr>
          <p:nvPr>
            <p:custDataLst>
              <p:tags r:id="rId19"/>
            </p:custDataLst>
          </p:nvPr>
        </p:nvSpPr>
        <p:spPr bwMode="auto">
          <a:xfrm>
            <a:off x="3021013"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F9D24C-7889-47C2-B602-1241BAD117EF}" type="datetime'2''''''''''''''''''''''''0''''''''''''18'''''''">
              <a:rPr lang="en-US" altLang="en-US" sz="1200" smtClean="0">
                <a:effectLst/>
              </a:rPr>
              <a:pPr marL="0" lvl="0" indent="0" algn="ctr">
                <a:spcBef>
                  <a:spcPct val="0"/>
                </a:spcBef>
                <a:buNone/>
              </a:pPr>
              <a:t>2018</a:t>
            </a:fld>
            <a:endParaRPr kumimoji="1" lang="en-US" altLang="ja-JP" sz="1200" dirty="0"/>
          </a:p>
        </p:txBody>
      </p:sp>
      <p:sp>
        <p:nvSpPr>
          <p:cNvPr id="99" name="テキスト プレースホルダ 9">
            <a:extLst>
              <a:ext uri="{FF2B5EF4-FFF2-40B4-BE49-F238E27FC236}">
                <a16:creationId xmlns:a16="http://schemas.microsoft.com/office/drawing/2014/main" id="{A987BFA4-D892-326D-146A-816F08F92388}"/>
              </a:ext>
            </a:extLst>
          </p:cNvPr>
          <p:cNvSpPr>
            <a:spLocks/>
          </p:cNvSpPr>
          <p:nvPr>
            <p:custDataLst>
              <p:tags r:id="rId20"/>
            </p:custDataLst>
          </p:nvPr>
        </p:nvSpPr>
        <p:spPr bwMode="auto">
          <a:xfrm>
            <a:off x="3419475"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D83035-573D-4A12-87F8-8C43C0F79664}" type="datetime'''''2''''''''0''''''''''''1''''''''9'''''''''''''''''''">
              <a:rPr lang="en-US" altLang="en-US" sz="1200" smtClean="0">
                <a:effectLst/>
              </a:rPr>
              <a:pPr marL="0" lvl="0" indent="0" algn="ctr">
                <a:spcBef>
                  <a:spcPct val="0"/>
                </a:spcBef>
                <a:buNone/>
              </a:pPr>
              <a:t>2019</a:t>
            </a:fld>
            <a:endParaRPr kumimoji="1" lang="en-US" altLang="ja-JP" sz="1200" dirty="0"/>
          </a:p>
        </p:txBody>
      </p:sp>
      <p:sp>
        <p:nvSpPr>
          <p:cNvPr id="100" name="テキスト プレースホルダ 9">
            <a:extLst>
              <a:ext uri="{FF2B5EF4-FFF2-40B4-BE49-F238E27FC236}">
                <a16:creationId xmlns:a16="http://schemas.microsoft.com/office/drawing/2014/main" id="{C2183FE9-B529-3D1C-4314-8169F7711866}"/>
              </a:ext>
            </a:extLst>
          </p:cNvPr>
          <p:cNvSpPr>
            <a:spLocks/>
          </p:cNvSpPr>
          <p:nvPr>
            <p:custDataLst>
              <p:tags r:id="rId21"/>
            </p:custDataLst>
          </p:nvPr>
        </p:nvSpPr>
        <p:spPr bwMode="auto">
          <a:xfrm>
            <a:off x="3819525"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6BBBE7-316C-4E1A-9319-947F4F23D6B1}" type="datetime'''''''''''''2''''''02''''''''0'''''''''">
              <a:rPr lang="en-US" altLang="en-US" sz="1200" smtClean="0">
                <a:effectLst/>
              </a:rPr>
              <a:pPr marL="0" lvl="0" indent="0" algn="ctr">
                <a:spcBef>
                  <a:spcPct val="0"/>
                </a:spcBef>
                <a:buNone/>
              </a:pPr>
              <a:t>2020</a:t>
            </a:fld>
            <a:endParaRPr kumimoji="1" lang="en-US" altLang="ja-JP" sz="1200" dirty="0"/>
          </a:p>
        </p:txBody>
      </p:sp>
      <p:sp>
        <p:nvSpPr>
          <p:cNvPr id="101" name="テキスト プレースホルダ 9">
            <a:extLst>
              <a:ext uri="{FF2B5EF4-FFF2-40B4-BE49-F238E27FC236}">
                <a16:creationId xmlns:a16="http://schemas.microsoft.com/office/drawing/2014/main" id="{6BEE55A2-B4AC-4746-D798-A1C02691CE61}"/>
              </a:ext>
            </a:extLst>
          </p:cNvPr>
          <p:cNvSpPr>
            <a:spLocks/>
          </p:cNvSpPr>
          <p:nvPr>
            <p:custDataLst>
              <p:tags r:id="rId22"/>
            </p:custDataLst>
          </p:nvPr>
        </p:nvSpPr>
        <p:spPr bwMode="auto">
          <a:xfrm>
            <a:off x="421798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1B293-3DB6-4439-BA90-47409B1C3459}" type="datetime'''2''''0''2''''''''''''''''''''''''1'''''''''''">
              <a:rPr lang="en-US" altLang="en-US" sz="1200" smtClean="0">
                <a:effectLst/>
              </a:rPr>
              <a:pPr marL="0" lvl="0" indent="0" algn="ctr">
                <a:spcBef>
                  <a:spcPct val="0"/>
                </a:spcBef>
                <a:buNone/>
              </a:pPr>
              <a:t>2021</a:t>
            </a:fld>
            <a:endParaRPr kumimoji="1" lang="en-US" altLang="ja-JP" sz="1200" dirty="0"/>
          </a:p>
        </p:txBody>
      </p:sp>
      <p:sp>
        <p:nvSpPr>
          <p:cNvPr id="102" name="テキスト プレースホルダ 9">
            <a:extLst>
              <a:ext uri="{FF2B5EF4-FFF2-40B4-BE49-F238E27FC236}">
                <a16:creationId xmlns:a16="http://schemas.microsoft.com/office/drawing/2014/main" id="{0D4C7CF9-A33F-2A37-84CE-386D671B808D}"/>
              </a:ext>
            </a:extLst>
          </p:cNvPr>
          <p:cNvSpPr>
            <a:spLocks/>
          </p:cNvSpPr>
          <p:nvPr>
            <p:custDataLst>
              <p:tags r:id="rId23"/>
            </p:custDataLst>
          </p:nvPr>
        </p:nvSpPr>
        <p:spPr bwMode="auto">
          <a:xfrm>
            <a:off x="461803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35E64-5908-49C0-A0CB-EF820A1D6BA8}" type="datetime'''''''2''0''2''''''2'''''''''">
              <a:rPr lang="en-US" altLang="en-US" sz="1200" smtClean="0">
                <a:effectLst/>
              </a:rPr>
              <a:pPr marL="0" lvl="0" indent="0" algn="ctr">
                <a:spcBef>
                  <a:spcPct val="0"/>
                </a:spcBef>
                <a:buNone/>
              </a:pPr>
              <a:t>2022</a:t>
            </a:fld>
            <a:endParaRPr kumimoji="1" lang="en-US" altLang="ja-JP" sz="1200" dirty="0"/>
          </a:p>
        </p:txBody>
      </p:sp>
      <p:sp>
        <p:nvSpPr>
          <p:cNvPr id="103" name="テキスト プレースホルダ 9">
            <a:extLst>
              <a:ext uri="{FF2B5EF4-FFF2-40B4-BE49-F238E27FC236}">
                <a16:creationId xmlns:a16="http://schemas.microsoft.com/office/drawing/2014/main" id="{92A56AD8-FC63-AF7E-AC70-BBF052F3B413}"/>
              </a:ext>
            </a:extLst>
          </p:cNvPr>
          <p:cNvSpPr>
            <a:spLocks/>
          </p:cNvSpPr>
          <p:nvPr>
            <p:custDataLst>
              <p:tags r:id="rId24"/>
            </p:custDataLst>
          </p:nvPr>
        </p:nvSpPr>
        <p:spPr bwMode="auto">
          <a:xfrm>
            <a:off x="501650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0AB47-CA26-4E23-AC56-1EC6EEF10BD2}" type="datetime'''''''2''''0''''''2''''''''''''''''3'">
              <a:rPr lang="en-US" altLang="en-US" sz="1200" smtClean="0">
                <a:effectLst/>
              </a:rPr>
              <a:pPr marL="0" lvl="0" indent="0" algn="ctr">
                <a:spcBef>
                  <a:spcPct val="0"/>
                </a:spcBef>
                <a:buNone/>
              </a:pPr>
              <a:t>2023</a:t>
            </a:fld>
            <a:endParaRPr kumimoji="1" lang="en-US" altLang="ja-JP" sz="1200" dirty="0"/>
          </a:p>
        </p:txBody>
      </p:sp>
      <p:sp>
        <p:nvSpPr>
          <p:cNvPr id="104" name="テキスト プレースホルダ 9">
            <a:extLst>
              <a:ext uri="{FF2B5EF4-FFF2-40B4-BE49-F238E27FC236}">
                <a16:creationId xmlns:a16="http://schemas.microsoft.com/office/drawing/2014/main" id="{966C12D8-9AEA-3DCC-5516-27C3222744F2}"/>
              </a:ext>
            </a:extLst>
          </p:cNvPr>
          <p:cNvSpPr>
            <a:spLocks/>
          </p:cNvSpPr>
          <p:nvPr>
            <p:custDataLst>
              <p:tags r:id="rId25"/>
            </p:custDataLst>
          </p:nvPr>
        </p:nvSpPr>
        <p:spPr bwMode="auto">
          <a:xfrm>
            <a:off x="541655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00B1D-E689-4D75-B853-63B0A1F1D6FF}" type="datetime'''2''''''''''''''''''''''''''''''''''0''''''2''''4'''">
              <a:rPr lang="en-US" altLang="en-US" sz="1200" smtClean="0">
                <a:effectLst/>
              </a:rPr>
              <a:pPr marL="0" lvl="0" indent="0" algn="ctr">
                <a:spcBef>
                  <a:spcPct val="0"/>
                </a:spcBef>
                <a:buNone/>
              </a:pPr>
              <a:t>2024</a:t>
            </a:fld>
            <a:endParaRPr kumimoji="1" lang="en-US" altLang="ja-JP" sz="1200" dirty="0"/>
          </a:p>
        </p:txBody>
      </p:sp>
    </p:spTree>
    <p:extLst>
      <p:ext uri="{BB962C8B-B14F-4D97-AF65-F5344CB8AC3E}">
        <p14:creationId xmlns:p14="http://schemas.microsoft.com/office/powerpoint/2010/main" val="1613561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299242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保健省が保健サービス提供システムの全体にかかる指針の作成、調整、支援を行うとともに、保険サービスの質の改善や、州のサービス提供にかかる改革計画への支援、リソース配分など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保健局は、郡ベースのプライマリーヘルスケアサービスをベースに、地域の総合的な保険サービス提供の実施と管理を行ってい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保健省ホームページ</a:t>
            </a:r>
          </a:p>
        </p:txBody>
      </p:sp>
      <p:sp>
        <p:nvSpPr>
          <p:cNvPr id="24" name="TextBox 23">
            <a:extLst>
              <a:ext uri="{FF2B5EF4-FFF2-40B4-BE49-F238E27FC236}">
                <a16:creationId xmlns:a16="http://schemas.microsoft.com/office/drawing/2014/main" id="{7F8A656E-00B9-447B-AD0D-08EEF17A1E12}"/>
              </a:ext>
            </a:extLst>
          </p:cNvPr>
          <p:cNvSpPr txBox="1"/>
          <p:nvPr/>
        </p:nvSpPr>
        <p:spPr>
          <a:xfrm>
            <a:off x="3223983" y="4778944"/>
            <a:ext cx="3211513" cy="1477328"/>
          </a:xfrm>
          <a:prstGeom prst="rect">
            <a:avLst/>
          </a:prstGeom>
          <a:noFill/>
        </p:spPr>
        <p:txBody>
          <a:bodyPr wrap="square">
            <a:spAutoFit/>
          </a:bodyPr>
          <a:lstStyle/>
          <a:p>
            <a:r>
              <a:rPr lang="ja-JP" altLang="en-US" sz="1000" b="1" dirty="0"/>
              <a:t>下部公的機関</a:t>
            </a:r>
          </a:p>
          <a:p>
            <a:endParaRPr lang="en-US" altLang="ja-JP" sz="1000" dirty="0"/>
          </a:p>
          <a:p>
            <a:pPr marL="285750" indent="-285750">
              <a:buFont typeface="Arial" panose="020B0604020202020204" pitchFamily="34" charset="0"/>
              <a:buChar char="•"/>
            </a:pPr>
            <a:r>
              <a:rPr lang="ja-JP" altLang="en-US" sz="1000" dirty="0"/>
              <a:t>医療保険協議会</a:t>
            </a:r>
            <a:r>
              <a:rPr lang="en-US" altLang="ja-JP" sz="1000" dirty="0"/>
              <a:t>(</a:t>
            </a:r>
            <a:r>
              <a:rPr lang="en-US" sz="1000" dirty="0"/>
              <a:t>CMS)</a:t>
            </a:r>
          </a:p>
          <a:p>
            <a:pPr marL="285750" indent="-285750">
              <a:buFont typeface="Arial" panose="020B0604020202020204" pitchFamily="34" charset="0"/>
              <a:buChar char="•"/>
            </a:pPr>
            <a:r>
              <a:rPr lang="ja-JP" altLang="en-US" sz="1000" dirty="0"/>
              <a:t>南アフリカ医療製品規制庁 </a:t>
            </a:r>
            <a:r>
              <a:rPr lang="en-US" altLang="ja-JP" sz="1000" dirty="0"/>
              <a:t>(SAHPRA)</a:t>
            </a:r>
            <a:endParaRPr lang="en-US" sz="1000" dirty="0"/>
          </a:p>
          <a:p>
            <a:pPr marL="285750" indent="-285750">
              <a:buFont typeface="Arial" panose="020B0604020202020204" pitchFamily="34" charset="0"/>
              <a:buChar char="•"/>
            </a:pPr>
            <a:r>
              <a:rPr lang="ja-JP" altLang="en-US" sz="1000" dirty="0"/>
              <a:t>南アフリカ医療リサーチ協議会（</a:t>
            </a:r>
            <a:r>
              <a:rPr lang="en-US" sz="1000" dirty="0"/>
              <a:t>South African Medical Research Council</a:t>
            </a:r>
            <a:r>
              <a:rPr lang="ja-JP" altLang="en-US" sz="1000" dirty="0"/>
              <a:t>）</a:t>
            </a:r>
            <a:endParaRPr lang="en-US" sz="1000" dirty="0"/>
          </a:p>
          <a:p>
            <a:pPr marL="285750" indent="-285750">
              <a:buFont typeface="Arial" panose="020B0604020202020204" pitchFamily="34" charset="0"/>
              <a:buChar char="•"/>
            </a:pPr>
            <a:r>
              <a:rPr lang="en-US" sz="1000" dirty="0"/>
              <a:t>Office of Health Standards Compliance (OHSC): </a:t>
            </a:r>
            <a:r>
              <a:rPr lang="en-US" altLang="ja-JP" sz="1000" dirty="0"/>
              <a:t>NHI</a:t>
            </a:r>
            <a:r>
              <a:rPr lang="ja-JP" altLang="en-US" sz="1000" dirty="0"/>
              <a:t>の定める衛生基準の遵守確認機関</a:t>
            </a:r>
            <a:endParaRPr lang="en-US" sz="1000" dirty="0"/>
          </a:p>
          <a:p>
            <a:pPr marL="285750" indent="-285750">
              <a:buFont typeface="Arial" panose="020B0604020202020204" pitchFamily="34" charset="0"/>
              <a:buChar char="•"/>
            </a:pPr>
            <a:r>
              <a:rPr lang="en-US" sz="1000" dirty="0"/>
              <a:t>National Health Laboratory Services (NHLS)</a:t>
            </a:r>
            <a:endParaRPr lang="en-CA" sz="1000" dirty="0"/>
          </a:p>
        </p:txBody>
      </p:sp>
      <p:sp>
        <p:nvSpPr>
          <p:cNvPr id="26" name="TextBox 25">
            <a:extLst>
              <a:ext uri="{FF2B5EF4-FFF2-40B4-BE49-F238E27FC236}">
                <a16:creationId xmlns:a16="http://schemas.microsoft.com/office/drawing/2014/main" id="{916EFF43-A085-48E9-AE11-A9AB389BDEE4}"/>
              </a:ext>
            </a:extLst>
          </p:cNvPr>
          <p:cNvSpPr txBox="1"/>
          <p:nvPr/>
        </p:nvSpPr>
        <p:spPr>
          <a:xfrm>
            <a:off x="6393160" y="4750267"/>
            <a:ext cx="3672408" cy="1477328"/>
          </a:xfrm>
          <a:prstGeom prst="rect">
            <a:avLst/>
          </a:prstGeom>
          <a:noFill/>
        </p:spPr>
        <p:txBody>
          <a:bodyPr wrap="square">
            <a:spAutoFit/>
          </a:bodyPr>
          <a:lstStyle/>
          <a:p>
            <a:r>
              <a:rPr lang="ja-JP" altLang="en-US" sz="1000" b="1" dirty="0"/>
              <a:t>医療専門家の法定機関</a:t>
            </a:r>
          </a:p>
          <a:p>
            <a:endParaRPr lang="en-US" altLang="ja-JP" sz="1000" dirty="0"/>
          </a:p>
          <a:p>
            <a:pPr marL="285750" indent="-285750">
              <a:buFont typeface="Arial" panose="020B0604020202020204" pitchFamily="34" charset="0"/>
              <a:buChar char="•"/>
            </a:pPr>
            <a:r>
              <a:rPr lang="ja-JP" altLang="en-US" sz="1000" dirty="0"/>
              <a:t>保健専門家協議会（</a:t>
            </a:r>
            <a:r>
              <a:rPr lang="en-US" altLang="ja-JP" sz="1000" dirty="0"/>
              <a:t>HPCSA</a:t>
            </a:r>
            <a:r>
              <a:rPr lang="ja-JP" altLang="en-US" sz="1000" dirty="0"/>
              <a:t>）</a:t>
            </a:r>
            <a:endParaRPr lang="en-US" sz="1000" dirty="0"/>
          </a:p>
          <a:p>
            <a:pPr marL="285750" indent="-285750">
              <a:buFont typeface="Arial" panose="020B0604020202020204" pitchFamily="34" charset="0"/>
              <a:buChar char="•"/>
            </a:pPr>
            <a:r>
              <a:rPr lang="ja-JP" altLang="en-US" sz="1000" dirty="0"/>
              <a:t>看護評議会（</a:t>
            </a:r>
            <a:r>
              <a:rPr lang="en-US" sz="1000" dirty="0"/>
              <a:t>South African Nursing Council</a:t>
            </a:r>
            <a:r>
              <a:rPr lang="ja-JP" altLang="en-US" sz="1000" dirty="0"/>
              <a:t>）</a:t>
            </a:r>
            <a:endParaRPr lang="en-US" sz="1000" dirty="0"/>
          </a:p>
          <a:p>
            <a:pPr marL="285750" indent="-285750">
              <a:buFont typeface="Arial" panose="020B0604020202020204" pitchFamily="34" charset="0"/>
              <a:buChar char="•"/>
            </a:pPr>
            <a:r>
              <a:rPr lang="en-US" sz="1000" dirty="0"/>
              <a:t>South African Pharmacy Council</a:t>
            </a:r>
          </a:p>
          <a:p>
            <a:pPr marL="285750" indent="-285750">
              <a:buFont typeface="Arial" panose="020B0604020202020204" pitchFamily="34" charset="0"/>
              <a:buChar char="•"/>
            </a:pPr>
            <a:r>
              <a:rPr lang="en-US" sz="1000" dirty="0"/>
              <a:t>South African Dental Technicians Council</a:t>
            </a:r>
          </a:p>
          <a:p>
            <a:pPr marL="285750" indent="-285750">
              <a:buFont typeface="Arial" panose="020B0604020202020204" pitchFamily="34" charset="0"/>
              <a:buChar char="•"/>
            </a:pPr>
            <a:r>
              <a:rPr lang="en-US" sz="1000" dirty="0"/>
              <a:t>Allied Health Council of South Africa</a:t>
            </a:r>
          </a:p>
          <a:p>
            <a:pPr marL="285750" indent="-285750">
              <a:buFont typeface="Arial" panose="020B0604020202020204" pitchFamily="34" charset="0"/>
              <a:buChar char="•"/>
            </a:pPr>
            <a:r>
              <a:rPr lang="en-US" sz="1000" dirty="0"/>
              <a:t>Interim Traditional Health Council</a:t>
            </a:r>
          </a:p>
          <a:p>
            <a:pPr marL="285750" indent="-285750">
              <a:buFont typeface="Arial" panose="020B0604020202020204" pitchFamily="34" charset="0"/>
              <a:buChar char="•"/>
            </a:pPr>
            <a:r>
              <a:rPr lang="en-US" sz="1000" dirty="0"/>
              <a:t>National Health Research Ethics Council</a:t>
            </a:r>
            <a:endParaRPr lang="en-CA" sz="1000" dirty="0"/>
          </a:p>
        </p:txBody>
      </p:sp>
      <p:sp>
        <p:nvSpPr>
          <p:cNvPr id="28" name="TextBox 27">
            <a:extLst>
              <a:ext uri="{FF2B5EF4-FFF2-40B4-BE49-F238E27FC236}">
                <a16:creationId xmlns:a16="http://schemas.microsoft.com/office/drawing/2014/main" id="{1B49DA91-754E-4B95-A965-5F43923DC46A}"/>
              </a:ext>
            </a:extLst>
          </p:cNvPr>
          <p:cNvSpPr txBox="1"/>
          <p:nvPr/>
        </p:nvSpPr>
        <p:spPr>
          <a:xfrm>
            <a:off x="1136578" y="4750267"/>
            <a:ext cx="1728192" cy="707886"/>
          </a:xfrm>
          <a:prstGeom prst="rect">
            <a:avLst/>
          </a:prstGeom>
          <a:noFill/>
        </p:spPr>
        <p:txBody>
          <a:bodyPr wrap="square">
            <a:spAutoFit/>
          </a:bodyPr>
          <a:lstStyle/>
          <a:p>
            <a:r>
              <a:rPr lang="ja-JP" altLang="en-US" sz="1000" b="1" dirty="0"/>
              <a:t>州保健局</a:t>
            </a:r>
            <a:endParaRPr lang="en-US" altLang="ja-JP" sz="1000" b="1" dirty="0"/>
          </a:p>
          <a:p>
            <a:r>
              <a:rPr lang="ja-JP" altLang="en-US" sz="1000" dirty="0"/>
              <a:t>日々の医療サービスの提供と医療用品・機器の調達を担当</a:t>
            </a:r>
            <a:endParaRPr lang="en-CA" altLang="ja-JP" sz="1000" dirty="0"/>
          </a:p>
        </p:txBody>
      </p:sp>
      <p:sp>
        <p:nvSpPr>
          <p:cNvPr id="39" name="Arrow: Down 38">
            <a:extLst>
              <a:ext uri="{FF2B5EF4-FFF2-40B4-BE49-F238E27FC236}">
                <a16:creationId xmlns:a16="http://schemas.microsoft.com/office/drawing/2014/main" id="{F9E63DE0-8A93-414B-82FE-61A20148FDB0}"/>
              </a:ext>
            </a:extLst>
          </p:cNvPr>
          <p:cNvSpPr/>
          <p:nvPr/>
        </p:nvSpPr>
        <p:spPr>
          <a:xfrm flipV="1">
            <a:off x="1669226" y="424007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0" name="Arrow: Down 39">
            <a:extLst>
              <a:ext uri="{FF2B5EF4-FFF2-40B4-BE49-F238E27FC236}">
                <a16:creationId xmlns:a16="http://schemas.microsoft.com/office/drawing/2014/main" id="{8CBB126E-349F-41B6-921D-BC7D5893E8BE}"/>
              </a:ext>
            </a:extLst>
          </p:cNvPr>
          <p:cNvSpPr/>
          <p:nvPr/>
        </p:nvSpPr>
        <p:spPr>
          <a:xfrm flipV="1">
            <a:off x="4363092" y="426893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1" name="Arrow: Down 40">
            <a:extLst>
              <a:ext uri="{FF2B5EF4-FFF2-40B4-BE49-F238E27FC236}">
                <a16:creationId xmlns:a16="http://schemas.microsoft.com/office/drawing/2014/main" id="{C8A3DE41-2813-4377-877B-A3D7EE94BB53}"/>
              </a:ext>
            </a:extLst>
          </p:cNvPr>
          <p:cNvSpPr/>
          <p:nvPr/>
        </p:nvSpPr>
        <p:spPr>
          <a:xfrm flipV="1">
            <a:off x="7285013" y="4281861"/>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grpSp>
        <p:nvGrpSpPr>
          <p:cNvPr id="58" name="Group 57">
            <a:extLst>
              <a:ext uri="{FF2B5EF4-FFF2-40B4-BE49-F238E27FC236}">
                <a16:creationId xmlns:a16="http://schemas.microsoft.com/office/drawing/2014/main" id="{DFFA340E-C86D-4CEA-9BC1-E35F4776EF92}"/>
              </a:ext>
            </a:extLst>
          </p:cNvPr>
          <p:cNvGrpSpPr/>
          <p:nvPr/>
        </p:nvGrpSpPr>
        <p:grpSpPr>
          <a:xfrm>
            <a:off x="1360376" y="2484755"/>
            <a:ext cx="7245188" cy="1568866"/>
            <a:chOff x="516124" y="1068046"/>
            <a:chExt cx="8901372" cy="2432962"/>
          </a:xfrm>
        </p:grpSpPr>
        <p:pic>
          <p:nvPicPr>
            <p:cNvPr id="59" name="Picture 58">
              <a:extLst>
                <a:ext uri="{FF2B5EF4-FFF2-40B4-BE49-F238E27FC236}">
                  <a16:creationId xmlns:a16="http://schemas.microsoft.com/office/drawing/2014/main" id="{5E41F3D3-74EE-441D-B666-70824781186C}"/>
                </a:ext>
              </a:extLst>
            </p:cNvPr>
            <p:cNvPicPr>
              <a:picLocks noChangeAspect="1"/>
            </p:cNvPicPr>
            <p:nvPr/>
          </p:nvPicPr>
          <p:blipFill>
            <a:blip r:embed="rId5"/>
            <a:stretch>
              <a:fillRect/>
            </a:stretch>
          </p:blipFill>
          <p:spPr>
            <a:xfrm>
              <a:off x="668524" y="1544286"/>
              <a:ext cx="1944216" cy="703499"/>
            </a:xfrm>
            <a:prstGeom prst="rect">
              <a:avLst/>
            </a:prstGeom>
          </p:spPr>
        </p:pic>
        <p:sp>
          <p:nvSpPr>
            <p:cNvPr id="60" name="TextBox 59">
              <a:extLst>
                <a:ext uri="{FF2B5EF4-FFF2-40B4-BE49-F238E27FC236}">
                  <a16:creationId xmlns:a16="http://schemas.microsoft.com/office/drawing/2014/main" id="{C763284A-EF4B-469D-AF8C-9A89483CD441}"/>
                </a:ext>
              </a:extLst>
            </p:cNvPr>
            <p:cNvSpPr txBox="1"/>
            <p:nvPr/>
          </p:nvSpPr>
          <p:spPr>
            <a:xfrm>
              <a:off x="668525" y="1155381"/>
              <a:ext cx="3149555" cy="381834"/>
            </a:xfrm>
            <a:prstGeom prst="rect">
              <a:avLst/>
            </a:prstGeom>
            <a:noFill/>
          </p:spPr>
          <p:txBody>
            <a:bodyPr wrap="square">
              <a:spAutoFit/>
            </a:bodyPr>
            <a:lstStyle/>
            <a:p>
              <a:r>
                <a:rPr lang="ja-JP" altLang="en-US" sz="1000" b="1" dirty="0"/>
                <a:t>南アフリカ保健省</a:t>
              </a:r>
              <a:endParaRPr lang="en-US" altLang="ja-JP" sz="1000" b="1" dirty="0"/>
            </a:p>
          </p:txBody>
        </p:sp>
        <p:sp>
          <p:nvSpPr>
            <p:cNvPr id="61" name="Rectangle 60">
              <a:extLst>
                <a:ext uri="{FF2B5EF4-FFF2-40B4-BE49-F238E27FC236}">
                  <a16:creationId xmlns:a16="http://schemas.microsoft.com/office/drawing/2014/main" id="{8E6FBCA2-16D8-4686-9931-45E1C5C784A7}"/>
                </a:ext>
              </a:extLst>
            </p:cNvPr>
            <p:cNvSpPr/>
            <p:nvPr/>
          </p:nvSpPr>
          <p:spPr>
            <a:xfrm>
              <a:off x="8203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国民健康保険</a:t>
              </a:r>
              <a:r>
                <a:rPr kumimoji="1" lang="en-US" altLang="ja-JP" sz="900" dirty="0"/>
                <a:t>(NHI)</a:t>
              </a:r>
              <a:endParaRPr kumimoji="1" lang="en-US" sz="900" dirty="0"/>
            </a:p>
          </p:txBody>
        </p:sp>
        <p:sp>
          <p:nvSpPr>
            <p:cNvPr id="62" name="Rectangle 61">
              <a:extLst>
                <a:ext uri="{FF2B5EF4-FFF2-40B4-BE49-F238E27FC236}">
                  <a16:creationId xmlns:a16="http://schemas.microsoft.com/office/drawing/2014/main" id="{FF1BF4CF-2130-41B9-99E4-5F4C2C7783B3}"/>
                </a:ext>
              </a:extLst>
            </p:cNvPr>
            <p:cNvSpPr/>
            <p:nvPr/>
          </p:nvSpPr>
          <p:spPr>
            <a:xfrm>
              <a:off x="6508279" y="1340768"/>
              <a:ext cx="1559051" cy="320738"/>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コーポレートサービス</a:t>
              </a:r>
              <a:endParaRPr kumimoji="1" lang="en-US" sz="900" dirty="0"/>
            </a:p>
          </p:txBody>
        </p:sp>
        <p:sp>
          <p:nvSpPr>
            <p:cNvPr id="63" name="Rectangle 62">
              <a:extLst>
                <a:ext uri="{FF2B5EF4-FFF2-40B4-BE49-F238E27FC236}">
                  <a16:creationId xmlns:a16="http://schemas.microsoft.com/office/drawing/2014/main" id="{6DD76982-F253-4C88-B27E-51322566D8DD}"/>
                </a:ext>
              </a:extLst>
            </p:cNvPr>
            <p:cNvSpPr/>
            <p:nvPr/>
          </p:nvSpPr>
          <p:spPr>
            <a:xfrm>
              <a:off x="6510015" y="1752844"/>
              <a:ext cx="1557315" cy="304622"/>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en-US" sz="1000" dirty="0"/>
                <a:t>CFO</a:t>
              </a:r>
            </a:p>
          </p:txBody>
        </p:sp>
        <p:sp>
          <p:nvSpPr>
            <p:cNvPr id="64" name="Rectangle 63">
              <a:extLst>
                <a:ext uri="{FF2B5EF4-FFF2-40B4-BE49-F238E27FC236}">
                  <a16:creationId xmlns:a16="http://schemas.microsoft.com/office/drawing/2014/main" id="{4BAACCDB-F7EA-4815-9AB0-95A6043C6ED1}"/>
                </a:ext>
              </a:extLst>
            </p:cNvPr>
            <p:cNvSpPr/>
            <p:nvPr/>
          </p:nvSpPr>
          <p:spPr>
            <a:xfrm>
              <a:off x="24340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感染症・非感染症対策</a:t>
              </a:r>
              <a:endParaRPr kumimoji="1" lang="en-US" sz="900" dirty="0"/>
            </a:p>
          </p:txBody>
        </p:sp>
        <p:sp>
          <p:nvSpPr>
            <p:cNvPr id="65" name="Rectangle 64">
              <a:extLst>
                <a:ext uri="{FF2B5EF4-FFF2-40B4-BE49-F238E27FC236}">
                  <a16:creationId xmlns:a16="http://schemas.microsoft.com/office/drawing/2014/main" id="{A8AE6C3C-887A-4EE5-BED0-B420A75B55D6}"/>
                </a:ext>
              </a:extLst>
            </p:cNvPr>
            <p:cNvSpPr/>
            <p:nvPr/>
          </p:nvSpPr>
          <p:spPr>
            <a:xfrm>
              <a:off x="516124" y="1068046"/>
              <a:ext cx="8901372" cy="2432962"/>
            </a:xfrm>
            <a:prstGeom prst="rect">
              <a:avLst/>
            </a:prstGeom>
            <a:noFill/>
            <a:ln>
              <a:solidFill>
                <a:schemeClr val="tx1"/>
              </a:solidFill>
            </a:ln>
          </p:spPr>
          <p:txBody>
            <a:bodyPr wrap="square" rtlCol="0" anchor="ctr">
              <a:noAutofit/>
            </a:bodyPr>
            <a:lstStyle/>
            <a:p>
              <a:pPr marL="0" algn="ctr" fontAlgn="ctr">
                <a:lnSpc>
                  <a:spcPct val="114000"/>
                </a:lnSpc>
                <a:spcAft>
                  <a:spcPts val="400"/>
                </a:spcAft>
              </a:pPr>
              <a:endParaRPr kumimoji="1" lang="en-US" sz="1000" dirty="0"/>
            </a:p>
          </p:txBody>
        </p:sp>
        <p:sp>
          <p:nvSpPr>
            <p:cNvPr id="66" name="Rectangle 65">
              <a:extLst>
                <a:ext uri="{FF2B5EF4-FFF2-40B4-BE49-F238E27FC236}">
                  <a16:creationId xmlns:a16="http://schemas.microsoft.com/office/drawing/2014/main" id="{C67A6C9B-D5FE-46E6-8950-2046E28EA6E2}"/>
                </a:ext>
              </a:extLst>
            </p:cNvPr>
            <p:cNvSpPr/>
            <p:nvPr/>
          </p:nvSpPr>
          <p:spPr>
            <a:xfrm>
              <a:off x="4012972"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900" dirty="0"/>
                <a:t>プライマリー</a:t>
              </a:r>
            </a:p>
            <a:p>
              <a:pPr marL="0" algn="ctr" fontAlgn="ctr">
                <a:lnSpc>
                  <a:spcPct val="114000"/>
                </a:lnSpc>
                <a:spcAft>
                  <a:spcPts val="400"/>
                </a:spcAft>
              </a:pPr>
              <a:r>
                <a:rPr kumimoji="1" lang="ja-JP" altLang="en-US" sz="900" dirty="0"/>
                <a:t>ヘルスケア</a:t>
              </a:r>
              <a:endParaRPr kumimoji="1" lang="en-US" sz="900" dirty="0"/>
            </a:p>
          </p:txBody>
        </p:sp>
        <p:sp>
          <p:nvSpPr>
            <p:cNvPr id="67" name="Rectangle 66">
              <a:extLst>
                <a:ext uri="{FF2B5EF4-FFF2-40B4-BE49-F238E27FC236}">
                  <a16:creationId xmlns:a16="http://schemas.microsoft.com/office/drawing/2014/main" id="{65DC902F-D71A-49B0-BC2A-7EEC73CDA2D8}"/>
                </a:ext>
              </a:extLst>
            </p:cNvPr>
            <p:cNvSpPr/>
            <p:nvPr/>
          </p:nvSpPr>
          <p:spPr>
            <a:xfrm>
              <a:off x="5591896"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病院システム</a:t>
              </a:r>
              <a:endParaRPr kumimoji="1" lang="en-US" sz="900" dirty="0"/>
            </a:p>
          </p:txBody>
        </p:sp>
        <p:sp>
          <p:nvSpPr>
            <p:cNvPr id="68" name="Rectangle 67">
              <a:extLst>
                <a:ext uri="{FF2B5EF4-FFF2-40B4-BE49-F238E27FC236}">
                  <a16:creationId xmlns:a16="http://schemas.microsoft.com/office/drawing/2014/main" id="{7D6677EF-F168-4454-8D3C-6F1B05E58F44}"/>
                </a:ext>
              </a:extLst>
            </p:cNvPr>
            <p:cNvSpPr/>
            <p:nvPr/>
          </p:nvSpPr>
          <p:spPr>
            <a:xfrm>
              <a:off x="7170820"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ガバナンスおよびヘルスケア人材</a:t>
              </a:r>
              <a:endParaRPr kumimoji="1" lang="en-US" sz="900" dirty="0"/>
            </a:p>
          </p:txBody>
        </p:sp>
        <p:sp>
          <p:nvSpPr>
            <p:cNvPr id="69" name="Rectangle 68">
              <a:extLst>
                <a:ext uri="{FF2B5EF4-FFF2-40B4-BE49-F238E27FC236}">
                  <a16:creationId xmlns:a16="http://schemas.microsoft.com/office/drawing/2014/main" id="{91E567B9-ACAB-4D41-B2F8-8BAE53EC3666}"/>
                </a:ext>
              </a:extLst>
            </p:cNvPr>
            <p:cNvSpPr/>
            <p:nvPr/>
          </p:nvSpPr>
          <p:spPr>
            <a:xfrm>
              <a:off x="3574514" y="122017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1000" dirty="0"/>
                <a:t>大臣</a:t>
              </a:r>
              <a:endParaRPr kumimoji="1" lang="en-US" sz="1000" dirty="0"/>
            </a:p>
          </p:txBody>
        </p:sp>
        <p:sp>
          <p:nvSpPr>
            <p:cNvPr id="70" name="Rectangle 69">
              <a:extLst>
                <a:ext uri="{FF2B5EF4-FFF2-40B4-BE49-F238E27FC236}">
                  <a16:creationId xmlns:a16="http://schemas.microsoft.com/office/drawing/2014/main" id="{D1E23CAF-8F62-4728-AD58-49A267B2C127}"/>
                </a:ext>
              </a:extLst>
            </p:cNvPr>
            <p:cNvSpPr/>
            <p:nvPr/>
          </p:nvSpPr>
          <p:spPr>
            <a:xfrm>
              <a:off x="3574514" y="1605093"/>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副大臣</a:t>
              </a:r>
              <a:endParaRPr kumimoji="1" lang="en-US" sz="1000" dirty="0"/>
            </a:p>
          </p:txBody>
        </p:sp>
        <p:cxnSp>
          <p:nvCxnSpPr>
            <p:cNvPr id="71" name="Straight Connector 70">
              <a:extLst>
                <a:ext uri="{FF2B5EF4-FFF2-40B4-BE49-F238E27FC236}">
                  <a16:creationId xmlns:a16="http://schemas.microsoft.com/office/drawing/2014/main" id="{EE4C578A-AB70-4EA9-844A-3CF2E111ED40}"/>
                </a:ext>
              </a:extLst>
            </p:cNvPr>
            <p:cNvCxnSpPr>
              <a:stCxn id="69" idx="2"/>
              <a:endCxn id="70" idx="0"/>
            </p:cNvCxnSpPr>
            <p:nvPr/>
          </p:nvCxnSpPr>
          <p:spPr>
            <a:xfrm>
              <a:off x="4285991" y="1438040"/>
              <a:ext cx="0" cy="1670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9376ECDB-311B-4EB9-831D-D925702FA553}"/>
                </a:ext>
              </a:extLst>
            </p:cNvPr>
            <p:cNvCxnSpPr>
              <a:cxnSpLocks/>
              <a:stCxn id="70" idx="2"/>
              <a:endCxn id="66" idx="0"/>
            </p:cNvCxnSpPr>
            <p:nvPr/>
          </p:nvCxnSpPr>
          <p:spPr>
            <a:xfrm rot="16200000" flipH="1">
              <a:off x="4031571" y="2077383"/>
              <a:ext cx="947299" cy="43845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6464CE29-4BCE-498C-AF88-69787F077613}"/>
                </a:ext>
              </a:extLst>
            </p:cNvPr>
            <p:cNvCxnSpPr>
              <a:cxnSpLocks/>
              <a:stCxn id="70" idx="2"/>
              <a:endCxn id="61" idx="0"/>
            </p:cNvCxnSpPr>
            <p:nvPr/>
          </p:nvCxnSpPr>
          <p:spPr>
            <a:xfrm rot="5400000">
              <a:off x="2435259" y="919529"/>
              <a:ext cx="947299" cy="275416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62C1396-4EB9-46F5-B4CE-E1A0DE33D586}"/>
                </a:ext>
              </a:extLst>
            </p:cNvPr>
            <p:cNvCxnSpPr>
              <a:cxnSpLocks/>
              <a:stCxn id="70" idx="2"/>
              <a:endCxn id="64" idx="0"/>
            </p:cNvCxnSpPr>
            <p:nvPr/>
          </p:nvCxnSpPr>
          <p:spPr>
            <a:xfrm rot="5400000">
              <a:off x="3242109" y="1726379"/>
              <a:ext cx="947299" cy="1140466"/>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E9C568-F228-4230-8F45-CBB47E655C10}"/>
                </a:ext>
              </a:extLst>
            </p:cNvPr>
            <p:cNvSpPr/>
            <p:nvPr/>
          </p:nvSpPr>
          <p:spPr>
            <a:xfrm>
              <a:off x="3574514" y="195052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事務局長</a:t>
              </a:r>
              <a:endParaRPr kumimoji="1" lang="en-US" sz="1000" dirty="0"/>
            </a:p>
          </p:txBody>
        </p:sp>
        <p:cxnSp>
          <p:nvCxnSpPr>
            <p:cNvPr id="76" name="Connector: Elbow 75">
              <a:extLst>
                <a:ext uri="{FF2B5EF4-FFF2-40B4-BE49-F238E27FC236}">
                  <a16:creationId xmlns:a16="http://schemas.microsoft.com/office/drawing/2014/main" id="{74ABCC61-5517-4348-8A06-DA5E95D3B9BA}"/>
                </a:ext>
              </a:extLst>
            </p:cNvPr>
            <p:cNvCxnSpPr>
              <a:cxnSpLocks/>
              <a:stCxn id="75" idx="2"/>
              <a:endCxn id="62" idx="1"/>
            </p:cNvCxnSpPr>
            <p:nvPr/>
          </p:nvCxnSpPr>
          <p:spPr>
            <a:xfrm rot="5400000" flipH="1" flipV="1">
              <a:off x="5063508" y="723620"/>
              <a:ext cx="667253" cy="2222288"/>
            </a:xfrm>
            <a:prstGeom prst="bentConnector4">
              <a:avLst>
                <a:gd name="adj1" fmla="val -19033"/>
                <a:gd name="adj2" fmla="val 66008"/>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0F8A9289-6342-464A-A517-42C28E96DE1B}"/>
                </a:ext>
              </a:extLst>
            </p:cNvPr>
            <p:cNvCxnSpPr>
              <a:cxnSpLocks/>
              <a:stCxn id="75" idx="2"/>
              <a:endCxn id="63" idx="1"/>
            </p:cNvCxnSpPr>
            <p:nvPr/>
          </p:nvCxnSpPr>
          <p:spPr>
            <a:xfrm rot="5400000" flipH="1" flipV="1">
              <a:off x="5266385" y="924761"/>
              <a:ext cx="263235" cy="2224024"/>
            </a:xfrm>
            <a:prstGeom prst="bentConnector4">
              <a:avLst>
                <a:gd name="adj1" fmla="val -48246"/>
                <a:gd name="adj2" fmla="val 6599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23663CBD-F7DC-49EE-8AC6-8F2FD2BE37AA}"/>
                </a:ext>
              </a:extLst>
            </p:cNvPr>
            <p:cNvCxnSpPr>
              <a:cxnSpLocks/>
              <a:stCxn id="75" idx="2"/>
              <a:endCxn id="67" idx="0"/>
            </p:cNvCxnSpPr>
            <p:nvPr/>
          </p:nvCxnSpPr>
          <p:spPr>
            <a:xfrm rot="16200000" flipH="1">
              <a:off x="4993746" y="1460635"/>
              <a:ext cx="601872" cy="2017382"/>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D332642E-0E98-4ED8-A442-40BBFE2B2BD8}"/>
                </a:ext>
              </a:extLst>
            </p:cNvPr>
            <p:cNvCxnSpPr>
              <a:cxnSpLocks/>
              <a:stCxn id="75" idx="2"/>
              <a:endCxn id="68" idx="0"/>
            </p:cNvCxnSpPr>
            <p:nvPr/>
          </p:nvCxnSpPr>
          <p:spPr>
            <a:xfrm rot="16200000" flipH="1">
              <a:off x="5783208" y="671173"/>
              <a:ext cx="601872" cy="3596306"/>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3924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676BF540-8514-45A4-A78A-361677170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療機器に対する規制</a:t>
            </a:r>
          </a:p>
        </p:txBody>
      </p:sp>
      <p:sp>
        <p:nvSpPr>
          <p:cNvPr id="34" name="テキスト ボックス 33"/>
          <p:cNvSpPr txBox="1"/>
          <p:nvPr/>
        </p:nvSpPr>
        <p:spPr>
          <a:xfrm>
            <a:off x="412366" y="6563823"/>
            <a:ext cx="8640960" cy="144016"/>
          </a:xfrm>
          <a:prstGeom prst="rect">
            <a:avLst/>
          </a:prstGeom>
          <a:noFill/>
        </p:spPr>
        <p:txBody>
          <a:bodyPr wrap="square" lIns="0" tIns="0" rIns="0" bIns="0" rtlCol="0">
            <a:noAutofit/>
          </a:bodyPr>
          <a:lstStyle/>
          <a:p>
            <a:pPr marL="444500" lvl="0" indent="-444500"/>
            <a:r>
              <a:rPr kumimoji="0" lang="ja-JP" altLang="en-US" sz="800" dirty="0" bmk=""/>
              <a:t>（出所）医療製品規制庁</a:t>
            </a:r>
            <a:r>
              <a:rPr kumimoji="0" lang="en-US" altLang="ja-JP" sz="800" dirty="0" bmk=""/>
              <a:t>(SAHPRA)</a:t>
            </a:r>
            <a:r>
              <a:rPr kumimoji="0" lang="ja-JP" altLang="en-US" sz="800" dirty="0" bmk=""/>
              <a:t>ホームページ、</a:t>
            </a:r>
            <a:r>
              <a:rPr kumimoji="0" lang="en-US" altLang="ja-JP" sz="800" dirty="0" bmk=""/>
              <a:t>JETRO</a:t>
            </a:r>
            <a:r>
              <a:rPr kumimoji="0" lang="ja-JP" altLang="en-US" sz="800" dirty="0" bmk=""/>
              <a:t>ホームページ</a:t>
            </a:r>
          </a:p>
        </p:txBody>
      </p:sp>
      <p:sp>
        <p:nvSpPr>
          <p:cNvPr id="9" name="テキスト ボックス 24">
            <a:extLst>
              <a:ext uri="{FF2B5EF4-FFF2-40B4-BE49-F238E27FC236}">
                <a16:creationId xmlns:a16="http://schemas.microsoft.com/office/drawing/2014/main" id="{8A21BA26-C590-472A-BB55-B70A477CCC6C}"/>
              </a:ext>
            </a:extLst>
          </p:cNvPr>
          <p:cNvSpPr txBox="1"/>
          <p:nvPr/>
        </p:nvSpPr>
        <p:spPr>
          <a:xfrm>
            <a:off x="236208" y="1124744"/>
            <a:ext cx="9331835"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医療機器についての規制・監督は医療製品規制庁</a:t>
            </a:r>
            <a:r>
              <a:rPr lang="en-US" altLang="ja-JP" sz="1400" dirty="0">
                <a:latin typeface="+mj-ea"/>
                <a:ea typeface="+mj-ea"/>
                <a:cs typeface="Arial" panose="020B0604020202020204" pitchFamily="34" charset="0"/>
              </a:rPr>
              <a:t>(SAHPRA)</a:t>
            </a:r>
            <a:r>
              <a:rPr lang="ja-JP" altLang="en-US" sz="1400" dirty="0">
                <a:latin typeface="+mj-ea"/>
                <a:ea typeface="+mj-ea"/>
                <a:cs typeface="Arial" panose="020B0604020202020204" pitchFamily="34" charset="0"/>
              </a:rPr>
              <a:t>の</a:t>
            </a:r>
            <a:r>
              <a:rPr lang="en-US" altLang="ja-JP" sz="1400" dirty="0">
                <a:latin typeface="+mj-ea"/>
                <a:ea typeface="+mj-ea"/>
                <a:cs typeface="Arial" panose="020B0604020202020204" pitchFamily="34" charset="0"/>
              </a:rPr>
              <a:t>Medical Devices Unit</a:t>
            </a:r>
            <a:r>
              <a:rPr lang="ja-JP" altLang="en-US" sz="1400" dirty="0">
                <a:latin typeface="+mj-ea"/>
                <a:ea typeface="+mj-ea"/>
                <a:cs typeface="Arial" panose="020B0604020202020204" pitchFamily="34" charset="0"/>
              </a:rPr>
              <a:t>が管轄している。</a:t>
            </a:r>
            <a:endParaRPr lang="en-US" altLang="ja-JP" sz="1400" dirty="0">
              <a:latin typeface="+mj-ea"/>
              <a:ea typeface="+mj-ea"/>
              <a:cs typeface="Arial" panose="020B0604020202020204" pitchFamily="34" charset="0"/>
            </a:endParaRP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36208" y="1694276"/>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dirty="0">
                <a:latin typeface="+mj-ea"/>
                <a:ea typeface="+mj-ea"/>
              </a:rPr>
              <a:t>事業許可</a:t>
            </a:r>
            <a:endParaRPr kumimoji="1" lang="en-US" dirty="0">
              <a:latin typeface="+mj-ea"/>
              <a:ea typeface="+mj-ea"/>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36208" y="4022018"/>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latin typeface="+mj-ea"/>
                <a:ea typeface="+mj-ea"/>
              </a:rPr>
              <a:t>製品登録</a:t>
            </a:r>
            <a:endParaRPr kumimoji="1" lang="en-US" dirty="0">
              <a:latin typeface="+mj-ea"/>
              <a:ea typeface="+mj-ea"/>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2288704" y="1694276"/>
            <a:ext cx="6984776" cy="184665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療機器に関わる企業は、手がける事業によって下記のいずれかの免許を</a:t>
            </a:r>
            <a:r>
              <a:rPr lang="en-US" altLang="ja-JP" sz="1200" dirty="0">
                <a:latin typeface="+mj-ea"/>
                <a:ea typeface="+mj-ea"/>
              </a:rPr>
              <a:t>SAHPRA</a:t>
            </a:r>
            <a:r>
              <a:rPr lang="ja-JP" altLang="en-US" sz="1200" dirty="0">
                <a:latin typeface="+mj-ea"/>
                <a:ea typeface="+mj-ea"/>
              </a:rPr>
              <a:t>より取得する必要がある。ただし、後述の</a:t>
            </a:r>
            <a:r>
              <a:rPr lang="en-US" altLang="ja-JP" sz="1200" dirty="0">
                <a:latin typeface="+mj-ea"/>
                <a:ea typeface="+mj-ea"/>
              </a:rPr>
              <a:t>Class</a:t>
            </a:r>
            <a:r>
              <a:rPr lang="ja-JP" altLang="en-US" sz="1200" dirty="0">
                <a:latin typeface="+mj-ea"/>
                <a:ea typeface="+mj-ea"/>
              </a:rPr>
              <a:t> </a:t>
            </a:r>
            <a:r>
              <a:rPr lang="en-US" altLang="ja-JP" sz="1200" dirty="0">
                <a:latin typeface="+mj-ea"/>
                <a:ea typeface="+mj-ea"/>
              </a:rPr>
              <a:t>A</a:t>
            </a:r>
            <a:r>
              <a:rPr lang="ja-JP" altLang="en-US" sz="1200" dirty="0">
                <a:latin typeface="+mj-ea"/>
                <a:ea typeface="+mj-ea"/>
              </a:rPr>
              <a:t>の製品のみを扱う企業は免許を必要としない。</a:t>
            </a:r>
            <a:endParaRPr lang="en-US" altLang="ja-JP" sz="1200" dirty="0">
              <a:latin typeface="+mj-ea"/>
              <a:ea typeface="+mj-ea"/>
            </a:endParaRPr>
          </a:p>
          <a:p>
            <a:pPr marL="377825" lvl="1" indent="0">
              <a:buNone/>
            </a:pPr>
            <a:r>
              <a:rPr lang="ja-JP" altLang="en-US" sz="1200" dirty="0">
                <a:latin typeface="+mj-ea"/>
                <a:ea typeface="+mj-ea"/>
              </a:rPr>
              <a:t>メーカー（生産、包装、ラベリング、サービス、輸出入）</a:t>
            </a:r>
          </a:p>
          <a:p>
            <a:pPr marL="377825" lvl="1" indent="0">
              <a:buNone/>
            </a:pPr>
            <a:r>
              <a:rPr lang="ja-JP" altLang="en-US" sz="1200" dirty="0">
                <a:latin typeface="+mj-ea"/>
                <a:ea typeface="+mj-ea"/>
              </a:rPr>
              <a:t>流通業者（輸出入、国内流通）</a:t>
            </a:r>
          </a:p>
          <a:p>
            <a:pPr marL="377825" lvl="1" indent="0">
              <a:buNone/>
            </a:pPr>
            <a:r>
              <a:rPr lang="ja-JP" altLang="en-US" sz="1200" dirty="0">
                <a:latin typeface="+mj-ea"/>
                <a:ea typeface="+mj-ea"/>
              </a:rPr>
              <a:t>卸売業者（保管、輸送、配達）</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医療機器に関わる事業許可を得るためには、事業所ごとに最低</a:t>
            </a:r>
            <a:r>
              <a:rPr lang="en-US" altLang="ja-JP" sz="1200" dirty="0">
                <a:latin typeface="+mj-ea"/>
                <a:ea typeface="+mj-ea"/>
              </a:rPr>
              <a:t>1</a:t>
            </a:r>
            <a:r>
              <a:rPr lang="ja-JP" altLang="en-US" sz="1200" dirty="0">
                <a:latin typeface="+mj-ea"/>
                <a:ea typeface="+mj-ea"/>
              </a:rPr>
              <a:t>人の代表者を任命する必要がある。</a:t>
            </a:r>
          </a:p>
          <a:p>
            <a:pPr>
              <a:buFont typeface="Arial" panose="020B0604020202020204" pitchFamily="34" charset="0"/>
              <a:buChar char="•"/>
            </a:pPr>
            <a:r>
              <a:rPr lang="ja-JP" altLang="en-US" sz="1200" dirty="0">
                <a:latin typeface="+mj-ea"/>
                <a:ea typeface="+mj-ea"/>
              </a:rPr>
              <a:t>免許申請にあたっては社内の品質管理システムについての届け出および</a:t>
            </a:r>
            <a:r>
              <a:rPr lang="en-US" altLang="ja-JP" sz="1200" dirty="0">
                <a:latin typeface="+mj-ea"/>
                <a:ea typeface="+mj-ea"/>
              </a:rPr>
              <a:t>ISO13485</a:t>
            </a:r>
            <a:r>
              <a:rPr lang="ja-JP" altLang="en-US" sz="1200" dirty="0">
                <a:latin typeface="+mj-ea"/>
                <a:ea typeface="+mj-ea"/>
              </a:rPr>
              <a:t>の取得が求められる（現在猶予期間が設けられており、申請後</a:t>
            </a:r>
            <a:r>
              <a:rPr lang="en-US" altLang="ja-JP" sz="1200" dirty="0">
                <a:latin typeface="+mj-ea"/>
                <a:ea typeface="+mj-ea"/>
              </a:rPr>
              <a:t>3</a:t>
            </a:r>
            <a:r>
              <a:rPr lang="ja-JP" altLang="en-US" sz="1200" dirty="0">
                <a:latin typeface="+mj-ea"/>
                <a:ea typeface="+mj-ea"/>
              </a:rPr>
              <a:t>年以内に取得すればよい）。</a:t>
            </a:r>
            <a:endParaRPr lang="en-US" altLang="ja-JP" sz="1200" dirty="0">
              <a:latin typeface="+mj-ea"/>
              <a:ea typeface="+mj-ea"/>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2288704" y="4022018"/>
            <a:ext cx="7128792" cy="155119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薬品および関連物質法（</a:t>
            </a:r>
            <a:r>
              <a:rPr lang="en-US" altLang="ja-JP" sz="1200" dirty="0">
                <a:latin typeface="+mj-ea"/>
                <a:ea typeface="+mj-ea"/>
              </a:rPr>
              <a:t>1965</a:t>
            </a:r>
            <a:r>
              <a:rPr lang="ja-JP" altLang="en-US" sz="1200" dirty="0">
                <a:latin typeface="+mj-ea"/>
                <a:ea typeface="+mj-ea"/>
              </a:rPr>
              <a:t>年、</a:t>
            </a:r>
            <a:r>
              <a:rPr lang="en-US" altLang="ja-JP" sz="1200" dirty="0">
                <a:latin typeface="+mj-ea"/>
                <a:ea typeface="+mj-ea"/>
              </a:rPr>
              <a:t>2015</a:t>
            </a:r>
            <a:r>
              <a:rPr lang="ja-JP" altLang="en-US" sz="1200" dirty="0">
                <a:latin typeface="+mj-ea"/>
                <a:ea typeface="+mj-ea"/>
              </a:rPr>
              <a:t>年改正）に基づき、医療機器は生産・輸入前に登録することが義務付けられている。</a:t>
            </a:r>
          </a:p>
          <a:p>
            <a:pPr>
              <a:buFont typeface="Arial" panose="020B0604020202020204" pitchFamily="34" charset="0"/>
              <a:buChar char="•"/>
            </a:pPr>
            <a:r>
              <a:rPr lang="ja-JP" altLang="en-US" sz="1200" dirty="0">
                <a:latin typeface="+mj-ea"/>
                <a:ea typeface="+mj-ea"/>
              </a:rPr>
              <a:t>医療機器は使用時のリスクにより、低リスクな</a:t>
            </a:r>
            <a:r>
              <a:rPr lang="en-US" altLang="ja-JP" sz="1200" dirty="0">
                <a:latin typeface="+mj-ea"/>
                <a:ea typeface="+mj-ea"/>
              </a:rPr>
              <a:t>Class A</a:t>
            </a:r>
            <a:r>
              <a:rPr lang="ja-JP" altLang="en-US" sz="1200" dirty="0">
                <a:latin typeface="+mj-ea"/>
                <a:ea typeface="+mj-ea"/>
              </a:rPr>
              <a:t>から患者自身へのリスクもありうる</a:t>
            </a:r>
            <a:r>
              <a:rPr lang="en-US" altLang="ja-JP" sz="1200" dirty="0">
                <a:latin typeface="+mj-ea"/>
                <a:ea typeface="+mj-ea"/>
              </a:rPr>
              <a:t>Class D</a:t>
            </a:r>
            <a:r>
              <a:rPr lang="ja-JP" altLang="en-US" sz="1200" dirty="0">
                <a:latin typeface="+mj-ea"/>
                <a:ea typeface="+mj-ea"/>
              </a:rPr>
              <a:t>までに分類される。例：患者には原則として触れないもしくは肌に接触するだけのものは</a:t>
            </a:r>
            <a:r>
              <a:rPr lang="en-US" altLang="ja-JP" sz="1200" dirty="0">
                <a:latin typeface="+mj-ea"/>
                <a:ea typeface="+mj-ea"/>
              </a:rPr>
              <a:t>Class A</a:t>
            </a:r>
            <a:r>
              <a:rPr lang="ja-JP" altLang="en-US" sz="1200" dirty="0">
                <a:latin typeface="+mj-ea"/>
                <a:ea typeface="+mj-ea"/>
              </a:rPr>
              <a:t>、血液パックは</a:t>
            </a:r>
            <a:r>
              <a:rPr lang="en-US" altLang="ja-JP" sz="1200" dirty="0">
                <a:latin typeface="+mj-ea"/>
                <a:ea typeface="+mj-ea"/>
              </a:rPr>
              <a:t>Class C</a:t>
            </a:r>
            <a:r>
              <a:rPr lang="ja-JP" altLang="en-US" sz="1200" dirty="0">
                <a:latin typeface="+mj-ea"/>
                <a:ea typeface="+mj-ea"/>
              </a:rPr>
              <a:t>、医薬品を含むものは</a:t>
            </a:r>
            <a:r>
              <a:rPr lang="en-US" altLang="ja-JP" sz="1200" dirty="0">
                <a:latin typeface="+mj-ea"/>
                <a:ea typeface="+mj-ea"/>
              </a:rPr>
              <a:t>Class D</a:t>
            </a:r>
          </a:p>
          <a:p>
            <a:pPr>
              <a:buFont typeface="Arial" panose="020B0604020202020204" pitchFamily="34" charset="0"/>
              <a:buChar char="•"/>
            </a:pPr>
            <a:r>
              <a:rPr lang="ja-JP" altLang="en-US" sz="1200" dirty="0">
                <a:latin typeface="+mj-ea"/>
                <a:ea typeface="+mj-ea"/>
              </a:rPr>
              <a:t>日本などから輸入される医療機器についてはレギュラトリーリライアンスが適用されている。</a:t>
            </a:r>
            <a:endParaRPr lang="ja-JP" altLang="en-US" sz="1200" dirty="0">
              <a:solidFill>
                <a:srgbClr val="FF0000"/>
              </a:solidFill>
              <a:latin typeface="+mj-ea"/>
              <a:ea typeface="+mj-ea"/>
            </a:endParaRPr>
          </a:p>
          <a:p>
            <a:pPr>
              <a:buFont typeface="Arial" panose="020B0604020202020204" pitchFamily="34" charset="0"/>
              <a:buChar char="•"/>
            </a:pPr>
            <a:endParaRPr lang="en-US" altLang="ja-JP" sz="1200" dirty="0">
              <a:latin typeface="+mj-ea"/>
              <a:ea typeface="+mj-ea"/>
            </a:endParaRPr>
          </a:p>
        </p:txBody>
      </p:sp>
    </p:spTree>
    <p:extLst>
      <p:ext uri="{BB962C8B-B14F-4D97-AF65-F5344CB8AC3E}">
        <p14:creationId xmlns:p14="http://schemas.microsoft.com/office/powerpoint/2010/main" val="1334012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121941">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51395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276266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351969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422713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247681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590160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8062245"/>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8158982"/>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05699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006782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165983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549192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6932539"/>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27865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01004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764839"/>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0386206"/>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21370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9745207"/>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99360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429990768"/>
              </p:ext>
            </p:extLst>
          </p:nvPr>
        </p:nvGraphicFramePr>
        <p:xfrm>
          <a:off x="5205528" y="1152000"/>
          <a:ext cx="4500000" cy="477698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algn="l" defTabSz="914400" rtl="0" eaLnBrk="1" latinLnBrk="0" hangingPunct="1">
                        <a:lnSpc>
                          <a:spcPct val="90000"/>
                        </a:lnSpc>
                      </a:pPr>
                      <a:r>
                        <a:rPr kumimoji="1" lang="ja-JP" altLang="en-US" sz="1050" kern="1200" dirty="0">
                          <a:solidFill>
                            <a:schemeClr val="tx1"/>
                          </a:solidFill>
                          <a:latin typeface="+mn-lt"/>
                          <a:ea typeface="+mj-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69454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51477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89236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520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31092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9799865"/>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93472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南アフリカの医療課題に対処するための主要政策と</a:t>
                      </a:r>
                      <a:endParaRPr lang="en-US" altLang="ja-JP" sz="1050" dirty="0"/>
                    </a:p>
                    <a:p>
                      <a:pPr>
                        <a:lnSpc>
                          <a:spcPct val="90000"/>
                        </a:lnSpc>
                      </a:pPr>
                      <a:r>
                        <a:rPr lang="ja-JP" altLang="en-US" sz="1050" dirty="0"/>
                        <a:t>プログラムのリスト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44895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南アフリカ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99226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508432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49916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1116388"/>
                  </a:ext>
                </a:extLst>
              </a:tr>
            </a:tbl>
          </a:graphicData>
        </a:graphic>
      </p:graphicFrame>
      <p:cxnSp>
        <p:nvCxnSpPr>
          <p:cNvPr id="8" name="Straight Connector 7">
            <a:extLst>
              <a:ext uri="{FF2B5EF4-FFF2-40B4-BE49-F238E27FC236}">
                <a16:creationId xmlns:a16="http://schemas.microsoft.com/office/drawing/2014/main" id="{C15A6B08-CA1C-4DC6-A404-793F16AC4A1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58965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薬品に対する規制</a:t>
            </a:r>
          </a:p>
        </p:txBody>
      </p:sp>
      <p:sp>
        <p:nvSpPr>
          <p:cNvPr id="34" name="テキスト ボックス 33"/>
          <p:cNvSpPr txBox="1"/>
          <p:nvPr/>
        </p:nvSpPr>
        <p:spPr>
          <a:xfrm>
            <a:off x="416496" y="671067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医療製品規制庁（</a:t>
            </a:r>
            <a:r>
              <a:rPr kumimoji="0" lang="en-US" altLang="ja-JP" sz="800" dirty="0" bmk=""/>
              <a:t>SAHPRA</a:t>
            </a:r>
            <a:r>
              <a:rPr kumimoji="0" lang="ja-JP" altLang="en-US" sz="800" dirty="0" bmk=""/>
              <a:t>）ホームページ</a:t>
            </a:r>
          </a:p>
        </p:txBody>
      </p:sp>
      <p:sp>
        <p:nvSpPr>
          <p:cNvPr id="20" name="Rectangle: Rounded Corners 19">
            <a:extLst>
              <a:ext uri="{FF2B5EF4-FFF2-40B4-BE49-F238E27FC236}">
                <a16:creationId xmlns:a16="http://schemas.microsoft.com/office/drawing/2014/main" id="{282634AE-C827-4EA1-B979-40A9003E0F7B}"/>
              </a:ext>
            </a:extLst>
          </p:cNvPr>
          <p:cNvSpPr/>
          <p:nvPr/>
        </p:nvSpPr>
        <p:spPr>
          <a:xfrm>
            <a:off x="236208" y="2067404"/>
            <a:ext cx="1872208" cy="647992"/>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dirty="0">
                <a:latin typeface="+mn-ea"/>
              </a:rPr>
              <a:t>事業許可</a:t>
            </a:r>
            <a:endParaRPr lang="en-US" dirty="0">
              <a:latin typeface="+mn-ea"/>
            </a:endParaRPr>
          </a:p>
        </p:txBody>
      </p:sp>
      <p:sp>
        <p:nvSpPr>
          <p:cNvPr id="21" name="Rectangle: Rounded Corners 20">
            <a:extLst>
              <a:ext uri="{FF2B5EF4-FFF2-40B4-BE49-F238E27FC236}">
                <a16:creationId xmlns:a16="http://schemas.microsoft.com/office/drawing/2014/main" id="{22062BE3-0A7C-48D2-BEED-0AACB29B0F02}"/>
              </a:ext>
            </a:extLst>
          </p:cNvPr>
          <p:cNvSpPr/>
          <p:nvPr/>
        </p:nvSpPr>
        <p:spPr>
          <a:xfrm>
            <a:off x="236208" y="3779222"/>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latin typeface="+mn-ea"/>
              </a:rPr>
              <a:t>製品</a:t>
            </a:r>
            <a:r>
              <a:rPr lang="ja-JP" altLang="en-US" dirty="0">
                <a:latin typeface="+mn-ea"/>
              </a:rPr>
              <a:t>許可</a:t>
            </a:r>
            <a:endParaRPr kumimoji="1" lang="en-US" dirty="0">
              <a:latin typeface="+mn-ea"/>
            </a:endParaRPr>
          </a:p>
        </p:txBody>
      </p:sp>
      <p:sp>
        <p:nvSpPr>
          <p:cNvPr id="23" name="TextBox 22">
            <a:extLst>
              <a:ext uri="{FF2B5EF4-FFF2-40B4-BE49-F238E27FC236}">
                <a16:creationId xmlns:a16="http://schemas.microsoft.com/office/drawing/2014/main" id="{83CF1C78-35B7-47A7-AD57-2D6C3E5E91E8}"/>
              </a:ext>
            </a:extLst>
          </p:cNvPr>
          <p:cNvSpPr txBox="1">
            <a:spLocks/>
          </p:cNvSpPr>
          <p:nvPr/>
        </p:nvSpPr>
        <p:spPr>
          <a:xfrm>
            <a:off x="2288704" y="3779222"/>
            <a:ext cx="7128792" cy="1680460"/>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新薬の申請は、</a:t>
            </a:r>
            <a:r>
              <a:rPr lang="en-US" altLang="ja-JP" sz="1200" dirty="0">
                <a:latin typeface="+mj-ea"/>
                <a:ea typeface="+mj-ea"/>
              </a:rPr>
              <a:t>eCTD</a:t>
            </a:r>
            <a:r>
              <a:rPr lang="ja-JP" altLang="en-US" sz="1200" dirty="0">
                <a:latin typeface="+mj-ea"/>
                <a:ea typeface="+mj-ea"/>
              </a:rPr>
              <a:t>または</a:t>
            </a:r>
            <a:r>
              <a:rPr lang="en-US" altLang="ja-JP" sz="1200" dirty="0" err="1">
                <a:latin typeface="+mj-ea"/>
                <a:ea typeface="+mj-ea"/>
              </a:rPr>
              <a:t>eSubmission</a:t>
            </a:r>
            <a:r>
              <a:rPr lang="ja-JP" altLang="en-US" sz="1200" dirty="0">
                <a:latin typeface="+mj-ea"/>
                <a:ea typeface="+mj-ea"/>
              </a:rPr>
              <a:t>フォーマットで提出する必要がある。この際、申請書に関連する全ての製造・品質管理拠点は、申請書の提出前に</a:t>
            </a:r>
            <a:r>
              <a:rPr lang="en-US" altLang="ja-JP" sz="1200" dirty="0">
                <a:latin typeface="+mj-ea"/>
                <a:ea typeface="+mj-ea"/>
              </a:rPr>
              <a:t>GMP</a:t>
            </a:r>
            <a:r>
              <a:rPr lang="ja-JP" altLang="en-US" sz="1200" dirty="0">
                <a:latin typeface="+mj-ea"/>
                <a:ea typeface="+mj-ea"/>
              </a:rPr>
              <a:t>に適合していることが必要であり、その証拠として、</a:t>
            </a:r>
            <a:r>
              <a:rPr lang="en-US" altLang="ja-JP" sz="1200" dirty="0">
                <a:latin typeface="+mj-ea"/>
                <a:ea typeface="+mj-ea"/>
              </a:rPr>
              <a:t>GMP</a:t>
            </a:r>
            <a:r>
              <a:rPr lang="ja-JP" altLang="en-US" sz="1200" dirty="0">
                <a:latin typeface="+mj-ea"/>
                <a:ea typeface="+mj-ea"/>
              </a:rPr>
              <a:t>証明書または同等の製造許可証が必要とな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申請書提出後、スクリーニングプロセスが開始され、各種法令順守の確認の他、技術的な妥当性確認等が行われ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スクリーニングプロセスを通過した後、審査プロセスが開始され、</a:t>
            </a:r>
            <a:r>
              <a:rPr lang="en-US" altLang="ja-JP" sz="1200" dirty="0">
                <a:latin typeface="+mj-ea"/>
                <a:ea typeface="+mj-ea"/>
              </a:rPr>
              <a:t>SAHPRA</a:t>
            </a:r>
            <a:r>
              <a:rPr lang="ja-JP" altLang="en-US" sz="1200" dirty="0">
                <a:latin typeface="+mj-ea"/>
                <a:ea typeface="+mj-ea"/>
              </a:rPr>
              <a:t>の各関連ユニットの評価者に割り振られる。コンセンサスが形成されない場合などは、諮問委員会からの意見聴取が行われる。</a:t>
            </a:r>
            <a:endParaRPr lang="en-US" altLang="ja-JP" sz="1200" dirty="0">
              <a:latin typeface="+mj-ea"/>
              <a:ea typeface="+mj-ea"/>
            </a:endParaRPr>
          </a:p>
        </p:txBody>
      </p:sp>
      <p:sp>
        <p:nvSpPr>
          <p:cNvPr id="18" name="TextBox 17">
            <a:extLst>
              <a:ext uri="{FF2B5EF4-FFF2-40B4-BE49-F238E27FC236}">
                <a16:creationId xmlns:a16="http://schemas.microsoft.com/office/drawing/2014/main" id="{63CEA924-BEC8-4E11-B7FF-522641CC2601}"/>
              </a:ext>
            </a:extLst>
          </p:cNvPr>
          <p:cNvSpPr txBox="1">
            <a:spLocks/>
          </p:cNvSpPr>
          <p:nvPr/>
        </p:nvSpPr>
        <p:spPr>
          <a:xfrm>
            <a:off x="2288704" y="2067404"/>
            <a:ext cx="7128792" cy="1495794"/>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薬品および関連物質法（</a:t>
            </a:r>
            <a:r>
              <a:rPr lang="en-US" altLang="ja-JP" sz="1200" dirty="0">
                <a:latin typeface="+mj-ea"/>
                <a:ea typeface="+mj-ea"/>
              </a:rPr>
              <a:t>1965</a:t>
            </a:r>
            <a:r>
              <a:rPr lang="ja-JP" altLang="en-US" sz="1200" dirty="0">
                <a:latin typeface="+mj-ea"/>
                <a:ea typeface="+mj-ea"/>
              </a:rPr>
              <a:t>年、</a:t>
            </a:r>
            <a:r>
              <a:rPr lang="en-US" altLang="ja-JP" sz="1200" dirty="0">
                <a:latin typeface="+mj-ea"/>
                <a:ea typeface="+mj-ea"/>
              </a:rPr>
              <a:t>2015</a:t>
            </a:r>
            <a:r>
              <a:rPr lang="ja-JP" altLang="en-US" sz="1200" dirty="0">
                <a:latin typeface="+mj-ea"/>
                <a:ea typeface="+mj-ea"/>
              </a:rPr>
              <a:t>年改正）に基づき、品質管理、製造管理、流通管理に関する諸規定への適合が認められた場合に、医薬品等の製造、輸入、輸出、卸売業者としての活動又は流通の許可が発行され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許可申請に当たっては、事業の所有権を証明する書類、管理薬剤師の登録、該当する場合の最新の検査結果等をメールにより提出する必要があ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また、定期的かつ反復的な検査が実施され、ライセンス保持者がライセンスの条件、医薬品法の規定、および適正製造基準（</a:t>
            </a:r>
            <a:r>
              <a:rPr lang="en-US" altLang="ja-JP" sz="1200" dirty="0">
                <a:latin typeface="+mj-ea"/>
                <a:ea typeface="+mj-ea"/>
              </a:rPr>
              <a:t>GMP</a:t>
            </a:r>
            <a:r>
              <a:rPr lang="ja-JP" altLang="en-US" sz="1200" dirty="0">
                <a:latin typeface="+mj-ea"/>
                <a:ea typeface="+mj-ea"/>
              </a:rPr>
              <a:t>）を遵守していることを確認する。</a:t>
            </a:r>
          </a:p>
        </p:txBody>
      </p:sp>
      <p:sp>
        <p:nvSpPr>
          <p:cNvPr id="26" name="Rectangle: Rounded Corners 25">
            <a:extLst>
              <a:ext uri="{FF2B5EF4-FFF2-40B4-BE49-F238E27FC236}">
                <a16:creationId xmlns:a16="http://schemas.microsoft.com/office/drawing/2014/main" id="{F19175BA-AA14-43E0-83D4-9EF4C2549B66}"/>
              </a:ext>
            </a:extLst>
          </p:cNvPr>
          <p:cNvSpPr/>
          <p:nvPr/>
        </p:nvSpPr>
        <p:spPr>
          <a:xfrm>
            <a:off x="1489250"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申請</a:t>
            </a:r>
            <a:endParaRPr kumimoji="1" lang="en-US" sz="1200" dirty="0"/>
          </a:p>
        </p:txBody>
      </p:sp>
      <p:sp>
        <p:nvSpPr>
          <p:cNvPr id="27" name="Rectangle: Rounded Corners 26">
            <a:extLst>
              <a:ext uri="{FF2B5EF4-FFF2-40B4-BE49-F238E27FC236}">
                <a16:creationId xmlns:a16="http://schemas.microsoft.com/office/drawing/2014/main" id="{1D5FCCFF-B1B1-4763-93DE-A9F6F04CE900}"/>
              </a:ext>
            </a:extLst>
          </p:cNvPr>
          <p:cNvSpPr/>
          <p:nvPr/>
        </p:nvSpPr>
        <p:spPr>
          <a:xfrm>
            <a:off x="3471258"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スクリーニング</a:t>
            </a:r>
            <a:endParaRPr kumimoji="1" lang="en-US" sz="1200" dirty="0"/>
          </a:p>
        </p:txBody>
      </p:sp>
      <p:sp>
        <p:nvSpPr>
          <p:cNvPr id="28" name="Rectangle: Rounded Corners 27">
            <a:extLst>
              <a:ext uri="{FF2B5EF4-FFF2-40B4-BE49-F238E27FC236}">
                <a16:creationId xmlns:a16="http://schemas.microsoft.com/office/drawing/2014/main" id="{C993495B-FAC1-43BA-B760-20F092836F22}"/>
              </a:ext>
            </a:extLst>
          </p:cNvPr>
          <p:cNvSpPr/>
          <p:nvPr/>
        </p:nvSpPr>
        <p:spPr>
          <a:xfrm>
            <a:off x="5453266"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審査</a:t>
            </a:r>
            <a:endParaRPr kumimoji="1" lang="en-US" sz="1200" dirty="0"/>
          </a:p>
        </p:txBody>
      </p:sp>
      <p:cxnSp>
        <p:nvCxnSpPr>
          <p:cNvPr id="29" name="Straight Arrow Connector 28">
            <a:extLst>
              <a:ext uri="{FF2B5EF4-FFF2-40B4-BE49-F238E27FC236}">
                <a16:creationId xmlns:a16="http://schemas.microsoft.com/office/drawing/2014/main" id="{666E927B-87EA-40DF-8177-276C6F5F4A81}"/>
              </a:ext>
            </a:extLst>
          </p:cNvPr>
          <p:cNvCxnSpPr>
            <a:cxnSpLocks/>
          </p:cNvCxnSpPr>
          <p:nvPr/>
        </p:nvCxnSpPr>
        <p:spPr>
          <a:xfrm>
            <a:off x="2709065"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0ECD95DB-33DC-486A-A20C-7216B427B1C0}"/>
              </a:ext>
            </a:extLst>
          </p:cNvPr>
          <p:cNvSpPr/>
          <p:nvPr/>
        </p:nvSpPr>
        <p:spPr>
          <a:xfrm>
            <a:off x="7435273"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承認</a:t>
            </a:r>
            <a:endParaRPr kumimoji="1" lang="en-US" sz="1200" dirty="0"/>
          </a:p>
        </p:txBody>
      </p:sp>
      <p:cxnSp>
        <p:nvCxnSpPr>
          <p:cNvPr id="35" name="Straight Arrow Connector 34">
            <a:extLst>
              <a:ext uri="{FF2B5EF4-FFF2-40B4-BE49-F238E27FC236}">
                <a16:creationId xmlns:a16="http://schemas.microsoft.com/office/drawing/2014/main" id="{AACF58DE-ABFA-4A44-ABC6-5C6F7CE037BB}"/>
              </a:ext>
            </a:extLst>
          </p:cNvPr>
          <p:cNvCxnSpPr>
            <a:cxnSpLocks/>
          </p:cNvCxnSpPr>
          <p:nvPr/>
        </p:nvCxnSpPr>
        <p:spPr>
          <a:xfrm>
            <a:off x="4691073"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34EFC62-DC6D-4D88-8D0B-F6B2B10F8941}"/>
              </a:ext>
            </a:extLst>
          </p:cNvPr>
          <p:cNvCxnSpPr>
            <a:cxnSpLocks/>
          </p:cNvCxnSpPr>
          <p:nvPr/>
        </p:nvCxnSpPr>
        <p:spPr>
          <a:xfrm>
            <a:off x="6673081"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テキスト ボックス 24">
            <a:extLst>
              <a:ext uri="{FF2B5EF4-FFF2-40B4-BE49-F238E27FC236}">
                <a16:creationId xmlns:a16="http://schemas.microsoft.com/office/drawing/2014/main" id="{3FF8BC36-787B-495E-881F-108A37228376}"/>
              </a:ext>
            </a:extLst>
          </p:cNvPr>
          <p:cNvSpPr txBox="1"/>
          <p:nvPr/>
        </p:nvSpPr>
        <p:spPr>
          <a:xfrm>
            <a:off x="236208" y="1124744"/>
            <a:ext cx="9331835"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医薬品についての規制・監督は医療製品規制庁</a:t>
            </a:r>
            <a:r>
              <a:rPr lang="en-US" altLang="ja-JP" sz="1400" dirty="0">
                <a:latin typeface="+mj-ea"/>
                <a:ea typeface="+mj-ea"/>
                <a:cs typeface="Arial" panose="020B0604020202020204" pitchFamily="34" charset="0"/>
              </a:rPr>
              <a:t>(SAHPRA)</a:t>
            </a:r>
            <a:r>
              <a:rPr lang="ja-JP" altLang="en-US" sz="1400" dirty="0">
                <a:latin typeface="+mj-ea"/>
                <a:ea typeface="+mj-ea"/>
                <a:cs typeface="Arial" panose="020B0604020202020204" pitchFamily="34" charset="0"/>
              </a:rPr>
              <a:t>が管轄しており、医薬品の種類等に応じて、複数の部署が所管している。</a:t>
            </a:r>
            <a:endParaRPr lang="en-US" altLang="ja-JP" sz="1400" dirty="0">
              <a:latin typeface="+mj-ea"/>
              <a:ea typeface="+mj-ea"/>
              <a:cs typeface="Arial" panose="020B0604020202020204" pitchFamily="34" charset="0"/>
            </a:endParaRPr>
          </a:p>
        </p:txBody>
      </p:sp>
    </p:spTree>
    <p:extLst>
      <p:ext uri="{BB962C8B-B14F-4D97-AF65-F5344CB8AC3E}">
        <p14:creationId xmlns:p14="http://schemas.microsoft.com/office/powerpoint/2010/main" val="42736991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125718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9" name="テキスト ボックス 3">
            <a:extLst>
              <a:ext uri="{FF2B5EF4-FFF2-40B4-BE49-F238E27FC236}">
                <a16:creationId xmlns:a16="http://schemas.microsoft.com/office/drawing/2014/main" id="{200E9C20-471A-4B49-AD14-33B9C43991E9}"/>
              </a:ext>
            </a:extLst>
          </p:cNvPr>
          <p:cNvSpPr txBox="1"/>
          <p:nvPr/>
        </p:nvSpPr>
        <p:spPr>
          <a:xfrm>
            <a:off x="200472" y="1124744"/>
            <a:ext cx="9505056" cy="29261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南アフリカ健康製品規制局（SAHPRA）の</a:t>
            </a:r>
            <a:r>
              <a:rPr lang="ja-JP" altLang="en-US" sz="1400" dirty="0"/>
              <a:t>臨床試験部門が</a:t>
            </a:r>
            <a:r>
              <a:rPr lang="en-US" altLang="ja-JP" sz="1400" dirty="0"/>
              <a:t>、ヒトを対象とした臨床試験および生物学的同等性試験の審査に関する法的枠組みを提供し、臨床試験実施の承認を</a:t>
            </a:r>
            <a:r>
              <a:rPr lang="ja-JP" altLang="en-US" sz="1400" dirty="0"/>
              <a:t>管轄</a:t>
            </a:r>
            <a:r>
              <a:rPr lang="en-US" altLang="ja-JP" sz="1400" dirty="0"/>
              <a:t>。</a:t>
            </a:r>
            <a:r>
              <a:rPr lang="ja-JP" altLang="en-US" sz="1400" dirty="0"/>
              <a:t>　</a:t>
            </a:r>
            <a:endParaRPr lang="en-US" altLang="ja-JP" sz="1400" dirty="0">
              <a:solidFill>
                <a:srgbClr val="FF0000"/>
              </a:solidFil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および関連物質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ines and Related Substance Act, Act 101 of 19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未登録医薬品を入手するための法的枠組みを規定しており、当局は、臨床試験を実施する目的で未登録医薬品の販売を許可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南アフリカ臨床試験実施基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 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で実施される研究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基準を明確に示し、南アフリカの人々が参加する臨床試験が、健全な科学・倫理基準に従って設計・実施されていることを確保することを目的としている。この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ガイドラインが作成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では、新規申請書を受領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処理し、チェックリストを発行することを目標としている。治験審査委員会の勧告は、申請書の提出期限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送付される予定となっている。ただし、前例の乏しい治験薬については、外部審査機関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他の委員会に意見を求めるなど、この納期が延長される場合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登録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承認を受けなければ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臨床試験申請書の審査および承認は、並行して実施することができる。</a:t>
            </a:r>
          </a:p>
        </p:txBody>
      </p:sp>
      <p:sp>
        <p:nvSpPr>
          <p:cNvPr id="13" name="Rectangle: Rounded Corners 12">
            <a:extLst>
              <a:ext uri="{FF2B5EF4-FFF2-40B4-BE49-F238E27FC236}">
                <a16:creationId xmlns:a16="http://schemas.microsoft.com/office/drawing/2014/main" id="{C2AE6D14-2B07-4DAD-BDB7-AA94D9E25201}"/>
              </a:ext>
            </a:extLst>
          </p:cNvPr>
          <p:cNvSpPr/>
          <p:nvPr/>
        </p:nvSpPr>
        <p:spPr>
          <a:xfrm>
            <a:off x="365251"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申請</a:t>
            </a:r>
            <a:endParaRPr kumimoji="1" lang="en-US" sz="1000" dirty="0"/>
          </a:p>
        </p:txBody>
      </p:sp>
      <p:sp>
        <p:nvSpPr>
          <p:cNvPr id="14" name="Rectangle: Rounded Corners 13">
            <a:extLst>
              <a:ext uri="{FF2B5EF4-FFF2-40B4-BE49-F238E27FC236}">
                <a16:creationId xmlns:a16="http://schemas.microsoft.com/office/drawing/2014/main" id="{53586700-52A8-4D79-AEE2-50ED7B46128A}"/>
              </a:ext>
            </a:extLst>
          </p:cNvPr>
          <p:cNvSpPr/>
          <p:nvPr/>
        </p:nvSpPr>
        <p:spPr>
          <a:xfrm>
            <a:off x="1721765"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事前審査、審査官割り当て</a:t>
            </a:r>
            <a:endParaRPr lang="en-US" altLang="ja-JP" sz="1000" dirty="0"/>
          </a:p>
          <a:p>
            <a:pPr marL="0" algn="ctr" fontAlgn="ctr">
              <a:lnSpc>
                <a:spcPct val="114000"/>
              </a:lnSpc>
              <a:spcAft>
                <a:spcPts val="400"/>
              </a:spcAft>
            </a:pPr>
            <a:r>
              <a:rPr kumimoji="1" lang="ja-JP" altLang="en-US" sz="1000" dirty="0"/>
              <a:t>（申請後２週間）</a:t>
            </a:r>
            <a:endParaRPr kumimoji="1" lang="en-US" sz="1000" dirty="0"/>
          </a:p>
        </p:txBody>
      </p:sp>
      <p:sp>
        <p:nvSpPr>
          <p:cNvPr id="15" name="Rectangle: Rounded Corners 14">
            <a:extLst>
              <a:ext uri="{FF2B5EF4-FFF2-40B4-BE49-F238E27FC236}">
                <a16:creationId xmlns:a16="http://schemas.microsoft.com/office/drawing/2014/main" id="{10D12DD1-2AB1-4FF2-A62C-E2DC597B46D3}"/>
              </a:ext>
            </a:extLst>
          </p:cNvPr>
          <p:cNvSpPr/>
          <p:nvPr/>
        </p:nvSpPr>
        <p:spPr>
          <a:xfrm>
            <a:off x="3078279"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審査項目受領</a:t>
            </a:r>
            <a:endParaRPr lang="en-US" altLang="ja-JP" sz="1000" dirty="0"/>
          </a:p>
          <a:p>
            <a:pPr marL="0" algn="ctr" fontAlgn="ctr">
              <a:lnSpc>
                <a:spcPct val="114000"/>
              </a:lnSpc>
              <a:spcAft>
                <a:spcPts val="400"/>
              </a:spcAft>
            </a:pPr>
            <a:r>
              <a:rPr kumimoji="1" lang="ja-JP" altLang="en-US" sz="1000" dirty="0"/>
              <a:t>（申請後３週間）</a:t>
            </a:r>
            <a:endParaRPr kumimoji="1" lang="en-US" sz="1000" dirty="0"/>
          </a:p>
        </p:txBody>
      </p:sp>
      <p:cxnSp>
        <p:nvCxnSpPr>
          <p:cNvPr id="20" name="Straight Arrow Connector 19">
            <a:extLst>
              <a:ext uri="{FF2B5EF4-FFF2-40B4-BE49-F238E27FC236}">
                <a16:creationId xmlns:a16="http://schemas.microsoft.com/office/drawing/2014/main" id="{6BD5C9F0-E77E-4158-9503-34C999209DA9}"/>
              </a:ext>
            </a:extLst>
          </p:cNvPr>
          <p:cNvCxnSpPr>
            <a:cxnSpLocks/>
            <a:stCxn id="13" idx="3"/>
            <a:endCxn id="14" idx="1"/>
          </p:cNvCxnSpPr>
          <p:nvPr/>
        </p:nvCxnSpPr>
        <p:spPr>
          <a:xfrm>
            <a:off x="158506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EC84C08-5F5E-4E6E-B811-6F873AA746E7}"/>
              </a:ext>
            </a:extLst>
          </p:cNvPr>
          <p:cNvSpPr/>
          <p:nvPr/>
        </p:nvSpPr>
        <p:spPr>
          <a:xfrm>
            <a:off x="4434793"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内議論</a:t>
            </a:r>
            <a:endParaRPr lang="en-US" altLang="ja-JP" sz="1000" dirty="0"/>
          </a:p>
          <a:p>
            <a:pPr marL="0" algn="ctr" fontAlgn="ctr">
              <a:lnSpc>
                <a:spcPct val="114000"/>
              </a:lnSpc>
              <a:spcAft>
                <a:spcPts val="400"/>
              </a:spcAft>
            </a:pPr>
            <a:r>
              <a:rPr kumimoji="1" lang="ja-JP" altLang="en-US" sz="1000" dirty="0"/>
              <a:t>（前後６～８週間）</a:t>
            </a:r>
            <a:endParaRPr kumimoji="1" lang="en-US" sz="1000" dirty="0"/>
          </a:p>
        </p:txBody>
      </p:sp>
      <p:sp>
        <p:nvSpPr>
          <p:cNvPr id="29" name="Rectangle: Rounded Corners 28">
            <a:extLst>
              <a:ext uri="{FF2B5EF4-FFF2-40B4-BE49-F238E27FC236}">
                <a16:creationId xmlns:a16="http://schemas.microsoft.com/office/drawing/2014/main" id="{83DD6A24-E1EB-4628-B45C-D78215BC2988}"/>
              </a:ext>
            </a:extLst>
          </p:cNvPr>
          <p:cNvSpPr/>
          <p:nvPr/>
        </p:nvSpPr>
        <p:spPr>
          <a:xfrm>
            <a:off x="5791307"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勧告案作成</a:t>
            </a:r>
            <a:endParaRPr kumimoji="1" lang="en-US" sz="1000" dirty="0"/>
          </a:p>
        </p:txBody>
      </p:sp>
      <p:sp>
        <p:nvSpPr>
          <p:cNvPr id="30" name="Rectangle: Rounded Corners 29">
            <a:extLst>
              <a:ext uri="{FF2B5EF4-FFF2-40B4-BE49-F238E27FC236}">
                <a16:creationId xmlns:a16="http://schemas.microsoft.com/office/drawing/2014/main" id="{A66A65F7-2D59-4A77-BF88-6E7AEA25FC16}"/>
              </a:ext>
            </a:extLst>
          </p:cNvPr>
          <p:cNvSpPr/>
          <p:nvPr/>
        </p:nvSpPr>
        <p:spPr>
          <a:xfrm>
            <a:off x="7147821" y="479409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専門委員会</a:t>
            </a:r>
            <a:endParaRPr kumimoji="1" lang="en-US" sz="1000" dirty="0"/>
          </a:p>
        </p:txBody>
      </p:sp>
      <p:sp>
        <p:nvSpPr>
          <p:cNvPr id="31" name="Rectangle: Rounded Corners 30">
            <a:extLst>
              <a:ext uri="{FF2B5EF4-FFF2-40B4-BE49-F238E27FC236}">
                <a16:creationId xmlns:a16="http://schemas.microsoft.com/office/drawing/2014/main" id="{7EB18524-B9C4-4ED2-B173-3EAF016F533D}"/>
              </a:ext>
            </a:extLst>
          </p:cNvPr>
          <p:cNvSpPr/>
          <p:nvPr/>
        </p:nvSpPr>
        <p:spPr>
          <a:xfrm>
            <a:off x="8504332" y="481875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申請者への返答、やり取り</a:t>
            </a:r>
            <a:endParaRPr kumimoji="1" lang="en-US" sz="1000" dirty="0"/>
          </a:p>
        </p:txBody>
      </p:sp>
      <p:cxnSp>
        <p:nvCxnSpPr>
          <p:cNvPr id="37" name="Straight Arrow Connector 36">
            <a:extLst>
              <a:ext uri="{FF2B5EF4-FFF2-40B4-BE49-F238E27FC236}">
                <a16:creationId xmlns:a16="http://schemas.microsoft.com/office/drawing/2014/main" id="{F134C327-691B-4AEC-940A-0BF0F433FF60}"/>
              </a:ext>
            </a:extLst>
          </p:cNvPr>
          <p:cNvCxnSpPr>
            <a:cxnSpLocks/>
          </p:cNvCxnSpPr>
          <p:nvPr/>
        </p:nvCxnSpPr>
        <p:spPr>
          <a:xfrm>
            <a:off x="2941580"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B9F1610B-820B-4275-90E6-5E4F57E8BC90}"/>
              </a:ext>
            </a:extLst>
          </p:cNvPr>
          <p:cNvCxnSpPr>
            <a:cxnSpLocks/>
          </p:cNvCxnSpPr>
          <p:nvPr/>
        </p:nvCxnSpPr>
        <p:spPr>
          <a:xfrm>
            <a:off x="4298094"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F2F1AB1-3525-42AE-8E02-8EDFD86AA65D}"/>
              </a:ext>
            </a:extLst>
          </p:cNvPr>
          <p:cNvCxnSpPr>
            <a:cxnSpLocks/>
          </p:cNvCxnSpPr>
          <p:nvPr/>
        </p:nvCxnSpPr>
        <p:spPr>
          <a:xfrm>
            <a:off x="5654608"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5503A7C-6909-4E13-B580-650E2FEA910F}"/>
              </a:ext>
            </a:extLst>
          </p:cNvPr>
          <p:cNvCxnSpPr>
            <a:cxnSpLocks/>
          </p:cNvCxnSpPr>
          <p:nvPr/>
        </p:nvCxnSpPr>
        <p:spPr>
          <a:xfrm>
            <a:off x="7011122"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EEAC6FE-1DB2-40B5-B1F6-37B25D158E6B}"/>
              </a:ext>
            </a:extLst>
          </p:cNvPr>
          <p:cNvCxnSpPr>
            <a:cxnSpLocks/>
          </p:cNvCxnSpPr>
          <p:nvPr/>
        </p:nvCxnSpPr>
        <p:spPr>
          <a:xfrm>
            <a:off x="836763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グループ化 7">
            <a:extLst>
              <a:ext uri="{FF2B5EF4-FFF2-40B4-BE49-F238E27FC236}">
                <a16:creationId xmlns:a16="http://schemas.microsoft.com/office/drawing/2014/main" id="{ACB108B9-C16E-4C6B-BB9C-D34657AB2271}"/>
              </a:ext>
            </a:extLst>
          </p:cNvPr>
          <p:cNvGrpSpPr/>
          <p:nvPr/>
        </p:nvGrpSpPr>
        <p:grpSpPr>
          <a:xfrm>
            <a:off x="313688" y="4348677"/>
            <a:ext cx="9329356" cy="288032"/>
            <a:chOff x="4803500" y="2113806"/>
            <a:chExt cx="3680168" cy="288032"/>
          </a:xfrm>
        </p:grpSpPr>
        <p:cxnSp>
          <p:nvCxnSpPr>
            <p:cNvPr id="46" name="直線コネクタ 16">
              <a:extLst>
                <a:ext uri="{FF2B5EF4-FFF2-40B4-BE49-F238E27FC236}">
                  <a16:creationId xmlns:a16="http://schemas.microsoft.com/office/drawing/2014/main" id="{3B37E152-1B6F-4F63-929E-3A4A5688A134}"/>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a:extLst>
                <a:ext uri="{FF2B5EF4-FFF2-40B4-BE49-F238E27FC236}">
                  <a16:creationId xmlns:a16="http://schemas.microsoft.com/office/drawing/2014/main" id="{689C69B0-4F19-4E15-9801-887290E9CEB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en-US" altLang="ja-JP" sz="1400" dirty="0">
                  <a:latin typeface="HGP創英角ｺﾞｼｯｸUB" pitchFamily="50" charset="-128"/>
                  <a:ea typeface="HGP創英角ｺﾞｼｯｸUB" pitchFamily="50" charset="-128"/>
                </a:rPr>
                <a:t>SAHPRA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8BA6FBD2-C0BB-4266-8A5D-E47FD2B2D160}"/>
              </a:ext>
            </a:extLst>
          </p:cNvPr>
          <p:cNvSpPr txBox="1"/>
          <p:nvPr/>
        </p:nvSpPr>
        <p:spPr>
          <a:xfrm>
            <a:off x="416496" y="671067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医療製品規制庁（</a:t>
            </a:r>
            <a:r>
              <a:rPr kumimoji="0" lang="en-US" altLang="ja-JP" sz="800" dirty="0" bmk=""/>
              <a:t>SAHPRA</a:t>
            </a:r>
            <a:r>
              <a:rPr kumimoji="0" lang="ja-JP" altLang="en-US" sz="800" dirty="0" bmk=""/>
              <a:t>）ホームページ、米国</a:t>
            </a:r>
            <a:r>
              <a:rPr kumimoji="0" lang="en-US" altLang="ja-JP" sz="800" dirty="0" bmk=""/>
              <a:t>NIH</a:t>
            </a:r>
            <a:r>
              <a:rPr kumimoji="0" lang="ja-JP" altLang="en-US" sz="800" dirty="0" bmk=""/>
              <a:t>ホームページ</a:t>
            </a:r>
          </a:p>
        </p:txBody>
      </p:sp>
      <p:sp>
        <p:nvSpPr>
          <p:cNvPr id="4" name="Text Placeholder 3">
            <a:extLst>
              <a:ext uri="{FF2B5EF4-FFF2-40B4-BE49-F238E27FC236}">
                <a16:creationId xmlns:a16="http://schemas.microsoft.com/office/drawing/2014/main" id="{BC7AB916-F207-4794-8AF2-B631688EEE12}"/>
              </a:ext>
            </a:extLst>
          </p:cNvPr>
          <p:cNvSpPr>
            <a:spLocks noGrp="1"/>
          </p:cNvSpPr>
          <p:nvPr>
            <p:ph type="body" sz="quarter" idx="15"/>
          </p:nvPr>
        </p:nvSpPr>
        <p:spPr/>
        <p:txBody>
          <a:bodyPr/>
          <a:lstStyle/>
          <a:p>
            <a:r>
              <a:rPr lang="ja-JP" altLang="en-US" dirty="0"/>
              <a:t>臨床試験に対する規制</a:t>
            </a:r>
            <a:endParaRPr kumimoji="1" lang="en-US" dirty="0"/>
          </a:p>
        </p:txBody>
      </p:sp>
    </p:spTree>
    <p:extLst>
      <p:ext uri="{BB962C8B-B14F-4D97-AF65-F5344CB8AC3E}">
        <p14:creationId xmlns:p14="http://schemas.microsoft.com/office/powerpoint/2010/main" val="4212236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9243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バシーの権利は、南アフリカ共和国憲法の権利章典において基本的人権として認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OP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経て、現在はほぼ完全に発効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ただし、南アフリカの責任ある当事者は、データ対象者が移転に同意している場合や法律による求め等の場合を除き、個人情報を他国の第三者に移転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73036502"/>
              </p:ext>
            </p:extLst>
          </p:nvPr>
        </p:nvGraphicFramePr>
        <p:xfrm>
          <a:off x="272480" y="2163587"/>
          <a:ext cx="9505056" cy="328163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7449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2223">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100" dirty="0">
                          <a:solidFill>
                            <a:srgbClr val="000000"/>
                          </a:solidFill>
                          <a:latin typeface="+mn-lt"/>
                          <a:ea typeface="+mn-ea"/>
                        </a:rPr>
                        <a:t>POPIA</a:t>
                      </a:r>
                      <a:r>
                        <a:rPr lang="ja-JP" altLang="en-US" sz="1100" dirty="0">
                          <a:solidFill>
                            <a:srgbClr val="000000"/>
                          </a:solidFill>
                          <a:latin typeface="+mn-lt"/>
                          <a:ea typeface="+mn-ea"/>
                        </a:rPr>
                        <a:t>における「個人情報」とは、生存する自然人、および該当する場合には実在する法人を特定できる情報と定義されている。この中には、本人の教育、医療、財政、犯罪または雇用の経歴に関連する情報、その人のバイオメトリック情報も含ま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また、「特別な個人情報」とは、宗教的または哲学的信条、人種または民族的出身、労働組合への加盟、政治的説得、健康または性生活、生体情報および犯罪行為に関する情報を指す。</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89273">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は、南アフリカに居住する者が個人情報を処理する場合の他、個人情報を処理する者が南アフリカに居住していない場合であっても、南アフリカ内で個人情報が処理される場合には適用される。</a:t>
                      </a:r>
                      <a:endParaRPr lang="en-US" altLang="ja-JP" sz="11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b="0" i="0" dirty="0">
                          <a:solidFill>
                            <a:srgbClr val="000000"/>
                          </a:solidFill>
                          <a:effectLst/>
                          <a:latin typeface="+mn-lt"/>
                          <a:ea typeface="+mn-ea"/>
                        </a:rPr>
                        <a:t>データ保護責任者（</a:t>
                      </a: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では「情報責任者」と呼ばれる）は、情報規制当局に登録する必要があり、</a:t>
                      </a: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の遵守を確保すること、</a:t>
                      </a: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の観点からその責任者に対して行われるあらゆる要請に対処すること、情報規制当局による調査に協力することが含まれてい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15644">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100" dirty="0">
                          <a:solidFill>
                            <a:srgbClr val="000000"/>
                          </a:solidFill>
                          <a:latin typeface="+mn-lt"/>
                          <a:ea typeface="+mn-ea"/>
                        </a:rPr>
                        <a:t>POPIA </a:t>
                      </a:r>
                      <a:r>
                        <a:rPr lang="ja-JP" altLang="en-US" sz="1100" dirty="0">
                          <a:solidFill>
                            <a:srgbClr val="000000"/>
                          </a:solidFill>
                          <a:latin typeface="+mn-lt"/>
                          <a:ea typeface="+mn-ea"/>
                        </a:rPr>
                        <a:t>は、個人情報の合法的な処理について、いくつかの条件を規定しており、その中で、個人情報の対象となる者の同意</a:t>
                      </a:r>
                      <a:r>
                        <a:rPr lang="en-US" altLang="ja-JP" sz="1100" dirty="0">
                          <a:solidFill>
                            <a:srgbClr val="000000"/>
                          </a:solidFill>
                          <a:latin typeface="+mn-lt"/>
                          <a:ea typeface="+mn-ea"/>
                        </a:rPr>
                        <a:t>/</a:t>
                      </a:r>
                      <a:r>
                        <a:rPr lang="ja-JP" altLang="en-US" sz="1100" dirty="0">
                          <a:solidFill>
                            <a:srgbClr val="000000"/>
                          </a:solidFill>
                          <a:latin typeface="+mn-lt"/>
                          <a:ea typeface="+mn-ea"/>
                        </a:rPr>
                        <a:t>正当な利益に基づく範囲で利用が行われることや、特定の明示的に定義された合法的な目的のためにのみ個人情報が収集されなければならないことが規定さ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また、個人情報の対象となる者は、責任者が保有する個人情報の詳細を要求する権利、特定の状況下でそのような情報へのアクセスを要求する権利を有してい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32145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2193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ホームページ</a:t>
            </a:r>
          </a:p>
        </p:txBody>
      </p:sp>
    </p:spTree>
    <p:extLst>
      <p:ext uri="{BB962C8B-B14F-4D97-AF65-F5344CB8AC3E}">
        <p14:creationId xmlns:p14="http://schemas.microsoft.com/office/powerpoint/2010/main" val="35778715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91948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多くの医科大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the Free St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修業年限を設けている。入学にあたっては黒人やカラードの優先枠があり、競争は熾烈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は一年間のインターンシップと、さらに一年間のコミュニティサービスを経たのち、</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保健専門家協議会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医師としての登録を行うことができる。</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myggsa.co.za/how-to-become-a-medical-doctor-in-south-africa</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avarsitystudent.co.za/2017/10/get-into-medicine-SA.html</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149175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199578" y="1124744"/>
            <a:ext cx="9505950" cy="44249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重視者の偏在が、地方と都市、公共と民間の間で見られ、長期に渡って改善し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般に、</a:t>
            </a:r>
            <a:r>
              <a:rPr lang="en-US" altLang="ja-JP" sz="1400" dirty="0"/>
              <a:t>1</a:t>
            </a:r>
            <a:r>
              <a:rPr lang="ja-JP" altLang="en-US" sz="1400" dirty="0"/>
              <a:t>万人当たりの医療従事者の数は、公的部門より民間部門の方が多い。例外的に、医師については、地域によっては公共部門に従事する者が民間部門よりも多い場合があるが、ほとんどの職種で共通の傾向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公的部門と民間部門の専門医密度の差は大きく、公的セクターの専門医は</a:t>
            </a:r>
            <a:r>
              <a:rPr lang="en-US" altLang="ja-JP" sz="1400" dirty="0"/>
              <a:t>10</a:t>
            </a:r>
            <a:r>
              <a:rPr lang="ja-JP" altLang="en-US" sz="1400" dirty="0"/>
              <a:t>万人当たり</a:t>
            </a:r>
            <a:r>
              <a:rPr lang="en-US" altLang="ja-JP" sz="1400" dirty="0"/>
              <a:t>7</a:t>
            </a:r>
            <a:r>
              <a:rPr lang="ja-JP" altLang="en-US" sz="1400" dirty="0"/>
              <a:t>人であるのに対し、民間セクターは</a:t>
            </a:r>
            <a:r>
              <a:rPr lang="en-US" altLang="ja-JP" sz="1400" dirty="0"/>
              <a:t>69</a:t>
            </a:r>
            <a:r>
              <a:rPr lang="ja-JP" altLang="en-US" sz="1400" dirty="0"/>
              <a:t>人である。政策介入がなければ、この格差は悪化すると予想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 農村部と都市部の偏在については、 南アフリカの人口の</a:t>
            </a:r>
            <a:r>
              <a:rPr lang="en-US" altLang="ja-JP" sz="1400" dirty="0"/>
              <a:t>43.6</a:t>
            </a:r>
            <a:r>
              <a:rPr lang="ja-JP" altLang="en-US" sz="1400" dirty="0"/>
              <a:t>％が農村部に住んでいるにもかかわらず、農村部に従事する医師は</a:t>
            </a:r>
            <a:r>
              <a:rPr lang="en-US" altLang="ja-JP" sz="1400" dirty="0"/>
              <a:t>12</a:t>
            </a:r>
            <a:r>
              <a:rPr lang="ja-JP" altLang="en-US" sz="1400" dirty="0"/>
              <a:t>％、看護師は</a:t>
            </a:r>
            <a:r>
              <a:rPr lang="en-US" altLang="ja-JP" sz="1400" dirty="0"/>
              <a:t>19</a:t>
            </a:r>
            <a:r>
              <a:rPr lang="ja-JP" altLang="en-US" sz="1400" dirty="0"/>
              <a:t>％のみである。 地方における医療従事者の不足は、資金やインフラの欠如、治安面の不安、子供の就学機会の不足、配偶者の就労機会の不足等の問題に起因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師不足の要因の一つとして、訓練を受けた医療専門家の海外移住がある。公共部門における雇用機会の不足と不利な労働環境のために、医療専門家は南アフリカ国外でのキャリアを追求する。</a:t>
            </a:r>
            <a:r>
              <a:rPr lang="en-US" altLang="ja-JP" sz="1400" dirty="0"/>
              <a:t>2006</a:t>
            </a:r>
            <a:r>
              <a:rPr lang="ja-JP" altLang="en-US" sz="1400" dirty="0"/>
              <a:t>年の</a:t>
            </a:r>
            <a:r>
              <a:rPr lang="en-US" altLang="ja-JP" sz="1400" dirty="0"/>
              <a:t>OECD</a:t>
            </a:r>
            <a:r>
              <a:rPr lang="ja-JP" altLang="en-US" sz="1400" dirty="0"/>
              <a:t>調査によれば、南アフリカの医師</a:t>
            </a:r>
            <a:r>
              <a:rPr lang="en-US" altLang="ja-JP" sz="1400" dirty="0"/>
              <a:t>8,921</a:t>
            </a:r>
            <a:r>
              <a:rPr lang="ja-JP" altLang="en-US" sz="1400" dirty="0"/>
              <a:t>人が南アフリカ国外に出ており、これは当時南アフリカで登録されていた医師の</a:t>
            </a:r>
            <a:r>
              <a:rPr lang="en-US" altLang="ja-JP" sz="1400" dirty="0"/>
              <a:t>3</a:t>
            </a:r>
            <a:r>
              <a:rPr lang="ja-JP" altLang="en-US" sz="1400" dirty="0"/>
              <a:t>分の</a:t>
            </a:r>
            <a:r>
              <a:rPr lang="en-US" altLang="ja-JP" sz="1400" dirty="0"/>
              <a:t>1</a:t>
            </a:r>
            <a:r>
              <a:rPr lang="ja-JP" altLang="en-US" sz="1400" dirty="0"/>
              <a:t>に相当する数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なお、過去のアパルトヘイト政策の影響により、医師数の人種間の違いが生じ、</a:t>
            </a:r>
            <a:r>
              <a:rPr lang="en-US" altLang="ja-JP" sz="1400" dirty="0"/>
              <a:t>1994</a:t>
            </a:r>
            <a:r>
              <a:rPr lang="ja-JP" altLang="en-US" sz="1400" dirty="0"/>
              <a:t>年以降にかなりの改善が実現されたが、これらの過去の政策が、医師の人種的な代表性だけでなく、医療の分配に対していまだに影響しているとの指摘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は、医療職における男女格差を浮き彫りにしている。女性医師の割合は改善しているが、男性医師の数にはまだ及ばず、これは</a:t>
            </a:r>
            <a:r>
              <a:rPr lang="en-US" altLang="ja-JP" sz="1400" dirty="0"/>
              <a:t>2019</a:t>
            </a:r>
            <a:r>
              <a:rPr lang="ja-JP" altLang="en-US" sz="1400" dirty="0"/>
              <a:t>年の男女比が</a:t>
            </a:r>
            <a:r>
              <a:rPr lang="en-US" altLang="ja-JP" sz="1400" dirty="0"/>
              <a:t>1:0.7</a:t>
            </a:r>
            <a:r>
              <a:rPr lang="ja-JP" altLang="en-US" sz="1400" dirty="0"/>
              <a:t>であることからも明らか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ギャップを埋め、医療におけるジェンダー平等を達成するためには、特に女性医師が少ない集団において女性医師を増やすことに注力する必要がある。戦略的人事計画には、医療労働力生産の指針となるジェンダー平等目標を用いた予測方法を含めることができる。</a:t>
            </a:r>
            <a:endParaRPr lang="en-US" altLang="ja-JP" sz="1400" dirty="0"/>
          </a:p>
        </p:txBody>
      </p:sp>
      <p:sp>
        <p:nvSpPr>
          <p:cNvPr id="23" name="テキスト ボックス 62">
            <a:extLst>
              <a:ext uri="{FF2B5EF4-FFF2-40B4-BE49-F238E27FC236}">
                <a16:creationId xmlns:a16="http://schemas.microsoft.com/office/drawing/2014/main" id="{764ED442-45D0-4EC0-9BAF-3D270967F22D}"/>
              </a:ext>
            </a:extLst>
          </p:cNvPr>
          <p:cNvSpPr txBox="1"/>
          <p:nvPr/>
        </p:nvSpPr>
        <p:spPr>
          <a:xfrm>
            <a:off x="215264" y="634939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rPr>
              <a:t>） </a:t>
            </a:r>
            <a:r>
              <a:rPr lang="en-US" altLang="ja-JP" sz="800" dirty="0">
                <a:solidFill>
                  <a:srgbClr val="000000"/>
                </a:solidFill>
              </a:rPr>
              <a:t>https://www.gov.za/sites/default/files/gcis_document/201409/hrhstrategy0.pdf</a:t>
            </a:r>
            <a:endParaRPr kumimoji="1" lang="en-US" altLang="ja-JP" sz="800" dirty="0">
              <a:solidFill>
                <a:srgbClr val="000000"/>
              </a:solidFill>
            </a:endParaRPr>
          </a:p>
          <a:p>
            <a:pPr marL="358775" indent="-358775"/>
            <a:r>
              <a:rPr kumimoji="1" lang="en-US" altLang="ja-JP" sz="800" dirty="0">
                <a:solidFill>
                  <a:srgbClr val="000000"/>
                </a:solidFill>
              </a:rPr>
              <a:t>https://human-resources-health.biomedcentral.com/articles/10.1186/s12960-021-00567-2</a:t>
            </a:r>
          </a:p>
          <a:p>
            <a:pPr marL="358775" indent="-358775"/>
            <a:r>
              <a:rPr kumimoji="1" lang="en-US" altLang="ja-JP" sz="800" dirty="0">
                <a:solidFill>
                  <a:srgbClr val="000000"/>
                </a:solidFill>
              </a:rPr>
              <a:t>https://www.spotlightnsp.co.za/wp-content/uploads/2020/08/2030-HRH-strategy-19-3-2020.pdf</a:t>
            </a:r>
          </a:p>
          <a:p>
            <a:pPr marL="358775" indent="-358775"/>
            <a:endParaRPr kumimoji="1" lang="en-US" altLang="ja-JP" sz="800" dirty="0">
              <a:solidFill>
                <a:srgbClr val="000000"/>
              </a:solidFill>
            </a:endParaRPr>
          </a:p>
          <a:p>
            <a:pPr marL="358775" indent="-3587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817428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0223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南アフリカで医師としての登録を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前提として、米国の外国医学卒業生のための教育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FM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資格認定を受け、保健省から医師としてポストを提示されなくてはならない。南アフリカと同等以上の教育を受けていないとの判定となった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筆記試験を受けることを求められる場合もあ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72480" y="6277382"/>
            <a:ext cx="9073008" cy="144016"/>
          </a:xfrm>
          <a:prstGeom prst="rect">
            <a:avLst/>
          </a:prstGeom>
          <a:noFill/>
        </p:spPr>
        <p:txBody>
          <a:bodyPr wrap="square" lIns="0" tIns="0" rIns="0" bIns="0" rtlCol="0">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medicfootprints.org/south-africa/working-in-south-africa/medical-registration-work-visa-s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79138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627754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3" imgW="360" imgH="360" progId="TCLayout.ActiveDocument.1">
                  <p:embed/>
                </p:oleObj>
              </mc:Choice>
              <mc:Fallback>
                <p:oleObj name="think-cellスライド" r:id="rId53" imgW="360" imgH="360" progId="TCLayout.ActiveDocument.1">
                  <p:embed/>
                  <p:pic>
                    <p:nvPicPr>
                      <p:cNvPr id="11" name="Object 10"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19" y="2060848"/>
            <a:ext cx="1537593" cy="2267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ダウンロー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201" name="Chart 200">
            <a:extLst>
              <a:ext uri="{FF2B5EF4-FFF2-40B4-BE49-F238E27FC236}">
                <a16:creationId xmlns:a16="http://schemas.microsoft.com/office/drawing/2014/main" id="{1DD30DF1-DBCA-4F5D-511D-B556C48E786D}"/>
              </a:ext>
            </a:extLst>
          </p:cNvPr>
          <p:cNvGraphicFramePr/>
          <p:nvPr>
            <p:custDataLst>
              <p:tags r:id="rId3"/>
            </p:custDataLst>
            <p:extLst>
              <p:ext uri="{D42A27DB-BD31-4B8C-83A1-F6EECF244321}">
                <p14:modId xmlns:p14="http://schemas.microsoft.com/office/powerpoint/2010/main" val="3168461220"/>
              </p:ext>
            </p:extLst>
          </p:nvPr>
        </p:nvGraphicFramePr>
        <p:xfrm>
          <a:off x="661988" y="2336800"/>
          <a:ext cx="8694737" cy="3911600"/>
        </p:xfrm>
        <a:graphic>
          <a:graphicData uri="http://schemas.openxmlformats.org/drawingml/2006/chart">
            <c:chart xmlns:c="http://schemas.openxmlformats.org/drawingml/2006/chart" xmlns:r="http://schemas.openxmlformats.org/officeDocument/2006/relationships" r:id="rId55"/>
          </a:graphicData>
        </a:graphic>
      </p:graphicFrame>
      <p:sp>
        <p:nvSpPr>
          <p:cNvPr id="58" name="テキスト プレースホルダ 9">
            <a:extLst>
              <a:ext uri="{FF2B5EF4-FFF2-40B4-BE49-F238E27FC236}">
                <a16:creationId xmlns:a16="http://schemas.microsoft.com/office/drawing/2014/main" id="{3A641C52-79ED-2A69-E991-6216F9F0D120}"/>
              </a:ext>
            </a:extLst>
          </p:cNvPr>
          <p:cNvSpPr>
            <a:spLocks noGrp="1"/>
          </p:cNvSpPr>
          <p:nvPr>
            <p:custDataLst>
              <p:tags r:id="rId4"/>
            </p:custDataLst>
          </p:nvPr>
        </p:nvSpPr>
        <p:spPr bwMode="auto">
          <a:xfrm>
            <a:off x="14716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60B74D-15F8-4EB3-BF66-2B9A3D1BC953}" type="datetime'''''''''''''''''''''''''''''''''''''0''''''1'">
              <a:rPr lang="ja-JP" altLang="en-US" sz="1000" smtClean="0"/>
              <a:pPr/>
              <a:t>01</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556889A1-F04D-1E9D-F3E9-E505288E93F2}"/>
              </a:ext>
            </a:extLst>
          </p:cNvPr>
          <p:cNvSpPr>
            <a:spLocks noGrp="1"/>
          </p:cNvSpPr>
          <p:nvPr>
            <p:custDataLst>
              <p:tags r:id="rId5"/>
            </p:custDataLst>
          </p:nvPr>
        </p:nvSpPr>
        <p:spPr bwMode="auto">
          <a:xfrm>
            <a:off x="18145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27B67-F355-454B-9292-03A8A7AC0B21}" type="datetime'''''''''''''0''''''''''''''''2'''''''''''''''''''''''''''''">
              <a:rPr lang="ja-JP" altLang="en-US" sz="1000" smtClean="0"/>
              <a:pPr/>
              <a:t>02</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53C39F1C-F2AB-DCAF-D482-7FFBEA1BE024}"/>
              </a:ext>
            </a:extLst>
          </p:cNvPr>
          <p:cNvSpPr>
            <a:spLocks noGrp="1"/>
          </p:cNvSpPr>
          <p:nvPr>
            <p:custDataLst>
              <p:tags r:id="rId6"/>
            </p:custDataLst>
          </p:nvPr>
        </p:nvSpPr>
        <p:spPr bwMode="auto">
          <a:xfrm>
            <a:off x="21574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5A9D5A-8D0B-4B0A-B250-74C4C5BA48D0}" type="datetime'''''''''''''''''''0''''''''''''3'''''''">
              <a:rPr lang="ja-JP" altLang="en-US" sz="1000" smtClean="0"/>
              <a:pPr/>
              <a:t>03</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721F337A-AD41-6561-9314-88B647EA1951}"/>
              </a:ext>
            </a:extLst>
          </p:cNvPr>
          <p:cNvSpPr>
            <a:spLocks noGrp="1"/>
          </p:cNvSpPr>
          <p:nvPr>
            <p:custDataLst>
              <p:tags r:id="rId7"/>
            </p:custDataLst>
          </p:nvPr>
        </p:nvSpPr>
        <p:spPr bwMode="auto">
          <a:xfrm>
            <a:off x="25003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78BFD-8177-424B-B0CA-927FDEEB5A83}" type="datetime'''''''0''4'''''''''''''''''''''''''''''">
              <a:rPr lang="ja-JP" altLang="en-US" sz="1000" smtClean="0"/>
              <a:pPr/>
              <a:t>04</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BB55E26E-2C15-AA08-CF34-69BD1EA7DB28}"/>
              </a:ext>
            </a:extLst>
          </p:cNvPr>
          <p:cNvSpPr>
            <a:spLocks noGrp="1"/>
          </p:cNvSpPr>
          <p:nvPr>
            <p:custDataLst>
              <p:tags r:id="rId8"/>
            </p:custDataLst>
          </p:nvPr>
        </p:nvSpPr>
        <p:spPr bwMode="auto">
          <a:xfrm>
            <a:off x="28448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AD25FC-634C-4FF5-AA4B-94C41D368C2A}" type="datetime'''''''''''0''''''''''''''''''''''''''''''''5'">
              <a:rPr lang="ja-JP" altLang="en-US" sz="1000" smtClean="0"/>
              <a:pPr/>
              <a:t>05</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5DDF3841-B466-96A9-4077-30137FD35BDE}"/>
              </a:ext>
            </a:extLst>
          </p:cNvPr>
          <p:cNvSpPr>
            <a:spLocks noGrp="1"/>
          </p:cNvSpPr>
          <p:nvPr>
            <p:custDataLst>
              <p:tags r:id="rId9"/>
            </p:custDataLst>
          </p:nvPr>
        </p:nvSpPr>
        <p:spPr bwMode="auto">
          <a:xfrm>
            <a:off x="31877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2A99A-9CC1-4819-B86C-C8D2EE9B9721}" type="datetime'''''''0''''''''''''''''''''''''6'''''''''''''''">
              <a:rPr lang="ja-JP" altLang="en-US" sz="1000" smtClean="0"/>
              <a:pPr/>
              <a:t>06</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1951F0FF-0C9D-318D-FF0D-16F85F2AC2B3}"/>
              </a:ext>
            </a:extLst>
          </p:cNvPr>
          <p:cNvSpPr>
            <a:spLocks noGrp="1"/>
          </p:cNvSpPr>
          <p:nvPr>
            <p:custDataLst>
              <p:tags r:id="rId10"/>
            </p:custDataLst>
          </p:nvPr>
        </p:nvSpPr>
        <p:spPr bwMode="auto">
          <a:xfrm>
            <a:off x="35306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597353-9599-444E-B74C-5A8A11727B38}" type="datetime'''0''''''''''''''''''''''''''''''''7'''''''''''''''''''''''">
              <a:rPr lang="ja-JP" altLang="en-US" sz="1000" smtClean="0"/>
              <a:pPr/>
              <a:t>07</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BD3BBD57-3F04-FAA6-88AD-368FB7318156}"/>
              </a:ext>
            </a:extLst>
          </p:cNvPr>
          <p:cNvSpPr>
            <a:spLocks noGrp="1"/>
          </p:cNvSpPr>
          <p:nvPr>
            <p:custDataLst>
              <p:tags r:id="rId11"/>
            </p:custDataLst>
          </p:nvPr>
        </p:nvSpPr>
        <p:spPr bwMode="auto">
          <a:xfrm>
            <a:off x="38750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FB45D4-C481-458D-B83F-5A6A3F95AEEA}" type="datetime'''''0''''''''''''''''''''''''''''''''''''''''''''8'''''">
              <a:rPr lang="ja-JP" altLang="en-US" sz="1000" smtClean="0"/>
              <a:pPr/>
              <a:t>08</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2D1B2A2D-538A-4873-D0AC-5676FD07EB50}"/>
              </a:ext>
            </a:extLst>
          </p:cNvPr>
          <p:cNvSpPr>
            <a:spLocks noGrp="1"/>
          </p:cNvSpPr>
          <p:nvPr>
            <p:custDataLst>
              <p:tags r:id="rId12"/>
            </p:custDataLst>
          </p:nvPr>
        </p:nvSpPr>
        <p:spPr bwMode="auto">
          <a:xfrm>
            <a:off x="42179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82F765-D77E-48D1-A5E1-4D85C9276864}" type="datetime'''''''''''''''''''''0''''''''9'''''''''''''''''''''''''">
              <a:rPr lang="ja-JP" altLang="en-US" sz="1000" smtClean="0"/>
              <a:pPr/>
              <a:t>09</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28F7F2BD-0C48-3A14-DEA8-54B29D8D0390}"/>
              </a:ext>
            </a:extLst>
          </p:cNvPr>
          <p:cNvSpPr>
            <a:spLocks noGrp="1"/>
          </p:cNvSpPr>
          <p:nvPr>
            <p:custDataLst>
              <p:tags r:id="rId13"/>
            </p:custDataLst>
          </p:nvPr>
        </p:nvSpPr>
        <p:spPr bwMode="auto">
          <a:xfrm>
            <a:off x="45608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B1026-BEB1-44CA-AB6F-B574714A536D}" type="datetime'1''''''''''''''''''''''''''''''''''''''''''''0'''''''''">
              <a:rPr lang="ja-JP" altLang="en-US" sz="1000" smtClean="0"/>
              <a:pPr/>
              <a:t>10</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00B90E23-F8CF-0DBD-B544-74D1ADFBFE0F}"/>
              </a:ext>
            </a:extLst>
          </p:cNvPr>
          <p:cNvSpPr>
            <a:spLocks noGrp="1"/>
          </p:cNvSpPr>
          <p:nvPr>
            <p:custDataLst>
              <p:tags r:id="rId14"/>
            </p:custDataLst>
          </p:nvPr>
        </p:nvSpPr>
        <p:spPr bwMode="auto">
          <a:xfrm>
            <a:off x="49053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DF8E3-DF69-455A-81F9-5B4B442C4673}" type="datetime'''''''''''1''''''''''''''''''''1'''''''">
              <a:rPr lang="ja-JP" altLang="en-US" sz="1000" smtClean="0"/>
              <a:pPr/>
              <a:t>11</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5504180F-E1C0-2999-8156-5C6500DF2884}"/>
              </a:ext>
            </a:extLst>
          </p:cNvPr>
          <p:cNvSpPr>
            <a:spLocks noGrp="1"/>
          </p:cNvSpPr>
          <p:nvPr>
            <p:custDataLst>
              <p:tags r:id="rId15"/>
            </p:custDataLst>
          </p:nvPr>
        </p:nvSpPr>
        <p:spPr bwMode="auto">
          <a:xfrm>
            <a:off x="52482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0CBE50-C28D-4D39-A45B-AFBF47980CB9}" type="datetime'''''''''''''''''''1''''''''''2'''''''''''''''''''''">
              <a:rPr lang="ja-JP" altLang="en-US" sz="1000" smtClean="0"/>
              <a:pPr/>
              <a:t>12</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38CDA7A8-933E-B825-2FDB-FA7E4A193B00}"/>
              </a:ext>
            </a:extLst>
          </p:cNvPr>
          <p:cNvSpPr>
            <a:spLocks noGrp="1"/>
          </p:cNvSpPr>
          <p:nvPr>
            <p:custDataLst>
              <p:tags r:id="rId16"/>
            </p:custDataLst>
          </p:nvPr>
        </p:nvSpPr>
        <p:spPr bwMode="auto">
          <a:xfrm>
            <a:off x="55911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7564C6-A6CB-430B-A85A-27E5D20D2898}" type="datetime'''''''''''''''''''''''''''''''''''''''1''''''''''3'''''''''''">
              <a:rPr lang="ja-JP" altLang="en-US" sz="1000" smtClean="0"/>
              <a:pPr/>
              <a:t>13</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0C2F3E4E-CBFB-4AC1-3843-D849D354A44F}"/>
              </a:ext>
            </a:extLst>
          </p:cNvPr>
          <p:cNvSpPr>
            <a:spLocks noGrp="1"/>
          </p:cNvSpPr>
          <p:nvPr>
            <p:custDataLst>
              <p:tags r:id="rId17"/>
            </p:custDataLst>
          </p:nvPr>
        </p:nvSpPr>
        <p:spPr bwMode="auto">
          <a:xfrm>
            <a:off x="59340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E371A4-31C7-4CE3-B790-2A0B78F58A38}" type="datetime'''''''''''''''''''''''''''''''''''''''''1''''4'''''''''">
              <a:rPr lang="ja-JP" altLang="en-US" sz="1000" smtClean="0"/>
              <a:pPr/>
              <a:t>14</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F5C294B7-D726-642E-9786-7FB05FC9D1CB}"/>
              </a:ext>
            </a:extLst>
          </p:cNvPr>
          <p:cNvSpPr>
            <a:spLocks noGrp="1"/>
          </p:cNvSpPr>
          <p:nvPr>
            <p:custDataLst>
              <p:tags r:id="rId18"/>
            </p:custDataLst>
          </p:nvPr>
        </p:nvSpPr>
        <p:spPr bwMode="auto">
          <a:xfrm>
            <a:off x="62785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B98086-8668-40C9-A598-F1FA4D0670F6}" type="datetime'''''''''''''''''''''''''''''1''''''''''''''''''''''''''''5'">
              <a:rPr lang="ja-JP" altLang="en-US" sz="1000" smtClean="0"/>
              <a:pPr/>
              <a:t>15</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55F5266B-C16A-7B07-5718-7F83A2F18619}"/>
              </a:ext>
            </a:extLst>
          </p:cNvPr>
          <p:cNvSpPr>
            <a:spLocks noGrp="1"/>
          </p:cNvSpPr>
          <p:nvPr>
            <p:custDataLst>
              <p:tags r:id="rId19"/>
            </p:custDataLst>
          </p:nvPr>
        </p:nvSpPr>
        <p:spPr bwMode="auto">
          <a:xfrm>
            <a:off x="66214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4C8C1-7620-4C07-9FAF-38BECAB0FDC2}" type="datetime'''''1''''''6'''''''''''''''''''''''''''">
              <a:rPr lang="ja-JP" altLang="en-US" sz="1000" smtClean="0"/>
              <a:pPr/>
              <a:t>16</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607DA677-36C0-D8EA-8B60-335A978C37BE}"/>
              </a:ext>
            </a:extLst>
          </p:cNvPr>
          <p:cNvSpPr>
            <a:spLocks noGrp="1"/>
          </p:cNvSpPr>
          <p:nvPr>
            <p:custDataLst>
              <p:tags r:id="rId20"/>
            </p:custDataLst>
          </p:nvPr>
        </p:nvSpPr>
        <p:spPr bwMode="auto">
          <a:xfrm>
            <a:off x="69643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4CE904-A96D-4689-B7B2-D7D5A56D4C84}" type="datetime'1''''''''''''''''''7'''''''''''''''''''''''''''''''''''''">
              <a:rPr lang="ja-JP" altLang="en-US" sz="1000" smtClean="0"/>
              <a:pPr/>
              <a:t>17</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92AD0FDB-1F38-6836-9532-8664DD765B29}"/>
              </a:ext>
            </a:extLst>
          </p:cNvPr>
          <p:cNvSpPr>
            <a:spLocks noGrp="1"/>
          </p:cNvSpPr>
          <p:nvPr>
            <p:custDataLst>
              <p:tags r:id="rId21"/>
            </p:custDataLst>
          </p:nvPr>
        </p:nvSpPr>
        <p:spPr bwMode="auto">
          <a:xfrm>
            <a:off x="73088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043130-16F6-4EFD-8B9C-CDF4398B5B9B}" type="datetime'''''''''''''''''''''''''''''''1''8'''''''">
              <a:rPr lang="ja-JP" altLang="en-US" sz="1000" smtClean="0"/>
              <a:pPr/>
              <a:t>18</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A2BFBF19-57DB-93FE-8AA4-D39D6A58947A}"/>
              </a:ext>
            </a:extLst>
          </p:cNvPr>
          <p:cNvSpPr>
            <a:spLocks noGrp="1"/>
          </p:cNvSpPr>
          <p:nvPr>
            <p:custDataLst>
              <p:tags r:id="rId22"/>
            </p:custDataLst>
          </p:nvPr>
        </p:nvSpPr>
        <p:spPr bwMode="auto">
          <a:xfrm>
            <a:off x="76517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CF83C-2449-498C-9ABA-DF5D17C83B77}" type="datetime'''''1''''''''''''''''''''''''''9'''''''''''''''">
              <a:rPr lang="ja-JP" altLang="en-US" sz="1000" smtClean="0"/>
              <a:pPr/>
              <a:t>19</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459FF980-8CF7-EE06-44AA-0A4B9795F624}"/>
              </a:ext>
            </a:extLst>
          </p:cNvPr>
          <p:cNvSpPr>
            <a:spLocks noGrp="1"/>
          </p:cNvSpPr>
          <p:nvPr>
            <p:custDataLst>
              <p:tags r:id="rId23"/>
            </p:custDataLst>
          </p:nvPr>
        </p:nvSpPr>
        <p:spPr bwMode="auto">
          <a:xfrm>
            <a:off x="79946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7E29D1-E09B-4632-BBF5-CDDFEC130AAA}" type="datetime'''''''''''20'''''''''''''''">
              <a:rPr lang="ja-JP" altLang="en-US" sz="1000" smtClean="0"/>
              <a:pPr/>
              <a:t>20</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D6C5BE17-1ECB-DE8B-A6DD-0834B1198E57}"/>
              </a:ext>
            </a:extLst>
          </p:cNvPr>
          <p:cNvSpPr>
            <a:spLocks noGrp="1"/>
          </p:cNvSpPr>
          <p:nvPr>
            <p:custDataLst>
              <p:tags r:id="rId24"/>
            </p:custDataLst>
          </p:nvPr>
        </p:nvSpPr>
        <p:spPr bwMode="auto">
          <a:xfrm>
            <a:off x="83375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D23BE4-0F6D-4A95-9306-F497ECC12217}" type="datetime'''''''''21'''''''''''''''''''''''''''">
              <a:rPr lang="ja-JP" altLang="en-US" sz="1000" smtClean="0"/>
              <a:pPr/>
              <a:t>21</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633E2FE7-E093-DC14-91CE-6871709774CE}"/>
              </a:ext>
            </a:extLst>
          </p:cNvPr>
          <p:cNvSpPr>
            <a:spLocks noGrp="1"/>
          </p:cNvSpPr>
          <p:nvPr>
            <p:custDataLst>
              <p:tags r:id="rId25"/>
            </p:custDataLst>
          </p:nvPr>
        </p:nvSpPr>
        <p:spPr bwMode="auto">
          <a:xfrm>
            <a:off x="868203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BC062-F886-4D3F-8A93-FA3B6B83AA19}" type="datetime'''''''''2''''''''''''2'''''''''''''''''''''''''''''''''">
              <a:rPr lang="ja-JP" altLang="en-US" sz="1000" smtClean="0"/>
              <a:pPr/>
              <a:t>2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9F6E4143-8AD2-D1E4-42F3-58DF461E715A}"/>
              </a:ext>
            </a:extLst>
          </p:cNvPr>
          <p:cNvSpPr>
            <a:spLocks noGrp="1"/>
          </p:cNvSpPr>
          <p:nvPr>
            <p:custDataLst>
              <p:tags r:id="rId26"/>
            </p:custDataLst>
          </p:nvPr>
        </p:nvSpPr>
        <p:spPr bwMode="auto">
          <a:xfrm>
            <a:off x="902493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DEE92B-1081-4AE9-B18D-B59BA51D76A7}" type="datetime'''''''''''''''''''''2''''''''''''''''''''''''3'''''">
              <a:rPr lang="ja-JP" altLang="en-US" sz="1000" smtClean="0"/>
              <a:pPr/>
              <a:t>23</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28A04515-3BE3-7700-E9E9-4DCE2796D6CD}"/>
              </a:ext>
            </a:extLst>
          </p:cNvPr>
          <p:cNvSpPr>
            <a:spLocks noGrp="1"/>
          </p:cNvSpPr>
          <p:nvPr>
            <p:custDataLst>
              <p:tags r:id="rId27"/>
            </p:custDataLst>
          </p:nvPr>
        </p:nvSpPr>
        <p:spPr bwMode="gray">
          <a:xfrm>
            <a:off x="1028699" y="51133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6760CF-E77E-42F3-BDF9-3B38AD0A3CFB}" type="datetime'''''''''''''''''''''''17''.''''0''''''''''''''''''''''''4'''">
              <a:rPr lang="ja-JP" altLang="en-US" sz="1000" smtClean="0">
                <a:solidFill>
                  <a:schemeClr val="bg1"/>
                </a:solidFill>
              </a:rPr>
              <a:pPr/>
              <a:t>17.04</a:t>
            </a:fld>
            <a:endParaRPr kumimoji="1" lang="ja-JP" altLang="en-US" sz="1000" dirty="0">
              <a:solidFill>
                <a:schemeClr val="bg1"/>
              </a:solidFill>
              <a:sym typeface="+mn-lt"/>
            </a:endParaRPr>
          </a:p>
        </p:txBody>
      </p:sp>
      <p:sp>
        <p:nvSpPr>
          <p:cNvPr id="154" name="テキスト プレースホルダ 9">
            <a:extLst>
              <a:ext uri="{FF2B5EF4-FFF2-40B4-BE49-F238E27FC236}">
                <a16:creationId xmlns:a16="http://schemas.microsoft.com/office/drawing/2014/main" id="{C23AE68F-CDBE-ADE5-74E4-8BFFDB31504F}"/>
              </a:ext>
            </a:extLst>
          </p:cNvPr>
          <p:cNvSpPr>
            <a:spLocks noGrp="1"/>
          </p:cNvSpPr>
          <p:nvPr>
            <p:custDataLst>
              <p:tags r:id="rId28"/>
            </p:custDataLst>
          </p:nvPr>
        </p:nvSpPr>
        <p:spPr bwMode="gray">
          <a:xfrm>
            <a:off x="1373188" y="51165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D1F8B3-6ABA-40A1-AB1A-9236C3A0AE78}" type="datetime'''16''''''''''''''.''''''9''''9'''''''''''''''''''''''">
              <a:rPr lang="ja-JP" altLang="en-US" sz="1000" smtClean="0">
                <a:solidFill>
                  <a:schemeClr val="bg1"/>
                </a:solidFill>
                <a:effectLst/>
                <a:sym typeface="+mn-lt"/>
              </a:rPr>
              <a:pPr marL="0" lvl="0" indent="0" algn="ctr">
                <a:spcBef>
                  <a:spcPct val="0"/>
                </a:spcBef>
                <a:buNone/>
              </a:pPr>
              <a:t>16.99</a:t>
            </a:fld>
            <a:endParaRPr kumimoji="1" lang="ja-JP" altLang="en-US" sz="1000" dirty="0">
              <a:solidFill>
                <a:schemeClr val="bg1"/>
              </a:solidFill>
              <a:sym typeface="+mn-lt"/>
            </a:endParaRPr>
          </a:p>
        </p:txBody>
      </p:sp>
      <p:sp>
        <p:nvSpPr>
          <p:cNvPr id="155" name="テキスト プレースホルダ 9">
            <a:extLst>
              <a:ext uri="{FF2B5EF4-FFF2-40B4-BE49-F238E27FC236}">
                <a16:creationId xmlns:a16="http://schemas.microsoft.com/office/drawing/2014/main" id="{EA8FEAF3-BC87-FDBA-E5E8-D5DF90D487B3}"/>
              </a:ext>
            </a:extLst>
          </p:cNvPr>
          <p:cNvSpPr>
            <a:spLocks noGrp="1"/>
          </p:cNvSpPr>
          <p:nvPr>
            <p:custDataLst>
              <p:tags r:id="rId29"/>
            </p:custDataLst>
          </p:nvPr>
        </p:nvSpPr>
        <p:spPr bwMode="gray">
          <a:xfrm>
            <a:off x="1716088" y="51419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E92E61-E03E-49DE-95A8-968EB5B8EBC5}" type="datetime'''''1''''''''''6''.''''''''''5''''''''''''''''''''''''''''2'">
              <a:rPr lang="ja-JP" altLang="en-US" sz="1000" smtClean="0">
                <a:solidFill>
                  <a:schemeClr val="bg1"/>
                </a:solidFill>
                <a:effectLst/>
                <a:sym typeface="+mn-lt"/>
              </a:rPr>
              <a:pPr marL="0" lvl="0" indent="0" algn="ctr">
                <a:spcBef>
                  <a:spcPct val="0"/>
                </a:spcBef>
                <a:buNone/>
              </a:pPr>
              <a:t>16.52</a:t>
            </a:fld>
            <a:endParaRPr kumimoji="1" lang="ja-JP" altLang="en-US" sz="1000" dirty="0">
              <a:solidFill>
                <a:schemeClr val="bg1"/>
              </a:solidFill>
              <a:sym typeface="+mn-lt"/>
            </a:endParaRPr>
          </a:p>
        </p:txBody>
      </p:sp>
      <p:sp>
        <p:nvSpPr>
          <p:cNvPr id="156" name="テキスト プレースホルダ 9">
            <a:extLst>
              <a:ext uri="{FF2B5EF4-FFF2-40B4-BE49-F238E27FC236}">
                <a16:creationId xmlns:a16="http://schemas.microsoft.com/office/drawing/2014/main" id="{5ADAC402-6880-0521-407A-4A43A0720059}"/>
              </a:ext>
            </a:extLst>
          </p:cNvPr>
          <p:cNvSpPr>
            <a:spLocks noGrp="1"/>
          </p:cNvSpPr>
          <p:nvPr>
            <p:custDataLst>
              <p:tags r:id="rId30"/>
            </p:custDataLst>
          </p:nvPr>
        </p:nvSpPr>
        <p:spPr bwMode="gray">
          <a:xfrm>
            <a:off x="2058988" y="506730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735244-3E76-4FD4-A0F9-CD3611594F25}" type="datetime'''1''7''''.9''''''''''''''''''''''''3'''''''''''''''''''">
              <a:rPr lang="ja-JP" altLang="en-US" sz="1000" smtClean="0">
                <a:solidFill>
                  <a:schemeClr val="bg1"/>
                </a:solidFill>
                <a:effectLst/>
                <a:sym typeface="+mn-lt"/>
              </a:rPr>
              <a:pPr marL="0" lvl="0" indent="0" algn="ctr">
                <a:spcBef>
                  <a:spcPct val="0"/>
                </a:spcBef>
                <a:buNone/>
              </a:pPr>
              <a:t>17.93</a:t>
            </a:fld>
            <a:endParaRPr kumimoji="1" lang="ja-JP" altLang="en-US" sz="1000" dirty="0">
              <a:solidFill>
                <a:schemeClr val="bg1"/>
              </a:solidFill>
              <a:sym typeface="+mn-lt"/>
            </a:endParaRPr>
          </a:p>
        </p:txBody>
      </p:sp>
      <p:sp>
        <p:nvSpPr>
          <p:cNvPr id="171" name="テキスト プレースホルダ 9">
            <a:extLst>
              <a:ext uri="{FF2B5EF4-FFF2-40B4-BE49-F238E27FC236}">
                <a16:creationId xmlns:a16="http://schemas.microsoft.com/office/drawing/2014/main" id="{A577A3DC-8531-951C-8351-D080537FA5AA}"/>
              </a:ext>
            </a:extLst>
          </p:cNvPr>
          <p:cNvSpPr>
            <a:spLocks noGrp="1"/>
          </p:cNvSpPr>
          <p:nvPr>
            <p:custDataLst>
              <p:tags r:id="rId31"/>
            </p:custDataLst>
          </p:nvPr>
        </p:nvSpPr>
        <p:spPr bwMode="gray">
          <a:xfrm>
            <a:off x="2401888" y="50387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D1E28-CAD8-4B7F-A82E-7DD5874D7F29}" type="datetime'''''''''''''''''1''''''8''.4''8'''''''''''">
              <a:rPr lang="ja-JP" altLang="en-US" sz="1000" smtClean="0">
                <a:solidFill>
                  <a:schemeClr val="bg1"/>
                </a:solidFill>
                <a:effectLst/>
                <a:sym typeface="+mn-lt"/>
              </a:rPr>
              <a:pPr marL="0" lvl="0" indent="0" algn="ctr">
                <a:spcBef>
                  <a:spcPct val="0"/>
                </a:spcBef>
                <a:buNone/>
              </a:pPr>
              <a:t>18.48</a:t>
            </a:fld>
            <a:endParaRPr kumimoji="1" lang="ja-JP" altLang="en-US" sz="1000" dirty="0">
              <a:solidFill>
                <a:schemeClr val="bg1"/>
              </a:solidFill>
              <a:sym typeface="+mn-lt"/>
            </a:endParaRPr>
          </a:p>
        </p:txBody>
      </p:sp>
      <p:sp>
        <p:nvSpPr>
          <p:cNvPr id="173" name="テキスト プレースホルダ 9">
            <a:extLst>
              <a:ext uri="{FF2B5EF4-FFF2-40B4-BE49-F238E27FC236}">
                <a16:creationId xmlns:a16="http://schemas.microsoft.com/office/drawing/2014/main" id="{BB63D45C-6AAD-1469-AB85-131E23E1E040}"/>
              </a:ext>
            </a:extLst>
          </p:cNvPr>
          <p:cNvSpPr>
            <a:spLocks noGrp="1"/>
          </p:cNvSpPr>
          <p:nvPr>
            <p:custDataLst>
              <p:tags r:id="rId32"/>
            </p:custDataLst>
          </p:nvPr>
        </p:nvSpPr>
        <p:spPr bwMode="gray">
          <a:xfrm>
            <a:off x="2746375" y="499745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13A08-8842-4B7E-8A17-53DED950A826}" type="datetime'''''''''''''1''''''''''''''9''.2''''''4'''''''">
              <a:rPr lang="ja-JP" altLang="en-US" sz="1000" smtClean="0">
                <a:solidFill>
                  <a:schemeClr val="bg1"/>
                </a:solidFill>
                <a:effectLst/>
                <a:sym typeface="+mn-lt"/>
              </a:rPr>
              <a:pPr marL="0" lvl="0" indent="0" algn="ctr">
                <a:spcBef>
                  <a:spcPct val="0"/>
                </a:spcBef>
                <a:buNone/>
              </a:pPr>
              <a:t>19.24</a:t>
            </a:fld>
            <a:endParaRPr kumimoji="1" lang="ja-JP" altLang="en-US" sz="1000" dirty="0">
              <a:solidFill>
                <a:schemeClr val="bg1"/>
              </a:solidFill>
              <a:sym typeface="+mn-lt"/>
            </a:endParaRPr>
          </a:p>
        </p:txBody>
      </p:sp>
      <p:sp>
        <p:nvSpPr>
          <p:cNvPr id="175" name="テキスト プレースホルダ 9">
            <a:extLst>
              <a:ext uri="{FF2B5EF4-FFF2-40B4-BE49-F238E27FC236}">
                <a16:creationId xmlns:a16="http://schemas.microsoft.com/office/drawing/2014/main" id="{50710A89-5806-438A-7F50-7A51200941AE}"/>
              </a:ext>
            </a:extLst>
          </p:cNvPr>
          <p:cNvSpPr>
            <a:spLocks noGrp="1"/>
          </p:cNvSpPr>
          <p:nvPr>
            <p:custDataLst>
              <p:tags r:id="rId33"/>
            </p:custDataLst>
          </p:nvPr>
        </p:nvSpPr>
        <p:spPr bwMode="gray">
          <a:xfrm>
            <a:off x="3089275" y="49387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5D0311-57DD-4532-AD69-59263DA45E17}" type="datetime'''''''2''''''''''''''''0''''''''''''.''''''3''''6'''''''">
              <a:rPr lang="ja-JP" altLang="en-US" sz="1000" smtClean="0">
                <a:solidFill>
                  <a:schemeClr val="bg1"/>
                </a:solidFill>
                <a:effectLst/>
                <a:sym typeface="+mn-lt"/>
              </a:rPr>
              <a:pPr marL="0" lvl="0" indent="0" algn="ctr">
                <a:spcBef>
                  <a:spcPct val="0"/>
                </a:spcBef>
                <a:buNone/>
              </a:pPr>
              <a:t>20.36</a:t>
            </a:fld>
            <a:endParaRPr kumimoji="1" lang="ja-JP" altLang="en-US" sz="1000" dirty="0">
              <a:solidFill>
                <a:schemeClr val="bg1"/>
              </a:solidFill>
              <a:sym typeface="+mn-lt"/>
            </a:endParaRPr>
          </a:p>
        </p:txBody>
      </p:sp>
      <p:sp>
        <p:nvSpPr>
          <p:cNvPr id="178" name="テキスト プレースホルダ 9">
            <a:extLst>
              <a:ext uri="{FF2B5EF4-FFF2-40B4-BE49-F238E27FC236}">
                <a16:creationId xmlns:a16="http://schemas.microsoft.com/office/drawing/2014/main" id="{17331774-5747-5DC5-E440-03B8781016A0}"/>
              </a:ext>
            </a:extLst>
          </p:cNvPr>
          <p:cNvSpPr>
            <a:spLocks noGrp="1"/>
          </p:cNvSpPr>
          <p:nvPr>
            <p:custDataLst>
              <p:tags r:id="rId34"/>
            </p:custDataLst>
          </p:nvPr>
        </p:nvSpPr>
        <p:spPr bwMode="gray">
          <a:xfrm>
            <a:off x="3432175" y="487680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53B4F-F493-4172-B7E1-E6AB86A5D68B}" type="datetime'''''2''''''''''1''''''''''.''''''5''''''''''4'''''''''''">
              <a:rPr lang="ja-JP" altLang="en-US" sz="1000" smtClean="0">
                <a:solidFill>
                  <a:schemeClr val="bg1"/>
                </a:solidFill>
                <a:effectLst/>
                <a:sym typeface="+mn-lt"/>
              </a:rPr>
              <a:pPr marL="0" lvl="0" indent="0" algn="ctr">
                <a:spcBef>
                  <a:spcPct val="0"/>
                </a:spcBef>
                <a:buNone/>
              </a:pPr>
              <a:t>21.54</a:t>
            </a:fld>
            <a:endParaRPr kumimoji="1" lang="ja-JP" altLang="en-US" sz="1000" dirty="0">
              <a:solidFill>
                <a:schemeClr val="bg1"/>
              </a:solidFill>
              <a:sym typeface="+mn-lt"/>
            </a:endParaRPr>
          </a:p>
        </p:txBody>
      </p:sp>
      <p:sp>
        <p:nvSpPr>
          <p:cNvPr id="179" name="テキスト プレースホルダ 9">
            <a:extLst>
              <a:ext uri="{FF2B5EF4-FFF2-40B4-BE49-F238E27FC236}">
                <a16:creationId xmlns:a16="http://schemas.microsoft.com/office/drawing/2014/main" id="{A5D130E3-CEBE-4F55-EFE8-46922BCFC4EB}"/>
              </a:ext>
            </a:extLst>
          </p:cNvPr>
          <p:cNvSpPr>
            <a:spLocks noGrp="1"/>
          </p:cNvSpPr>
          <p:nvPr>
            <p:custDataLst>
              <p:tags r:id="rId35"/>
            </p:custDataLst>
          </p:nvPr>
        </p:nvSpPr>
        <p:spPr bwMode="gray">
          <a:xfrm>
            <a:off x="3776663" y="47974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60E82D-4478-4ED2-83BF-2D33718B8E67}" type="datetime'''''''2''''''''''''''''''''''''''''''''''''''''''3.0''''1'">
              <a:rPr lang="ja-JP" altLang="en-US" sz="1000" smtClean="0">
                <a:solidFill>
                  <a:schemeClr val="bg1"/>
                </a:solidFill>
                <a:effectLst/>
                <a:sym typeface="+mn-lt"/>
              </a:rPr>
              <a:pPr marL="0" lvl="0" indent="0" algn="ctr">
                <a:spcBef>
                  <a:spcPct val="0"/>
                </a:spcBef>
                <a:buNone/>
              </a:pPr>
              <a:t>23.01</a:t>
            </a:fld>
            <a:endParaRPr kumimoji="1" lang="ja-JP" altLang="en-US" sz="1000" dirty="0">
              <a:solidFill>
                <a:schemeClr val="bg1"/>
              </a:solidFill>
              <a:sym typeface="+mn-lt"/>
            </a:endParaRPr>
          </a:p>
        </p:txBody>
      </p:sp>
      <p:sp>
        <p:nvSpPr>
          <p:cNvPr id="180" name="テキスト プレースホルダ 9">
            <a:extLst>
              <a:ext uri="{FF2B5EF4-FFF2-40B4-BE49-F238E27FC236}">
                <a16:creationId xmlns:a16="http://schemas.microsoft.com/office/drawing/2014/main" id="{1F09D6F7-14E9-C24A-B6EB-7A0579D9AB35}"/>
              </a:ext>
            </a:extLst>
          </p:cNvPr>
          <p:cNvSpPr>
            <a:spLocks noGrp="1"/>
          </p:cNvSpPr>
          <p:nvPr>
            <p:custDataLst>
              <p:tags r:id="rId36"/>
            </p:custDataLst>
          </p:nvPr>
        </p:nvSpPr>
        <p:spPr bwMode="gray">
          <a:xfrm>
            <a:off x="4119563" y="47323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B99164-2468-4CC7-9345-DA7B6B9A8914}" type="datetime'''''''''''24''''''''''.''''''''''2''4'''''''''''''''''''">
              <a:rPr lang="ja-JP" altLang="en-US" sz="1000" smtClean="0">
                <a:solidFill>
                  <a:schemeClr val="bg1"/>
                </a:solidFill>
                <a:effectLst/>
                <a:sym typeface="+mn-lt"/>
              </a:rPr>
              <a:pPr marL="0" lvl="0" indent="0" algn="ctr">
                <a:spcBef>
                  <a:spcPct val="0"/>
                </a:spcBef>
                <a:buNone/>
              </a:pPr>
              <a:t>24.24</a:t>
            </a:fld>
            <a:endParaRPr kumimoji="1" lang="ja-JP" altLang="en-US" sz="1000" dirty="0">
              <a:solidFill>
                <a:schemeClr val="bg1"/>
              </a:solidFill>
              <a:sym typeface="+mn-lt"/>
            </a:endParaRPr>
          </a:p>
        </p:txBody>
      </p:sp>
      <p:sp>
        <p:nvSpPr>
          <p:cNvPr id="181" name="テキスト プレースホルダ 9">
            <a:extLst>
              <a:ext uri="{FF2B5EF4-FFF2-40B4-BE49-F238E27FC236}">
                <a16:creationId xmlns:a16="http://schemas.microsoft.com/office/drawing/2014/main" id="{D19CCA90-BCC8-066B-102D-55EA6EF283C4}"/>
              </a:ext>
            </a:extLst>
          </p:cNvPr>
          <p:cNvSpPr>
            <a:spLocks noGrp="1"/>
          </p:cNvSpPr>
          <p:nvPr>
            <p:custDataLst>
              <p:tags r:id="rId37"/>
            </p:custDataLst>
          </p:nvPr>
        </p:nvSpPr>
        <p:spPr bwMode="gray">
          <a:xfrm>
            <a:off x="4462463" y="46688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5547E-EC6A-451F-9EAB-839C7032DD4F}" type="datetime'''''''''2''''''''''''''''''''5''.4''''''''''5'''''''''''''''''">
              <a:rPr lang="ja-JP" altLang="en-US" sz="1000" smtClean="0">
                <a:solidFill>
                  <a:schemeClr val="bg1"/>
                </a:solidFill>
                <a:effectLst/>
                <a:sym typeface="+mn-lt"/>
              </a:rPr>
              <a:pPr marL="0" lvl="0" indent="0" algn="ctr">
                <a:spcBef>
                  <a:spcPct val="0"/>
                </a:spcBef>
                <a:buNone/>
              </a:pPr>
              <a:t>25.45</a:t>
            </a:fld>
            <a:endParaRPr kumimoji="1" lang="ja-JP" altLang="en-US" sz="1000" dirty="0">
              <a:solidFill>
                <a:schemeClr val="bg1"/>
              </a:solidFill>
              <a:sym typeface="+mn-lt"/>
            </a:endParaRPr>
          </a:p>
        </p:txBody>
      </p:sp>
      <p:sp>
        <p:nvSpPr>
          <p:cNvPr id="182" name="テキスト プレースホルダ 9">
            <a:extLst>
              <a:ext uri="{FF2B5EF4-FFF2-40B4-BE49-F238E27FC236}">
                <a16:creationId xmlns:a16="http://schemas.microsoft.com/office/drawing/2014/main" id="{3920A3B9-740B-7022-37B4-9A544D2DF28E}"/>
              </a:ext>
            </a:extLst>
          </p:cNvPr>
          <p:cNvSpPr>
            <a:spLocks noGrp="1"/>
          </p:cNvSpPr>
          <p:nvPr>
            <p:custDataLst>
              <p:tags r:id="rId38"/>
            </p:custDataLst>
          </p:nvPr>
        </p:nvSpPr>
        <p:spPr bwMode="gray">
          <a:xfrm>
            <a:off x="4806950" y="459898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118F1-5F41-479E-A4ED-FC23531F3C4C}" type="datetime'''''''''''''''2''''''''''''''''''''''''6.''''7''''''''''''7'">
              <a:rPr lang="ja-JP" altLang="en-US" sz="1000" smtClean="0">
                <a:solidFill>
                  <a:schemeClr val="bg1"/>
                </a:solidFill>
                <a:effectLst/>
                <a:sym typeface="+mn-lt"/>
              </a:rPr>
              <a:pPr marL="0" lvl="0" indent="0" algn="ctr">
                <a:spcBef>
                  <a:spcPct val="0"/>
                </a:spcBef>
                <a:buNone/>
              </a:pPr>
              <a:t>26.77</a:t>
            </a:fld>
            <a:endParaRPr kumimoji="1" lang="ja-JP" altLang="en-US" sz="1000" dirty="0">
              <a:solidFill>
                <a:schemeClr val="bg1"/>
              </a:solidFill>
              <a:sym typeface="+mn-lt"/>
            </a:endParaRPr>
          </a:p>
        </p:txBody>
      </p:sp>
      <p:sp>
        <p:nvSpPr>
          <p:cNvPr id="57" name="テキスト プレースホルダ 9">
            <a:extLst>
              <a:ext uri="{FF2B5EF4-FFF2-40B4-BE49-F238E27FC236}">
                <a16:creationId xmlns:a16="http://schemas.microsoft.com/office/drawing/2014/main" id="{B8A8A48C-36F7-170A-0F57-F626B4DB932F}"/>
              </a:ext>
            </a:extLst>
          </p:cNvPr>
          <p:cNvSpPr>
            <a:spLocks noGrp="1"/>
          </p:cNvSpPr>
          <p:nvPr>
            <p:custDataLst>
              <p:tags r:id="rId39"/>
            </p:custDataLst>
          </p:nvPr>
        </p:nvSpPr>
        <p:spPr bwMode="auto">
          <a:xfrm>
            <a:off x="105727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C2967-1E33-475F-8B84-48E73A34B042}" type="datetime'''''''''''''''''''''''2''0''''''''''0''''''''''''''''0'">
              <a:rPr lang="ja-JP" altLang="en-US" sz="1000" smtClean="0"/>
              <a:pPr/>
              <a:t>200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E602B689-C270-0624-3C4B-C0C468198701}"/>
              </a:ext>
            </a:extLst>
          </p:cNvPr>
          <p:cNvSpPr>
            <a:spLocks noGrp="1"/>
          </p:cNvSpPr>
          <p:nvPr>
            <p:custDataLst>
              <p:tags r:id="rId40"/>
            </p:custDataLst>
          </p:nvPr>
        </p:nvSpPr>
        <p:spPr bwMode="gray">
          <a:xfrm>
            <a:off x="5492750" y="449897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1CD28-E911-4216-AF6E-24AC9C146B3E}" type="datetime'''2''''''''''''''''''''''8''''''''''''.''''6''''''5'">
              <a:rPr lang="ja-JP" altLang="en-US" sz="1000" smtClean="0">
                <a:solidFill>
                  <a:schemeClr val="bg1"/>
                </a:solidFill>
                <a:effectLst/>
                <a:sym typeface="+mn-lt"/>
              </a:rPr>
              <a:pPr marL="0" lvl="0" indent="0" algn="ctr">
                <a:spcBef>
                  <a:spcPct val="0"/>
                </a:spcBef>
                <a:buNone/>
              </a:pPr>
              <a:t>28.65</a:t>
            </a:fld>
            <a:endParaRPr kumimoji="1" lang="ja-JP" altLang="en-US" sz="1000" dirty="0">
              <a:solidFill>
                <a:schemeClr val="bg1"/>
              </a:solidFill>
              <a:sym typeface="+mn-lt"/>
            </a:endParaRPr>
          </a:p>
        </p:txBody>
      </p:sp>
      <p:sp>
        <p:nvSpPr>
          <p:cNvPr id="185" name="テキスト プレースホルダ 9">
            <a:extLst>
              <a:ext uri="{FF2B5EF4-FFF2-40B4-BE49-F238E27FC236}">
                <a16:creationId xmlns:a16="http://schemas.microsoft.com/office/drawing/2014/main" id="{CA401F31-66D9-6629-0A32-FDBE17F4ED84}"/>
              </a:ext>
            </a:extLst>
          </p:cNvPr>
          <p:cNvSpPr>
            <a:spLocks noGrp="1"/>
          </p:cNvSpPr>
          <p:nvPr>
            <p:custDataLst>
              <p:tags r:id="rId41"/>
            </p:custDataLst>
          </p:nvPr>
        </p:nvSpPr>
        <p:spPr bwMode="gray">
          <a:xfrm>
            <a:off x="5835650" y="452278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E26CC6-C511-4B32-89F6-67D14BA03575}" type="datetime'''''''''''''''''''''2''''''8''''''''''''''.22'">
              <a:rPr lang="ja-JP" altLang="en-US" sz="1000" smtClean="0">
                <a:solidFill>
                  <a:schemeClr val="bg1"/>
                </a:solidFill>
                <a:effectLst/>
                <a:sym typeface="+mn-lt"/>
              </a:rPr>
              <a:pPr marL="0" lvl="0" indent="0" algn="ctr">
                <a:spcBef>
                  <a:spcPct val="0"/>
                </a:spcBef>
                <a:buNone/>
              </a:pPr>
              <a:t>28.22</a:t>
            </a:fld>
            <a:endParaRPr kumimoji="1" lang="ja-JP" altLang="en-US" sz="1000" dirty="0">
              <a:solidFill>
                <a:schemeClr val="bg1"/>
              </a:solidFill>
              <a:sym typeface="+mn-lt"/>
            </a:endParaRPr>
          </a:p>
        </p:txBody>
      </p:sp>
      <p:sp>
        <p:nvSpPr>
          <p:cNvPr id="186" name="テキスト プレースホルダ 9">
            <a:extLst>
              <a:ext uri="{FF2B5EF4-FFF2-40B4-BE49-F238E27FC236}">
                <a16:creationId xmlns:a16="http://schemas.microsoft.com/office/drawing/2014/main" id="{EF89D044-A951-E1BA-ADC6-5D7D03F59F5D}"/>
              </a:ext>
            </a:extLst>
          </p:cNvPr>
          <p:cNvSpPr>
            <a:spLocks noGrp="1"/>
          </p:cNvSpPr>
          <p:nvPr>
            <p:custDataLst>
              <p:tags r:id="rId42"/>
            </p:custDataLst>
          </p:nvPr>
        </p:nvSpPr>
        <p:spPr bwMode="gray">
          <a:xfrm>
            <a:off x="6180138" y="44672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DF808C-4745-43E1-8EDD-DB77868290F2}" type="datetime'''2''''''''''''''''''''9''''.''2''''''''''''''''''''''''6'''''">
              <a:rPr lang="ja-JP" altLang="en-US" sz="1000" smtClean="0">
                <a:solidFill>
                  <a:schemeClr val="bg1"/>
                </a:solidFill>
                <a:effectLst/>
                <a:sym typeface="+mn-lt"/>
              </a:rPr>
              <a:pPr marL="0" lvl="0" indent="0" algn="ctr">
                <a:spcBef>
                  <a:spcPct val="0"/>
                </a:spcBef>
                <a:buNone/>
              </a:pPr>
              <a:t>29.26</a:t>
            </a:fld>
            <a:endParaRPr kumimoji="1" lang="ja-JP" altLang="en-US" sz="1000" dirty="0">
              <a:solidFill>
                <a:schemeClr val="bg1"/>
              </a:solidFill>
              <a:sym typeface="+mn-lt"/>
            </a:endParaRPr>
          </a:p>
        </p:txBody>
      </p:sp>
      <p:sp>
        <p:nvSpPr>
          <p:cNvPr id="187" name="テキスト プレースホルダ 9">
            <a:extLst>
              <a:ext uri="{FF2B5EF4-FFF2-40B4-BE49-F238E27FC236}">
                <a16:creationId xmlns:a16="http://schemas.microsoft.com/office/drawing/2014/main" id="{27FEB3B3-138D-3F26-8A9C-4A5A8420B18F}"/>
              </a:ext>
            </a:extLst>
          </p:cNvPr>
          <p:cNvSpPr>
            <a:spLocks noGrp="1"/>
          </p:cNvSpPr>
          <p:nvPr>
            <p:custDataLst>
              <p:tags r:id="rId43"/>
            </p:custDataLst>
          </p:nvPr>
        </p:nvSpPr>
        <p:spPr bwMode="gray">
          <a:xfrm>
            <a:off x="6523038" y="445135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93A2AB-91DB-44C4-91F4-55A3AC274126}" type="datetime'''2''''''''9''''''''''''.''''5''''''''''''5'''''''''''">
              <a:rPr lang="ja-JP" altLang="en-US" sz="1000" smtClean="0">
                <a:solidFill>
                  <a:schemeClr val="bg1"/>
                </a:solidFill>
                <a:effectLst/>
                <a:sym typeface="+mn-lt"/>
              </a:rPr>
              <a:pPr marL="0" lvl="0" indent="0" algn="ctr">
                <a:spcBef>
                  <a:spcPct val="0"/>
                </a:spcBef>
                <a:buNone/>
              </a:pPr>
              <a:t>29.55</a:t>
            </a:fld>
            <a:endParaRPr kumimoji="1" lang="ja-JP" altLang="en-US" sz="1000" dirty="0">
              <a:solidFill>
                <a:schemeClr val="bg1"/>
              </a:solidFill>
              <a:sym typeface="+mn-lt"/>
            </a:endParaRPr>
          </a:p>
        </p:txBody>
      </p:sp>
      <p:sp>
        <p:nvSpPr>
          <p:cNvPr id="188" name="テキスト プレースホルダ 9">
            <a:extLst>
              <a:ext uri="{FF2B5EF4-FFF2-40B4-BE49-F238E27FC236}">
                <a16:creationId xmlns:a16="http://schemas.microsoft.com/office/drawing/2014/main" id="{7E5CD2E9-E1A6-5A0E-0C85-22DF2C4254EE}"/>
              </a:ext>
            </a:extLst>
          </p:cNvPr>
          <p:cNvSpPr>
            <a:spLocks noGrp="1"/>
          </p:cNvSpPr>
          <p:nvPr>
            <p:custDataLst>
              <p:tags r:id="rId44"/>
            </p:custDataLst>
          </p:nvPr>
        </p:nvSpPr>
        <p:spPr bwMode="gray">
          <a:xfrm>
            <a:off x="6865938" y="44545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869BA2-3702-48F6-B84F-0C17CEF5A9B7}" type="datetime'2''''''''''''9''''.''''5''''''''''''''''''''''''1'''">
              <a:rPr lang="ja-JP" altLang="en-US" sz="1000" smtClean="0">
                <a:solidFill>
                  <a:schemeClr val="bg1"/>
                </a:solidFill>
                <a:effectLst/>
                <a:sym typeface="+mn-lt"/>
              </a:rPr>
              <a:pPr marL="0" lvl="0" indent="0" algn="ctr">
                <a:spcBef>
                  <a:spcPct val="0"/>
                </a:spcBef>
                <a:buNone/>
              </a:pPr>
              <a:t>29.51</a:t>
            </a:fld>
            <a:endParaRPr kumimoji="1" lang="ja-JP" altLang="en-US" sz="1000" dirty="0">
              <a:solidFill>
                <a:schemeClr val="bg1"/>
              </a:solidFill>
              <a:sym typeface="+mn-lt"/>
            </a:endParaRPr>
          </a:p>
        </p:txBody>
      </p:sp>
      <p:sp>
        <p:nvSpPr>
          <p:cNvPr id="183" name="テキスト プレースホルダ 9">
            <a:extLst>
              <a:ext uri="{FF2B5EF4-FFF2-40B4-BE49-F238E27FC236}">
                <a16:creationId xmlns:a16="http://schemas.microsoft.com/office/drawing/2014/main" id="{946BE754-E999-270F-3656-57B4BA743AD1}"/>
              </a:ext>
            </a:extLst>
          </p:cNvPr>
          <p:cNvSpPr>
            <a:spLocks noGrp="1"/>
          </p:cNvSpPr>
          <p:nvPr>
            <p:custDataLst>
              <p:tags r:id="rId45"/>
            </p:custDataLst>
          </p:nvPr>
        </p:nvSpPr>
        <p:spPr bwMode="gray">
          <a:xfrm>
            <a:off x="5149850" y="45545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D0CF25-9132-4744-B1BE-E0B8B28E8CF6}" type="datetime'''''''''''2''''''''7''''''''''''''''.''''''''''''''6''''1'">
              <a:rPr lang="ja-JP" altLang="en-US" sz="1000" smtClean="0">
                <a:solidFill>
                  <a:schemeClr val="bg1"/>
                </a:solidFill>
                <a:effectLst/>
                <a:sym typeface="+mn-lt"/>
              </a:rPr>
              <a:pPr marL="0" lvl="0" indent="0" algn="ctr">
                <a:spcBef>
                  <a:spcPct val="0"/>
                </a:spcBef>
                <a:buNone/>
              </a:pPr>
              <a:t>27.61</a:t>
            </a:fld>
            <a:endParaRPr kumimoji="1" lang="ja-JP" altLang="en-US" sz="1000" dirty="0">
              <a:solidFill>
                <a:schemeClr val="bg1"/>
              </a:solidFill>
              <a:sym typeface="+mn-lt"/>
            </a:endParaRPr>
          </a:p>
        </p:txBody>
      </p:sp>
      <p:sp>
        <p:nvSpPr>
          <p:cNvPr id="190" name="テキスト プレースホルダ 9">
            <a:extLst>
              <a:ext uri="{FF2B5EF4-FFF2-40B4-BE49-F238E27FC236}">
                <a16:creationId xmlns:a16="http://schemas.microsoft.com/office/drawing/2014/main" id="{46BE332E-AD3C-AE66-3475-4F7B823C3D9C}"/>
              </a:ext>
            </a:extLst>
          </p:cNvPr>
          <p:cNvSpPr>
            <a:spLocks noGrp="1"/>
          </p:cNvSpPr>
          <p:nvPr>
            <p:custDataLst>
              <p:tags r:id="rId46"/>
            </p:custDataLst>
          </p:nvPr>
        </p:nvSpPr>
        <p:spPr bwMode="gray">
          <a:xfrm>
            <a:off x="7553325" y="437197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13439-4EB5-4368-9B6F-A06E709C6A98}" type="datetime'3''''''''''''''''''''''''''''''1''''''''''.''''''0''''''''6'''">
              <a:rPr lang="ja-JP" altLang="en-US" sz="1000" smtClean="0">
                <a:solidFill>
                  <a:schemeClr val="bg1"/>
                </a:solidFill>
                <a:effectLst/>
                <a:sym typeface="+mn-lt"/>
              </a:rPr>
              <a:pPr marL="0" lvl="0" indent="0" algn="ctr">
                <a:spcBef>
                  <a:spcPct val="0"/>
                </a:spcBef>
                <a:buNone/>
              </a:pPr>
              <a:t>31.06</a:t>
            </a:fld>
            <a:endParaRPr kumimoji="1" lang="ja-JP" altLang="en-US" sz="1000" dirty="0">
              <a:solidFill>
                <a:schemeClr val="bg1"/>
              </a:solidFill>
              <a:sym typeface="+mn-lt"/>
            </a:endParaRPr>
          </a:p>
        </p:txBody>
      </p:sp>
      <p:sp>
        <p:nvSpPr>
          <p:cNvPr id="191" name="テキスト プレースホルダ 9">
            <a:extLst>
              <a:ext uri="{FF2B5EF4-FFF2-40B4-BE49-F238E27FC236}">
                <a16:creationId xmlns:a16="http://schemas.microsoft.com/office/drawing/2014/main" id="{07497A68-D99F-6738-7D21-7215157ACEA7}"/>
              </a:ext>
            </a:extLst>
          </p:cNvPr>
          <p:cNvSpPr>
            <a:spLocks noGrp="1"/>
          </p:cNvSpPr>
          <p:nvPr>
            <p:custDataLst>
              <p:tags r:id="rId47"/>
            </p:custDataLst>
          </p:nvPr>
        </p:nvSpPr>
        <p:spPr bwMode="gray">
          <a:xfrm>
            <a:off x="7896225" y="43275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9AD41-E85E-46C0-A167-215DB5452643}" type="datetime'''''''''''''''''''''''''''3''''1''''''''''.''''89'''''''''''''">
              <a:rPr lang="ja-JP" altLang="en-US" sz="1000" smtClean="0">
                <a:solidFill>
                  <a:schemeClr val="bg1"/>
                </a:solidFill>
                <a:effectLst/>
                <a:sym typeface="+mn-lt"/>
              </a:rPr>
              <a:pPr marL="0" lvl="0" indent="0" algn="ctr">
                <a:spcBef>
                  <a:spcPct val="0"/>
                </a:spcBef>
                <a:buNone/>
              </a:pPr>
              <a:t>31.89</a:t>
            </a:fld>
            <a:endParaRPr kumimoji="1" lang="ja-JP" altLang="en-US" sz="1000" dirty="0">
              <a:solidFill>
                <a:schemeClr val="bg1"/>
              </a:solidFill>
              <a:sym typeface="+mn-lt"/>
            </a:endParaRPr>
          </a:p>
        </p:txBody>
      </p:sp>
      <p:sp>
        <p:nvSpPr>
          <p:cNvPr id="192" name="テキスト プレースホルダ 9">
            <a:extLst>
              <a:ext uri="{FF2B5EF4-FFF2-40B4-BE49-F238E27FC236}">
                <a16:creationId xmlns:a16="http://schemas.microsoft.com/office/drawing/2014/main" id="{D8381A18-2CCB-6570-8260-E0FDCC77DF19}"/>
              </a:ext>
            </a:extLst>
          </p:cNvPr>
          <p:cNvSpPr>
            <a:spLocks noGrp="1"/>
          </p:cNvSpPr>
          <p:nvPr>
            <p:custDataLst>
              <p:tags r:id="rId48"/>
            </p:custDataLst>
          </p:nvPr>
        </p:nvSpPr>
        <p:spPr bwMode="gray">
          <a:xfrm>
            <a:off x="8239125" y="43148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A657B-4E68-455E-A94B-AD30DA1B1171}" type="datetime'''''''3''''''2''''''''''''''''.''''''14'''''''''''">
              <a:rPr lang="ja-JP" altLang="en-US" sz="1000" smtClean="0">
                <a:solidFill>
                  <a:schemeClr val="bg1"/>
                </a:solidFill>
                <a:effectLst/>
                <a:sym typeface="+mn-lt"/>
              </a:rPr>
              <a:pPr marL="0" lvl="0" indent="0" algn="ctr">
                <a:spcBef>
                  <a:spcPct val="0"/>
                </a:spcBef>
                <a:buNone/>
              </a:pPr>
              <a:t>32.14</a:t>
            </a:fld>
            <a:endParaRPr kumimoji="1" lang="ja-JP" altLang="en-US" sz="1000" dirty="0">
              <a:solidFill>
                <a:schemeClr val="bg1"/>
              </a:solidFill>
              <a:sym typeface="+mn-lt"/>
            </a:endParaRPr>
          </a:p>
        </p:txBody>
      </p:sp>
      <p:sp>
        <p:nvSpPr>
          <p:cNvPr id="193" name="テキスト プレースホルダ 9">
            <a:extLst>
              <a:ext uri="{FF2B5EF4-FFF2-40B4-BE49-F238E27FC236}">
                <a16:creationId xmlns:a16="http://schemas.microsoft.com/office/drawing/2014/main" id="{24D6821B-E24B-39A3-B4AD-4B03A533226A}"/>
              </a:ext>
            </a:extLst>
          </p:cNvPr>
          <p:cNvSpPr>
            <a:spLocks noGrp="1"/>
          </p:cNvSpPr>
          <p:nvPr>
            <p:custDataLst>
              <p:tags r:id="rId49"/>
            </p:custDataLst>
          </p:nvPr>
        </p:nvSpPr>
        <p:spPr bwMode="gray">
          <a:xfrm>
            <a:off x="8583613" y="42656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478C8-AFED-40EF-B4F8-E5BA00B83458}" type="datetime'''''''''''''''''''''''3''''3''''''''.''''''''''''''''''06'">
              <a:rPr lang="ja-JP" altLang="en-US" sz="1000" smtClean="0">
                <a:solidFill>
                  <a:schemeClr val="bg1"/>
                </a:solidFill>
                <a:effectLst/>
                <a:sym typeface="+mn-lt"/>
              </a:rPr>
              <a:pPr marL="0" lvl="0" indent="0" algn="ctr">
                <a:spcBef>
                  <a:spcPct val="0"/>
                </a:spcBef>
                <a:buNone/>
              </a:pPr>
              <a:t>33.06</a:t>
            </a:fld>
            <a:endParaRPr kumimoji="1" lang="ja-JP" altLang="en-US" sz="1000" dirty="0">
              <a:solidFill>
                <a:schemeClr val="bg1"/>
              </a:solidFill>
              <a:sym typeface="+mn-lt"/>
            </a:endParaRPr>
          </a:p>
        </p:txBody>
      </p:sp>
      <p:sp>
        <p:nvSpPr>
          <p:cNvPr id="194" name="テキスト プレースホルダ 9">
            <a:extLst>
              <a:ext uri="{FF2B5EF4-FFF2-40B4-BE49-F238E27FC236}">
                <a16:creationId xmlns:a16="http://schemas.microsoft.com/office/drawing/2014/main" id="{835ACD34-936C-4EA2-E074-DDF065C8CB48}"/>
              </a:ext>
            </a:extLst>
          </p:cNvPr>
          <p:cNvSpPr>
            <a:spLocks noGrp="1"/>
          </p:cNvSpPr>
          <p:nvPr>
            <p:custDataLst>
              <p:tags r:id="rId50"/>
            </p:custDataLst>
          </p:nvPr>
        </p:nvSpPr>
        <p:spPr bwMode="gray">
          <a:xfrm>
            <a:off x="8926513" y="422116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BD18B-0D1E-46B8-AF71-CD9C25347DC7}" type="datetime'''3''3''''''''.''''''''''''''''''''''''''''''9''''''''2'''">
              <a:rPr lang="ja-JP" altLang="en-US" sz="1000" smtClean="0">
                <a:solidFill>
                  <a:schemeClr val="bg1"/>
                </a:solidFill>
                <a:effectLst/>
                <a:sym typeface="+mn-lt"/>
              </a:rPr>
              <a:pPr marL="0" lvl="0" indent="0" algn="ctr">
                <a:spcBef>
                  <a:spcPct val="0"/>
                </a:spcBef>
                <a:buNone/>
              </a:pPr>
              <a:t>33.92</a:t>
            </a:fld>
            <a:endParaRPr kumimoji="1" lang="ja-JP" altLang="en-US" sz="1000" dirty="0">
              <a:solidFill>
                <a:schemeClr val="bg1"/>
              </a:solidFill>
              <a:sym typeface="+mn-lt"/>
            </a:endParaRPr>
          </a:p>
        </p:txBody>
      </p:sp>
      <p:sp>
        <p:nvSpPr>
          <p:cNvPr id="189" name="テキスト プレースホルダ 9">
            <a:extLst>
              <a:ext uri="{FF2B5EF4-FFF2-40B4-BE49-F238E27FC236}">
                <a16:creationId xmlns:a16="http://schemas.microsoft.com/office/drawing/2014/main" id="{C32CFF8B-1FBC-105F-2607-7692DEA47B4C}"/>
              </a:ext>
            </a:extLst>
          </p:cNvPr>
          <p:cNvSpPr>
            <a:spLocks noGrp="1"/>
          </p:cNvSpPr>
          <p:nvPr>
            <p:custDataLst>
              <p:tags r:id="rId51"/>
            </p:custDataLst>
          </p:nvPr>
        </p:nvSpPr>
        <p:spPr bwMode="gray">
          <a:xfrm>
            <a:off x="7210425" y="440848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9546A-AEFB-4114-A480-AD3FC98D1704}" type="datetime'''''''''''''3''''''''''''''''''''''''0.''''3''6'''''''''''''">
              <a:rPr lang="ja-JP" altLang="en-US" sz="1000" smtClean="0">
                <a:solidFill>
                  <a:schemeClr val="bg1"/>
                </a:solidFill>
                <a:effectLst/>
                <a:sym typeface="+mn-lt"/>
              </a:rPr>
              <a:pPr marL="0" lvl="0" indent="0" algn="ctr">
                <a:spcBef>
                  <a:spcPct val="0"/>
                </a:spcBef>
                <a:buNone/>
              </a:pPr>
              <a:t>30.36</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20456205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680870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 imgW="270" imgH="270" progId="TCLayout.ActiveDocument.1">
                  <p:embed/>
                </p:oleObj>
              </mc:Choice>
              <mc:Fallback>
                <p:oleObj name="think-cellスライド"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International Trade Administr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7" name="Chart 66">
            <a:extLst>
              <a:ext uri="{FF2B5EF4-FFF2-40B4-BE49-F238E27FC236}">
                <a16:creationId xmlns:a16="http://schemas.microsoft.com/office/drawing/2014/main" id="{0E8D974F-5875-E1A4-9F5B-ED24C08A7B60}"/>
              </a:ext>
            </a:extLst>
          </p:cNvPr>
          <p:cNvGraphicFramePr/>
          <p:nvPr>
            <p:custDataLst>
              <p:tags r:id="rId3"/>
            </p:custDataLst>
            <p:extLst>
              <p:ext uri="{D42A27DB-BD31-4B8C-83A1-F6EECF244321}">
                <p14:modId xmlns:p14="http://schemas.microsoft.com/office/powerpoint/2010/main" val="2651196232"/>
              </p:ext>
            </p:extLst>
          </p:nvPr>
        </p:nvGraphicFramePr>
        <p:xfrm>
          <a:off x="80963" y="2482850"/>
          <a:ext cx="9275762" cy="3835400"/>
        </p:xfrm>
        <a:graphic>
          <a:graphicData uri="http://schemas.openxmlformats.org/drawingml/2006/chart">
            <c:chart xmlns:c="http://schemas.openxmlformats.org/drawingml/2006/chart" xmlns:r="http://schemas.openxmlformats.org/officeDocument/2006/relationships" r:id="rId11"/>
          </a:graphicData>
        </a:graphic>
      </p:graphicFrame>
      <p:sp>
        <p:nvSpPr>
          <p:cNvPr id="61" name="テキスト プレースホルダ 9">
            <a:extLst>
              <a:ext uri="{FF2B5EF4-FFF2-40B4-BE49-F238E27FC236}">
                <a16:creationId xmlns:a16="http://schemas.microsoft.com/office/drawing/2014/main" id="{0A7EF0CB-6F01-0797-1CDB-48DC8BC62FCD}"/>
              </a:ext>
            </a:extLst>
          </p:cNvPr>
          <p:cNvSpPr>
            <a:spLocks/>
          </p:cNvSpPr>
          <p:nvPr>
            <p:custDataLst>
              <p:tags r:id="rId4"/>
            </p:custDataLst>
          </p:nvPr>
        </p:nvSpPr>
        <p:spPr bwMode="auto">
          <a:xfrm>
            <a:off x="162242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BB28F-0631-4238-A89B-7F54B95D8249}" type="datetime'''''''''''''''''''2''''0''''2''1'''''''''''">
              <a:rPr lang="en-US" altLang="en-US" sz="1000" smtClean="0">
                <a:effectLst/>
                <a:sym typeface="+mn-lt"/>
              </a:rPr>
              <a:pPr marL="0" lvl="0" indent="0" algn="ctr">
                <a:spcBef>
                  <a:spcPct val="0"/>
                </a:spcBef>
                <a:buNone/>
              </a:pPr>
              <a:t>2021</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F7C83785-382A-E146-4933-41726596AB94}"/>
              </a:ext>
            </a:extLst>
          </p:cNvPr>
          <p:cNvSpPr>
            <a:spLocks/>
          </p:cNvSpPr>
          <p:nvPr>
            <p:custDataLst>
              <p:tags r:id="rId5"/>
            </p:custDataLst>
          </p:nvPr>
        </p:nvSpPr>
        <p:spPr bwMode="auto">
          <a:xfrm>
            <a:off x="3767138"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164416-14AF-4A2D-9752-F6820ED825BE}" type="datetime'''''2''''0''''22'''">
              <a:rPr lang="en-US" altLang="en-US" sz="1000" smtClean="0">
                <a:effectLst/>
                <a:sym typeface="+mn-lt"/>
              </a:rPr>
              <a:pPr marL="0" lvl="0" indent="0" algn="ctr">
                <a:spcBef>
                  <a:spcPct val="0"/>
                </a:spcBef>
                <a:buNone/>
              </a:pPr>
              <a:t>2022</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9CAC5F2A-AF28-E80A-4848-9330DEE901FC}"/>
              </a:ext>
            </a:extLst>
          </p:cNvPr>
          <p:cNvSpPr>
            <a:spLocks/>
          </p:cNvSpPr>
          <p:nvPr>
            <p:custDataLst>
              <p:tags r:id="rId6"/>
            </p:custDataLst>
          </p:nvPr>
        </p:nvSpPr>
        <p:spPr bwMode="auto">
          <a:xfrm>
            <a:off x="5911850"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F39D16-A0E2-4E8E-8B9E-72AA5B13A977}"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D36B3416-5A8A-B165-CC7D-C279DAC65C37}"/>
              </a:ext>
            </a:extLst>
          </p:cNvPr>
          <p:cNvSpPr>
            <a:spLocks/>
          </p:cNvSpPr>
          <p:nvPr>
            <p:custDataLst>
              <p:tags r:id="rId7"/>
            </p:custDataLst>
          </p:nvPr>
        </p:nvSpPr>
        <p:spPr bwMode="auto">
          <a:xfrm>
            <a:off x="805497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94337-C9F1-4266-BD86-668E90E167DD}"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grpSp>
        <p:nvGrpSpPr>
          <p:cNvPr id="22" name="グループ化 21"/>
          <p:cNvGrpSpPr/>
          <p:nvPr/>
        </p:nvGrpSpPr>
        <p:grpSpPr>
          <a:xfrm>
            <a:off x="4981575"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現地通貨ベースでは増加したものの、南アフリカランドの為替変動によりドルベースで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78086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60049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主な輸入相手国は米国、中国、ドイツ、メキシコ、アイルランド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21">
            <a:extLst>
              <a:ext uri="{FF2B5EF4-FFF2-40B4-BE49-F238E27FC236}">
                <a16:creationId xmlns:a16="http://schemas.microsoft.com/office/drawing/2014/main" id="{3D6B745C-B895-46CA-8294-61E708FCC46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Trade Map</a:t>
            </a:r>
            <a:r>
              <a:rPr lang="en-US" altLang="ja-JP"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graphicFrame>
        <p:nvGraphicFramePr>
          <p:cNvPr id="64" name="Chart 63">
            <a:extLst>
              <a:ext uri="{FF2B5EF4-FFF2-40B4-BE49-F238E27FC236}">
                <a16:creationId xmlns:a16="http://schemas.microsoft.com/office/drawing/2014/main" id="{FFF6F7CC-5C7C-599B-D862-5FFB4A581B00}"/>
              </a:ext>
            </a:extLst>
          </p:cNvPr>
          <p:cNvGraphicFramePr/>
          <p:nvPr>
            <p:custDataLst>
              <p:tags r:id="rId3"/>
            </p:custDataLst>
            <p:extLst>
              <p:ext uri="{D42A27DB-BD31-4B8C-83A1-F6EECF244321}">
                <p14:modId xmlns:p14="http://schemas.microsoft.com/office/powerpoint/2010/main" val="3420479906"/>
              </p:ext>
            </p:extLst>
          </p:nvPr>
        </p:nvGraphicFramePr>
        <p:xfrm>
          <a:off x="12700" y="2627313"/>
          <a:ext cx="6030913" cy="3548062"/>
        </p:xfrm>
        <a:graphic>
          <a:graphicData uri="http://schemas.openxmlformats.org/drawingml/2006/chart">
            <c:chart xmlns:c="http://schemas.openxmlformats.org/drawingml/2006/chart" xmlns:r="http://schemas.openxmlformats.org/officeDocument/2006/relationships" r:id="rId26"/>
          </a:graphicData>
        </a:graphic>
      </p:graphicFrame>
      <p:sp>
        <p:nvSpPr>
          <p:cNvPr id="45" name="テキスト プレースホルダ 9">
            <a:extLst>
              <a:ext uri="{FF2B5EF4-FFF2-40B4-BE49-F238E27FC236}">
                <a16:creationId xmlns:a16="http://schemas.microsoft.com/office/drawing/2014/main" id="{2380AE68-41D0-939E-8D45-B27F29EFD597}"/>
              </a:ext>
            </a:extLst>
          </p:cNvPr>
          <p:cNvSpPr>
            <a:spLocks/>
          </p:cNvSpPr>
          <p:nvPr>
            <p:custDataLst>
              <p:tags r:id="rId4"/>
            </p:custDataLst>
          </p:nvPr>
        </p:nvSpPr>
        <p:spPr bwMode="auto">
          <a:xfrm>
            <a:off x="684213" y="603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193CF6-6CD5-431E-A938-ABC028FFB151}" type="datetime'''2''''''''0''''''1''''''''''''''''''''''''''8'''''''''''">
              <a:rPr lang="en-US" altLang="en-US" sz="1000" smtClean="0">
                <a:effectLst/>
                <a:sym typeface="+mn-lt"/>
              </a:rPr>
              <a:pPr marL="0" lvl="0" indent="0" algn="ctr">
                <a:spcBef>
                  <a:spcPct val="0"/>
                </a:spcBef>
                <a:buNone/>
              </a:pPr>
              <a:t>2018</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EC356727-B620-FC32-E8FB-98DED4F27D41}"/>
              </a:ext>
            </a:extLst>
          </p:cNvPr>
          <p:cNvSpPr>
            <a:spLocks/>
          </p:cNvSpPr>
          <p:nvPr>
            <p:custDataLst>
              <p:tags r:id="rId5"/>
            </p:custDataLst>
          </p:nvPr>
        </p:nvSpPr>
        <p:spPr bwMode="auto">
          <a:xfrm>
            <a:off x="1438275"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053A6-77C0-4F63-9664-A4094CE85C9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BDAF23BE-5E4A-7D06-4F1E-937C163427EA}"/>
              </a:ext>
            </a:extLst>
          </p:cNvPr>
          <p:cNvSpPr>
            <a:spLocks/>
          </p:cNvSpPr>
          <p:nvPr>
            <p:custDataLst>
              <p:tags r:id="rId6"/>
            </p:custDataLst>
          </p:nvPr>
        </p:nvSpPr>
        <p:spPr bwMode="auto">
          <a:xfrm>
            <a:off x="2122488"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C0D4C-065C-45F1-A52B-36A12675789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CA76EF7D-0610-9705-CDA5-0736FEEF42CA}"/>
              </a:ext>
            </a:extLst>
          </p:cNvPr>
          <p:cNvSpPr>
            <a:spLocks/>
          </p:cNvSpPr>
          <p:nvPr>
            <p:custDataLst>
              <p:tags r:id="rId7"/>
            </p:custDataLst>
          </p:nvPr>
        </p:nvSpPr>
        <p:spPr bwMode="auto">
          <a:xfrm>
            <a:off x="2806700"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9458B5-50F2-4FA5-914A-E5697B5C6DBA}"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B40C62E5-65EA-418D-E14C-BC51E84067E0}"/>
              </a:ext>
            </a:extLst>
          </p:cNvPr>
          <p:cNvSpPr>
            <a:spLocks/>
          </p:cNvSpPr>
          <p:nvPr>
            <p:custDataLst>
              <p:tags r:id="rId8"/>
            </p:custDataLst>
          </p:nvPr>
        </p:nvSpPr>
        <p:spPr bwMode="auto">
          <a:xfrm>
            <a:off x="3489325"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7A93C-D675-4F31-970A-A386E5BDDB8F}"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96966402-991C-E08F-863B-B57EFE8F0D16}"/>
              </a:ext>
            </a:extLst>
          </p:cNvPr>
          <p:cNvSpPr>
            <a:spLocks/>
          </p:cNvSpPr>
          <p:nvPr>
            <p:custDataLst>
              <p:tags r:id="rId9"/>
            </p:custDataLst>
          </p:nvPr>
        </p:nvSpPr>
        <p:spPr bwMode="auto">
          <a:xfrm>
            <a:off x="4173538"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9A06EA-C061-4C11-BE93-6008839EC0AF}"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B0797D96-8ECE-A6FC-27E4-03EC809755C5}"/>
              </a:ext>
            </a:extLst>
          </p:cNvPr>
          <p:cNvSpPr>
            <a:spLocks/>
          </p:cNvSpPr>
          <p:nvPr>
            <p:custDataLst>
              <p:tags r:id="rId10"/>
            </p:custDataLst>
          </p:nvPr>
        </p:nvSpPr>
        <p:spPr bwMode="auto">
          <a:xfrm>
            <a:off x="4857750"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DB2AA1-92B1-4591-9DB6-F9CCF206CD92}"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0409B9B1-F96A-13AD-847C-C2AED21229D6}"/>
              </a:ext>
            </a:extLst>
          </p:cNvPr>
          <p:cNvSpPr>
            <a:spLocks/>
          </p:cNvSpPr>
          <p:nvPr>
            <p:custDataLst>
              <p:tags r:id="rId11"/>
            </p:custDataLst>
          </p:nvPr>
        </p:nvSpPr>
        <p:spPr bwMode="auto">
          <a:xfrm>
            <a:off x="5541963"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03654B-7625-4EBC-883F-9239389D2A87}"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97" name="Rectangle 18">
            <a:extLst>
              <a:ext uri="{FF2B5EF4-FFF2-40B4-BE49-F238E27FC236}">
                <a16:creationId xmlns:a16="http://schemas.microsoft.com/office/drawing/2014/main" id="{91AA8EF8-7127-4BB1-AF80-12B11F2590E9}"/>
              </a:ext>
            </a:extLst>
          </p:cNvPr>
          <p:cNvSpPr/>
          <p:nvPr>
            <p:custDataLst>
              <p:tags r:id="rId12"/>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Rectangle 24">
            <a:extLst>
              <a:ext uri="{FF2B5EF4-FFF2-40B4-BE49-F238E27FC236}">
                <a16:creationId xmlns:a16="http://schemas.microsoft.com/office/drawing/2014/main" id="{849B99DF-F30D-45FA-9921-0C1D7760D464}"/>
              </a:ext>
            </a:extLst>
          </p:cNvPr>
          <p:cNvSpPr/>
          <p:nvPr>
            <p:custDataLst>
              <p:tags r:id="rId13"/>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テキスト プレースホルダ 9">
            <a:extLst>
              <a:ext uri="{FF2B5EF4-FFF2-40B4-BE49-F238E27FC236}">
                <a16:creationId xmlns:a16="http://schemas.microsoft.com/office/drawing/2014/main" id="{FE1EBE1F-AC59-421E-9A50-0369F4F36964}"/>
              </a:ext>
            </a:extLst>
          </p:cNvPr>
          <p:cNvSpPr>
            <a:spLocks noGrp="1"/>
          </p:cNvSpPr>
          <p:nvPr>
            <p:custDataLst>
              <p:tags r:id="rId1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D2F212-7A4B-4F46-8041-0A5A7FA6BEE5}" type="datetime'''''''''''''''輸''''''''''''''''出'''''''''''''''''''''''''">
              <a:rPr kumimoji="0" lang="ja-JP" altLang="en-US" sz="1000" smtClean="0"/>
              <a:pPr/>
              <a:t>輸出</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AE5D504F-7083-45C3-A119-A86685E18BE6}"/>
              </a:ext>
            </a:extLst>
          </p:cNvPr>
          <p:cNvSpPr>
            <a:spLocks noGrp="1"/>
          </p:cNvSpPr>
          <p:nvPr>
            <p:custDataLst>
              <p:tags r:id="rId1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D4935DE-61AD-4E74-94D6-6FD787EA878C}" type="datetime'''''''''''''''''''''''''''''''''輸''''''入'''''''">
              <a:rPr kumimoji="0" lang="ja-JP" altLang="en-US" sz="1000" smtClean="0"/>
              <a:pPr/>
              <a:t>輸入</a:t>
            </a:fld>
            <a:endParaRPr kumimoji="0" lang="ja-JP" altLang="en-US" sz="1000" dirty="0">
              <a:sym typeface="+mn-lt"/>
            </a:endParaRPr>
          </a:p>
        </p:txBody>
      </p:sp>
      <p:sp>
        <p:nvSpPr>
          <p:cNvPr id="103" name="テキスト ボックス 102">
            <a:extLst>
              <a:ext uri="{FF2B5EF4-FFF2-40B4-BE49-F238E27FC236}">
                <a16:creationId xmlns:a16="http://schemas.microsoft.com/office/drawing/2014/main" id="{D7DC0A1F-E52E-46E8-8A3C-605A880C1D16}"/>
              </a:ext>
            </a:extLst>
          </p:cNvPr>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2" name="Chart 3">
            <a:extLst>
              <a:ext uri="{FF2B5EF4-FFF2-40B4-BE49-F238E27FC236}">
                <a16:creationId xmlns:a16="http://schemas.microsoft.com/office/drawing/2014/main" id="{74E0AE2F-C2A4-09D6-D13D-5194438BD766}"/>
              </a:ext>
            </a:extLst>
          </p:cNvPr>
          <p:cNvGraphicFramePr/>
          <p:nvPr>
            <p:custDataLst>
              <p:tags r:id="rId16"/>
            </p:custDataLst>
            <p:extLst>
              <p:ext uri="{D42A27DB-BD31-4B8C-83A1-F6EECF244321}">
                <p14:modId xmlns:p14="http://schemas.microsoft.com/office/powerpoint/2010/main" val="2037375060"/>
              </p:ext>
            </p:extLst>
          </p:nvPr>
        </p:nvGraphicFramePr>
        <p:xfrm>
          <a:off x="6856413" y="3108325"/>
          <a:ext cx="2500312" cy="2951163"/>
        </p:xfrm>
        <a:graphic>
          <a:graphicData uri="http://schemas.openxmlformats.org/drawingml/2006/chart">
            <c:chart xmlns:c="http://schemas.openxmlformats.org/drawingml/2006/chart" xmlns:r="http://schemas.openxmlformats.org/officeDocument/2006/relationships" r:id="rId27"/>
          </a:graphicData>
        </a:graphic>
      </p:graphicFrame>
      <p:sp>
        <p:nvSpPr>
          <p:cNvPr id="21" name="テキスト プレースホルダ 9">
            <a:extLst>
              <a:ext uri="{FF2B5EF4-FFF2-40B4-BE49-F238E27FC236}">
                <a16:creationId xmlns:a16="http://schemas.microsoft.com/office/drawing/2014/main" id="{DE9CF5B1-B169-857E-B77E-4120C61E76EA}"/>
              </a:ext>
            </a:extLst>
          </p:cNvPr>
          <p:cNvSpPr>
            <a:spLocks/>
          </p:cNvSpPr>
          <p:nvPr>
            <p:custDataLst>
              <p:tags r:id="rId17"/>
            </p:custDataLst>
          </p:nvPr>
        </p:nvSpPr>
        <p:spPr bwMode="auto">
          <a:xfrm>
            <a:off x="8913813" y="3544888"/>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F030EB4F-1A00-699C-D345-80AE67360BAF}"/>
              </a:ext>
            </a:extLst>
          </p:cNvPr>
          <p:cNvSpPr>
            <a:spLocks/>
          </p:cNvSpPr>
          <p:nvPr>
            <p:custDataLst>
              <p:tags r:id="rId18"/>
            </p:custDataLst>
          </p:nvPr>
        </p:nvSpPr>
        <p:spPr bwMode="auto">
          <a:xfrm>
            <a:off x="9229725" y="50387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中国</a:t>
            </a:r>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6DD8DB2B-D160-6AB5-2394-E7B0C4585642}"/>
              </a:ext>
            </a:extLst>
          </p:cNvPr>
          <p:cNvSpPr>
            <a:spLocks/>
          </p:cNvSpPr>
          <p:nvPr>
            <p:custDataLst>
              <p:tags r:id="rId19"/>
            </p:custDataLst>
          </p:nvPr>
        </p:nvSpPr>
        <p:spPr bwMode="auto">
          <a:xfrm>
            <a:off x="8437563" y="57340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ドイツ</a:t>
            </a:r>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17D179BC-8DDB-9DC7-1B77-83B0F65DF222}"/>
              </a:ext>
            </a:extLst>
          </p:cNvPr>
          <p:cNvSpPr>
            <a:spLocks/>
          </p:cNvSpPr>
          <p:nvPr>
            <p:custDataLst>
              <p:tags r:id="rId20"/>
            </p:custDataLst>
          </p:nvPr>
        </p:nvSpPr>
        <p:spPr bwMode="auto">
          <a:xfrm>
            <a:off x="7500938" y="5776913"/>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5CA9E2-A0D8-425B-B058-CCB7CC08F636}" type="datetime'''''''メ''''キ''''''''シ''''''コ'''''''''''''">
              <a:rPr lang="ja-JP" altLang="en-US" sz="1000" smtClean="0"/>
              <a:pPr/>
              <a:t>メキシコ</a:t>
            </a:fld>
            <a:endParaRPr kumimoji="1" lang="en-US" altLang="ja-JP" sz="1000" dirty="0">
              <a:sym typeface="+mn-lt"/>
            </a:endParaRPr>
          </a:p>
        </p:txBody>
      </p:sp>
      <p:sp>
        <p:nvSpPr>
          <p:cNvPr id="25" name="テキスト プレースホルダ 9">
            <a:extLst>
              <a:ext uri="{FF2B5EF4-FFF2-40B4-BE49-F238E27FC236}">
                <a16:creationId xmlns:a16="http://schemas.microsoft.com/office/drawing/2014/main" id="{1EE0ACE3-302E-39CD-4F36-77FCFCE92F9C}"/>
              </a:ext>
            </a:extLst>
          </p:cNvPr>
          <p:cNvSpPr>
            <a:spLocks/>
          </p:cNvSpPr>
          <p:nvPr>
            <p:custDataLst>
              <p:tags r:id="rId21"/>
            </p:custDataLst>
          </p:nvPr>
        </p:nvSpPr>
        <p:spPr bwMode="auto">
          <a:xfrm>
            <a:off x="6873875" y="5624513"/>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6926D3-915F-4F73-88A2-162AE1EAF272}" type="datetime'''ア''イ''''''''ル''''''''''''''''''ラ''''''ン''''''''''''ド'''''''">
              <a:rPr lang="ja-JP" altLang="en-US" sz="1000" smtClean="0"/>
              <a:pPr/>
              <a:t>アイルランド</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B6FD44D5-9DBF-6916-77C2-8F9C8F45D457}"/>
              </a:ext>
            </a:extLst>
          </p:cNvPr>
          <p:cNvSpPr>
            <a:spLocks/>
          </p:cNvSpPr>
          <p:nvPr>
            <p:custDataLst>
              <p:tags r:id="rId22"/>
            </p:custDataLst>
          </p:nvPr>
        </p:nvSpPr>
        <p:spPr bwMode="auto">
          <a:xfrm>
            <a:off x="6572250" y="40814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259508-C9E3-4AD1-95A4-B7E0D485F3A9}"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Tree>
    <p:extLst>
      <p:ext uri="{BB962C8B-B14F-4D97-AF65-F5344CB8AC3E}">
        <p14:creationId xmlns:p14="http://schemas.microsoft.com/office/powerpoint/2010/main" val="37046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297445173"/>
              </p:ext>
            </p:extLst>
          </p:nvPr>
        </p:nvGraphicFramePr>
        <p:xfrm>
          <a:off x="213190" y="2377245"/>
          <a:ext cx="9577245" cy="4081760"/>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402080">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50491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trnoic</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fric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現地法人が存在し、南アフリカおよびサハラ。以南のアフリカにおける公共・民間部門の医療ニーズをサポート。</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アに現地法人「</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 LABORATORIES SA</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ち、家庭用・医療機関向けの製品を提供。</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36075">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Siemens Healthcar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株式投資を通じてグループビジネスとしている</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ヨハネスブルク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南部アフリカ開発共同体（</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DC</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に全製品群の販売サポート、技術サービス、アプリケーショントレーニングを提供。</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また、ディストリビューターチャネルも活用し、製品を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44488" y="20142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36000" y="30471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38306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43711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515191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594400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127359969"/>
              </p:ext>
            </p:extLst>
          </p:nvPr>
        </p:nvGraphicFramePr>
        <p:xfrm>
          <a:off x="213190" y="2225885"/>
          <a:ext cx="9276314" cy="4123506"/>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559071">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59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子会社</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 MEDICAL SOUTH AFRICA (PTY) LT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つ。</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229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0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751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hinva</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751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Yuwell</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89052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サーチ施設のみ存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MRC(South African Medical Research Counci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正式な協力協定を締結し、大規模な全ゲノムシーケンスが可能なアフリカ大陸初の</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最先端研究施設</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M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185965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3" name="テキスト ボックス 3">
            <a:extLst>
              <a:ext uri="{FF2B5EF4-FFF2-40B4-BE49-F238E27FC236}">
                <a16:creationId xmlns:a16="http://schemas.microsoft.com/office/drawing/2014/main" id="{A366AED9-11B9-4028-8660-1854E63104AB}"/>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Circle: Hollow 13">
            <a:extLst>
              <a:ext uri="{FF2B5EF4-FFF2-40B4-BE49-F238E27FC236}">
                <a16:creationId xmlns:a16="http://schemas.microsoft.com/office/drawing/2014/main" id="{7E486011-56B3-4BD1-A223-C268EDFA6BA2}"/>
              </a:ext>
            </a:extLst>
          </p:cNvPr>
          <p:cNvSpPr/>
          <p:nvPr/>
        </p:nvSpPr>
        <p:spPr>
          <a:xfrm>
            <a:off x="4170049" y="299167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Isosceles Triangle 14">
            <a:extLst>
              <a:ext uri="{FF2B5EF4-FFF2-40B4-BE49-F238E27FC236}">
                <a16:creationId xmlns:a16="http://schemas.microsoft.com/office/drawing/2014/main" id="{771C5004-6E58-4F36-B33A-132370FF9F47}"/>
              </a:ext>
            </a:extLst>
          </p:cNvPr>
          <p:cNvSpPr/>
          <p:nvPr/>
        </p:nvSpPr>
        <p:spPr>
          <a:xfrm>
            <a:off x="4172262" y="5622497"/>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29864664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15714450"/>
              </p:ext>
            </p:extLst>
          </p:nvPr>
        </p:nvGraphicFramePr>
        <p:xfrm>
          <a:off x="213190" y="2171016"/>
          <a:ext cx="9276314" cy="4243346"/>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62733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8288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108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990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990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10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65925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180478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2BAEEFB1-1B15-4B50-B8FC-0425E452A6F5}"/>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extLst>
              <p:ext uri="{D42A27DB-BD31-4B8C-83A1-F6EECF244321}">
                <p14:modId xmlns:p14="http://schemas.microsoft.com/office/powerpoint/2010/main" val="86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の市場は細分化さ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メーカー・ディストリビューター）で構成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自社ブランドで現地生産を行っている医療機器メーカーは少ないが、政府は今後国内生産を増大したい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4">
            <a:extLst>
              <a:ext uri="{FF2B5EF4-FFF2-40B4-BE49-F238E27FC236}">
                <a16:creationId xmlns:a16="http://schemas.microsoft.com/office/drawing/2014/main" id="{0E8B64A2-771F-4664-8466-DFBE011139C1}"/>
              </a:ext>
            </a:extLst>
          </p:cNvPr>
          <p:cNvGraphicFramePr>
            <a:graphicFrameLocks noGrp="1"/>
          </p:cNvGraphicFramePr>
          <p:nvPr>
            <p:extLst>
              <p:ext uri="{D42A27DB-BD31-4B8C-83A1-F6EECF244321}">
                <p14:modId xmlns:p14="http://schemas.microsoft.com/office/powerpoint/2010/main" val="2142164671"/>
              </p:ext>
            </p:extLst>
          </p:nvPr>
        </p:nvGraphicFramePr>
        <p:xfrm>
          <a:off x="281065" y="1965366"/>
          <a:ext cx="9433047" cy="4491250"/>
        </p:xfrm>
        <a:graphic>
          <a:graphicData uri="http://schemas.openxmlformats.org/drawingml/2006/table">
            <a:tbl>
              <a:tblPr firstRow="1" bandRow="1">
                <a:tableStyleId>{5C22544A-7EE6-4342-B048-85BDC9FD1C3A}</a:tableStyleId>
              </a:tblPr>
              <a:tblGrid>
                <a:gridCol w="1748380">
                  <a:extLst>
                    <a:ext uri="{9D8B030D-6E8A-4147-A177-3AD203B41FA5}">
                      <a16:colId xmlns:a16="http://schemas.microsoft.com/office/drawing/2014/main" val="20001"/>
                    </a:ext>
                  </a:extLst>
                </a:gridCol>
                <a:gridCol w="4660780">
                  <a:extLst>
                    <a:ext uri="{9D8B030D-6E8A-4147-A177-3AD203B41FA5}">
                      <a16:colId xmlns:a16="http://schemas.microsoft.com/office/drawing/2014/main" val="3386509722"/>
                    </a:ext>
                  </a:extLst>
                </a:gridCol>
                <a:gridCol w="685054">
                  <a:extLst>
                    <a:ext uri="{9D8B030D-6E8A-4147-A177-3AD203B41FA5}">
                      <a16:colId xmlns:a16="http://schemas.microsoft.com/office/drawing/2014/main" val="3066340433"/>
                    </a:ext>
                  </a:extLst>
                </a:gridCol>
                <a:gridCol w="685054">
                  <a:extLst>
                    <a:ext uri="{9D8B030D-6E8A-4147-A177-3AD203B41FA5}">
                      <a16:colId xmlns:a16="http://schemas.microsoft.com/office/drawing/2014/main" val="100388107"/>
                    </a:ext>
                  </a:extLst>
                </a:gridCol>
                <a:gridCol w="1653779">
                  <a:extLst>
                    <a:ext uri="{9D8B030D-6E8A-4147-A177-3AD203B41FA5}">
                      <a16:colId xmlns:a16="http://schemas.microsoft.com/office/drawing/2014/main" val="3978453445"/>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取扱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2">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事業内容</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lang="en-US"/>
                    </a:p>
                  </a:txBody>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有形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4451">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製造</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販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民間</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有</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外資</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3853554165"/>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Ascendis</a:t>
                      </a:r>
                      <a:r>
                        <a:rPr kumimoji="1" lang="en-US" altLang="ja-JP" sz="1000" b="1" kern="1200" dirty="0">
                          <a:solidFill>
                            <a:schemeClr val="dk1"/>
                          </a:solidFill>
                          <a:latin typeface="+mn-lt"/>
                          <a:ea typeface="+mn-ea"/>
                          <a:cs typeface="+mn-cs"/>
                        </a:rPr>
                        <a:t> Health</a:t>
                      </a:r>
                      <a:endParaRPr kumimoji="1" lang="zh-TW" altLang="en-US" sz="1000" b="1"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CapeRay</a:t>
                      </a:r>
                      <a:r>
                        <a:rPr kumimoji="1" lang="en-US" altLang="ja-JP" sz="1000" b="1" kern="1200" dirty="0">
                          <a:solidFill>
                            <a:schemeClr val="dk1"/>
                          </a:solidFill>
                          <a:latin typeface="+mn-lt"/>
                          <a:ea typeface="+mn-ea"/>
                          <a:cs typeface="+mn-cs"/>
                        </a:rPr>
                        <a:t> Med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乳がん診断用医用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CRPM</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人工装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大学所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Elite Surg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関節形成術、神経および専門的整形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22831578"/>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iMvula</a:t>
                      </a:r>
                      <a:r>
                        <a:rPr kumimoji="1" lang="en-US" altLang="ja-JP" sz="1000" b="1" kern="1200" dirty="0">
                          <a:solidFill>
                            <a:schemeClr val="dk1"/>
                          </a:solidFill>
                          <a:latin typeface="+mn-lt"/>
                          <a:ea typeface="+mn-ea"/>
                          <a:cs typeface="+mn-cs"/>
                        </a:rPr>
                        <a:t> Healthcare Logistics</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外科手術用機器の物流・倉庫管理</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1706904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Lifeassay</a:t>
                      </a:r>
                      <a:r>
                        <a:rPr kumimoji="1" lang="en-US" altLang="ja-JP" sz="1000" b="1" kern="1200" dirty="0">
                          <a:solidFill>
                            <a:schemeClr val="dk1"/>
                          </a:solidFill>
                          <a:latin typeface="+mn-lt"/>
                          <a:ea typeface="+mn-ea"/>
                          <a:cs typeface="+mn-cs"/>
                        </a:rPr>
                        <a:t> Diagnostics</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診断用医療機器</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09739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Lodox</a:t>
                      </a:r>
                      <a:r>
                        <a:rPr kumimoji="1" lang="en-US" altLang="ja-JP" sz="1000" b="1" kern="1200" dirty="0">
                          <a:solidFill>
                            <a:schemeClr val="dk1"/>
                          </a:solidFill>
                          <a:latin typeface="+mn-lt"/>
                          <a:ea typeface="+mn-ea"/>
                          <a:cs typeface="+mn-cs"/>
                        </a:rPr>
                        <a:t> Systems</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全身デジタル</a:t>
                      </a:r>
                      <a:r>
                        <a:rPr kumimoji="1" lang="en-US" altLang="ja-JP" sz="1200" kern="1200" dirty="0">
                          <a:solidFill>
                            <a:schemeClr val="dk1"/>
                          </a:solidFill>
                          <a:latin typeface="+mn-lt"/>
                          <a:ea typeface="+mn-ea"/>
                          <a:cs typeface="+mn-cs"/>
                        </a:rPr>
                        <a:t>X</a:t>
                      </a:r>
                      <a:r>
                        <a:rPr kumimoji="1" lang="ja-JP" altLang="en-US" sz="1200" kern="1200" dirty="0">
                          <a:solidFill>
                            <a:schemeClr val="dk1"/>
                          </a:solidFill>
                          <a:latin typeface="+mn-lt"/>
                          <a:ea typeface="+mn-ea"/>
                          <a:cs typeface="+mn-cs"/>
                        </a:rPr>
                        <a:t>線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451339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Minoan Med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循環器・血管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039427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S A Biomed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整形外科、脊椎外科、外科手術、血管、泌尿器科、循 環器科用製品</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66839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SSEM Mthembu Medical </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電気医療機器、医療用消耗品 </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384444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Southern Group</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歯科用インプラント、人工装具、整形外科用インプラ ン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1810340"/>
                  </a:ext>
                </a:extLst>
              </a:tr>
            </a:tbl>
          </a:graphicData>
        </a:graphic>
      </p:graphicFrame>
      <p:sp>
        <p:nvSpPr>
          <p:cNvPr id="11" name="Rectangle 6">
            <a:extLst>
              <a:ext uri="{FF2B5EF4-FFF2-40B4-BE49-F238E27FC236}">
                <a16:creationId xmlns:a16="http://schemas.microsoft.com/office/drawing/2014/main" id="{42201A61-8F11-4C86-92D1-0345DB0ECF8E}"/>
              </a:ext>
            </a:extLst>
          </p:cNvPr>
          <p:cNvSpPr>
            <a:spLocks noChangeArrowheads="1"/>
          </p:cNvSpPr>
          <p:nvPr/>
        </p:nvSpPr>
        <p:spPr bwMode="auto">
          <a:xfrm>
            <a:off x="235298" y="1700808"/>
            <a:ext cx="8352928" cy="27050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南アフリカの主要な現地医療機器企業</a:t>
            </a:r>
          </a:p>
        </p:txBody>
      </p:sp>
    </p:spTree>
    <p:extLst>
      <p:ext uri="{BB962C8B-B14F-4D97-AF65-F5344CB8AC3E}">
        <p14:creationId xmlns:p14="http://schemas.microsoft.com/office/powerpoint/2010/main" val="3679292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31869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5" name="表 4"/>
          <p:cNvGraphicFramePr>
            <a:graphicFrameLocks noGrp="1"/>
          </p:cNvGraphicFramePr>
          <p:nvPr>
            <p:extLst>
              <p:ext uri="{D42A27DB-BD31-4B8C-83A1-F6EECF244321}">
                <p14:modId xmlns:p14="http://schemas.microsoft.com/office/powerpoint/2010/main" val="2283057119"/>
              </p:ext>
            </p:extLst>
          </p:nvPr>
        </p:nvGraphicFramePr>
        <p:xfrm>
          <a:off x="233984" y="1927439"/>
          <a:ext cx="9433047" cy="4316337"/>
        </p:xfrm>
        <a:graphic>
          <a:graphicData uri="http://schemas.openxmlformats.org/drawingml/2006/table">
            <a:tbl>
              <a:tblPr firstRow="1" bandRow="1">
                <a:tableStyleId>{5C22544A-7EE6-4342-B048-85BDC9FD1C3A}</a:tableStyleId>
              </a:tblPr>
              <a:tblGrid>
                <a:gridCol w="1335653">
                  <a:extLst>
                    <a:ext uri="{9D8B030D-6E8A-4147-A177-3AD203B41FA5}">
                      <a16:colId xmlns:a16="http://schemas.microsoft.com/office/drawing/2014/main" val="20001"/>
                    </a:ext>
                  </a:extLst>
                </a:gridCol>
                <a:gridCol w="2426685">
                  <a:extLst>
                    <a:ext uri="{9D8B030D-6E8A-4147-A177-3AD203B41FA5}">
                      <a16:colId xmlns:a16="http://schemas.microsoft.com/office/drawing/2014/main" val="1677872960"/>
                    </a:ext>
                  </a:extLst>
                </a:gridCol>
                <a:gridCol w="1168696">
                  <a:extLst>
                    <a:ext uri="{9D8B030D-6E8A-4147-A177-3AD203B41FA5}">
                      <a16:colId xmlns:a16="http://schemas.microsoft.com/office/drawing/2014/main" val="3661723914"/>
                    </a:ext>
                  </a:extLst>
                </a:gridCol>
                <a:gridCol w="4502013">
                  <a:extLst>
                    <a:ext uri="{9D8B030D-6E8A-4147-A177-3AD203B41FA5}">
                      <a16:colId xmlns:a16="http://schemas.microsoft.com/office/drawing/2014/main" val="3386509722"/>
                    </a:ext>
                  </a:extLst>
                </a:gridCol>
              </a:tblGrid>
              <a:tr h="827566">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日本側の主な出資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現地法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への</a:t>
                      </a: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4858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オリンパス</a:t>
                      </a:r>
                      <a:endParaRPr kumimoji="1" lang="zh-TW" altLang="en-US"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tx1"/>
                          </a:solidFill>
                          <a:latin typeface="+mj-lt"/>
                          <a:ea typeface="+mn-ea"/>
                          <a:cs typeface="Arial" panose="020B0604020202020204" pitchFamily="34" charset="0"/>
                        </a:rPr>
                        <a:t>Olympus MEA FZ-LLC</a:t>
                      </a:r>
                      <a:r>
                        <a:rPr kumimoji="1" lang="ja-JP" altLang="en-US" sz="1200" b="0" kern="1200" dirty="0">
                          <a:solidFill>
                            <a:schemeClr val="tx1"/>
                          </a:solidFill>
                          <a:latin typeface="+mj-lt"/>
                          <a:ea typeface="+mn-ea"/>
                          <a:cs typeface="Arial" panose="020B0604020202020204" pitchFamily="34" charset="0"/>
                        </a:rPr>
                        <a:t>　</a:t>
                      </a:r>
                      <a:r>
                        <a:rPr kumimoji="1" lang="en-US" altLang="ja-JP" sz="1200" b="0" kern="1200" dirty="0">
                          <a:solidFill>
                            <a:schemeClr val="tx1"/>
                          </a:solidFill>
                          <a:latin typeface="+mj-lt"/>
                          <a:ea typeface="+mn-ea"/>
                          <a:cs typeface="Arial" panose="020B0604020202020204" pitchFamily="34" charset="0"/>
                        </a:rPr>
                        <a:t>(UAE)</a:t>
                      </a:r>
                      <a:endParaRPr kumimoji="1" lang="ja-JP" altLang="en-US" sz="1200" b="0" kern="1200" dirty="0">
                        <a:solidFill>
                          <a:schemeClr val="tx1"/>
                        </a:solidFill>
                        <a:latin typeface="+mj-lt"/>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n-ea"/>
                          <a:ea typeface="+mn-ea"/>
                          <a:cs typeface="Arial" panose="020B0604020202020204" pitchFamily="34" charset="0"/>
                        </a:rPr>
                        <a:t>南アでの代理店　</a:t>
                      </a:r>
                      <a:r>
                        <a:rPr kumimoji="1" lang="en-US" altLang="ja-JP" sz="1200" b="0" kern="1200" dirty="0" err="1">
                          <a:solidFill>
                            <a:schemeClr val="tx1"/>
                          </a:solidFill>
                          <a:latin typeface="+mn-ea"/>
                          <a:ea typeface="+mn-ea"/>
                          <a:cs typeface="Arial" panose="020B0604020202020204" pitchFamily="34" charset="0"/>
                        </a:rPr>
                        <a:t>Tudortech</a:t>
                      </a:r>
                      <a:endParaRPr kumimoji="1" lang="en-US" sz="12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不明</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N/A</a:t>
                      </a:r>
                      <a:endParaRPr kumimoji="1" lang="ja-JP"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8832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ニプロ</a:t>
                      </a:r>
                      <a:endParaRPr kumimoji="1" lang="zh-TW" altLang="en-US"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err="1">
                          <a:solidFill>
                            <a:schemeClr val="tx1"/>
                          </a:solidFill>
                          <a:latin typeface="+mj-lt"/>
                          <a:ea typeface="+mn-ea"/>
                          <a:cs typeface="Arial" panose="020B0604020202020204" pitchFamily="34" charset="0"/>
                        </a:rPr>
                        <a:t>Nipro</a:t>
                      </a:r>
                      <a:r>
                        <a:rPr kumimoji="1" lang="en-US" sz="1200" b="0" kern="1200" dirty="0">
                          <a:solidFill>
                            <a:schemeClr val="tx1"/>
                          </a:solidFill>
                          <a:latin typeface="+mj-lt"/>
                          <a:ea typeface="+mn-ea"/>
                          <a:cs typeface="Arial" panose="020B0604020202020204" pitchFamily="34" charset="0"/>
                        </a:rPr>
                        <a:t> Medical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06</a:t>
                      </a:r>
                      <a:r>
                        <a:rPr kumimoji="1" lang="ja-JP" altLang="en-US" sz="1200" kern="1200" dirty="0">
                          <a:solidFill>
                            <a:schemeClr val="dk1"/>
                          </a:solidFill>
                          <a:latin typeface="+mn-ea"/>
                          <a:ea typeface="+mn-ea"/>
                          <a:cs typeface="Arial" panose="020B0604020202020204" pitchFamily="34" charset="0"/>
                        </a:rPr>
                        <a:t>年</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医療機器の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293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テルモ</a:t>
                      </a:r>
                      <a:endParaRPr kumimoji="1" lang="en-US" altLang="ja-JP"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j-lt"/>
                          <a:ea typeface="+mn-ea"/>
                          <a:cs typeface="Arial" panose="020B0604020202020204" pitchFamily="34" charset="0"/>
                        </a:rPr>
                        <a:t>ヨハネスブルク駐在員事務所</a:t>
                      </a:r>
                      <a:endParaRPr kumimoji="1" lang="en-US" sz="12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07</a:t>
                      </a:r>
                      <a:r>
                        <a:rPr kumimoji="1" lang="ja-JP" altLang="en-US" sz="12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先端医療機器および一般消耗品の販売および医療従事者向けのトレーニン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7293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キヤノンメディカルシステムズ</a:t>
                      </a:r>
                      <a:endParaRPr kumimoji="1" lang="en-US" altLang="ja-JP"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j-lt"/>
                          <a:ea typeface="+mn-ea"/>
                          <a:cs typeface="Arial" panose="020B0604020202020204" pitchFamily="34" charset="0"/>
                        </a:rPr>
                        <a:t>南アでの代理店　</a:t>
                      </a:r>
                      <a:r>
                        <a:rPr kumimoji="1" lang="en-US" altLang="ja-JP" sz="1200" b="0" kern="1200" dirty="0" err="1">
                          <a:solidFill>
                            <a:schemeClr val="tx1"/>
                          </a:solidFill>
                          <a:latin typeface="+mj-lt"/>
                          <a:ea typeface="+mn-ea"/>
                          <a:cs typeface="Arial" panose="020B0604020202020204" pitchFamily="34" charset="0"/>
                        </a:rPr>
                        <a:t>TecmedAfrica</a:t>
                      </a:r>
                      <a:endParaRPr kumimoji="1" lang="en-US" sz="12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N/A</a:t>
                      </a:r>
                      <a:endParaRPr kumimoji="1" lang="ja-JP"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r h="57293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シスメ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Sysmex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06</a:t>
                      </a:r>
                      <a:r>
                        <a:rPr kumimoji="1" lang="ja-JP" altLang="en-US" sz="1200" kern="1200" dirty="0">
                          <a:solidFill>
                            <a:schemeClr val="dk1"/>
                          </a:solidFill>
                          <a:latin typeface="+mn-ea"/>
                          <a:ea typeface="+mn-ea"/>
                          <a:cs typeface="Arial" panose="020B0604020202020204" pitchFamily="34" charset="0"/>
                        </a:rPr>
                        <a:t>年</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代理店へのサービス・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03813647"/>
                  </a:ext>
                </a:extLst>
              </a:tr>
              <a:tr h="433064">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島津製作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Shimadzu</a:t>
                      </a:r>
                      <a:r>
                        <a:rPr kumimoji="1" lang="ja-JP" altLang="en-US" sz="1200" b="0" kern="1200" dirty="0">
                          <a:solidFill>
                            <a:schemeClr val="tx1"/>
                          </a:solidFill>
                          <a:latin typeface="+mj-lt"/>
                          <a:ea typeface="+mn-ea"/>
                          <a:cs typeface="Arial" panose="020B0604020202020204" pitchFamily="34" charset="0"/>
                        </a:rPr>
                        <a:t> </a:t>
                      </a:r>
                      <a:r>
                        <a:rPr kumimoji="1" lang="en-US" altLang="ja-JP" sz="1200" b="0" kern="1200" dirty="0">
                          <a:solidFill>
                            <a:schemeClr val="tx1"/>
                          </a:solidFill>
                          <a:latin typeface="+mj-lt"/>
                          <a:ea typeface="+mn-ea"/>
                          <a:cs typeface="Arial" panose="020B0604020202020204" pitchFamily="34" charset="0"/>
                        </a:rPr>
                        <a:t>South</a:t>
                      </a:r>
                      <a:r>
                        <a:rPr kumimoji="1" lang="ja-JP" altLang="en-US" sz="1200" b="0" kern="1200" dirty="0">
                          <a:solidFill>
                            <a:schemeClr val="tx1"/>
                          </a:solidFill>
                          <a:latin typeface="+mj-lt"/>
                          <a:ea typeface="+mn-ea"/>
                          <a:cs typeface="Arial" panose="020B0604020202020204" pitchFamily="34" charset="0"/>
                        </a:rPr>
                        <a:t> </a:t>
                      </a:r>
                      <a:endParaRPr kumimoji="1" lang="en-US" altLang="ja-JP" sz="1200" b="0" kern="1200" dirty="0">
                        <a:solidFill>
                          <a:schemeClr val="tx1"/>
                        </a:solidFill>
                        <a:latin typeface="+mj-lt"/>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tx1"/>
                          </a:solidFill>
                          <a:latin typeface="+mj-lt"/>
                          <a:ea typeface="+mn-ea"/>
                          <a:cs typeface="Arial" panose="020B0604020202020204" pitchFamily="34" charset="0"/>
                        </a:rPr>
                        <a:t>Africa</a:t>
                      </a:r>
                      <a:r>
                        <a:rPr kumimoji="1" lang="ja-JP" altLang="en-US" sz="1200" b="0" kern="1200" dirty="0">
                          <a:solidFill>
                            <a:schemeClr val="tx1"/>
                          </a:solidFill>
                          <a:latin typeface="+mj-lt"/>
                          <a:ea typeface="+mn-ea"/>
                          <a:cs typeface="Arial" panose="020B0604020202020204" pitchFamily="34" charset="0"/>
                        </a:rPr>
                        <a:t> </a:t>
                      </a:r>
                      <a:r>
                        <a:rPr kumimoji="1" lang="en-US" altLang="ja-JP" sz="1200" b="0" kern="1200" dirty="0">
                          <a:solidFill>
                            <a:schemeClr val="tx1"/>
                          </a:solidFill>
                          <a:latin typeface="+mj-lt"/>
                          <a:ea typeface="+mn-ea"/>
                          <a:cs typeface="Arial" panose="020B0604020202020204" pitchFamily="34" charset="0"/>
                        </a:rPr>
                        <a:t>(Pty) Ltd.</a:t>
                      </a:r>
                      <a:endParaRPr kumimoji="1" lang="en-US" sz="12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11</a:t>
                      </a:r>
                      <a:r>
                        <a:rPr kumimoji="1" lang="ja-JP" altLang="en-US" sz="12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baseline="0" dirty="0">
                          <a:solidFill>
                            <a:schemeClr val="dk1"/>
                          </a:solidFill>
                          <a:latin typeface="+mn-ea"/>
                          <a:ea typeface="+mn-ea"/>
                          <a:cs typeface="Arial" panose="020B0604020202020204" pitchFamily="34" charset="0"/>
                        </a:rPr>
                        <a:t>Ｘ線一般撮影装置などの販売、現地代理店の技術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287547"/>
                  </a:ext>
                </a:extLst>
              </a:tr>
            </a:tbl>
          </a:graphicData>
        </a:graphic>
      </p:graphicFrame>
      <p:sp>
        <p:nvSpPr>
          <p:cNvPr id="6" name="テキスト ボックス 5"/>
          <p:cNvSpPr txBox="1"/>
          <p:nvPr/>
        </p:nvSpPr>
        <p:spPr>
          <a:xfrm>
            <a:off x="128464" y="6366887"/>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https://www.kantei.go.jp/jp/singi/kenkouiryou/siryou/pdf/r02_africa_moc.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2" name="Rectangle 6"/>
          <p:cNvSpPr>
            <a:spLocks noChangeArrowheads="1"/>
          </p:cNvSpPr>
          <p:nvPr/>
        </p:nvSpPr>
        <p:spPr bwMode="auto">
          <a:xfrm>
            <a:off x="233983" y="156739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日系メーカーの進出状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JETRO</a:t>
            </a:r>
            <a:r>
              <a:rPr lang="ja-JP" altLang="en-US" sz="1400" dirty="0"/>
              <a:t>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時点で</a:t>
            </a:r>
            <a:r>
              <a:rPr lang="en-US" altLang="ja-JP" sz="1400" dirty="0"/>
              <a:t>268</a:t>
            </a:r>
            <a:r>
              <a:rPr lang="ja-JP" altLang="en-US" sz="1400" dirty="0"/>
              <a:t>社。</a:t>
            </a:r>
            <a:endParaRPr lang="en-US" altLang="ja-JP" sz="14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445013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73133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40861" y="107996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医療機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輸入されており、現地での製造はごくわずかとなっている。製品は多くのディストリビューターを通じて販売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的な医療機器の多くは、民間セクターによって調達される。</a:t>
            </a:r>
          </a:p>
        </p:txBody>
      </p:sp>
      <p:grpSp>
        <p:nvGrpSpPr>
          <p:cNvPr id="8" name="グループ化 7"/>
          <p:cNvGrpSpPr/>
          <p:nvPr/>
        </p:nvGrpSpPr>
        <p:grpSpPr>
          <a:xfrm>
            <a:off x="4989060" y="2348853"/>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36532" y="2348853"/>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165065" y="634939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en-US" altLang="ja-JP" sz="800" dirty="0" bmk=""/>
          </a:p>
        </p:txBody>
      </p:sp>
      <p:sp>
        <p:nvSpPr>
          <p:cNvPr id="6" name="TextBox 5">
            <a:extLst>
              <a:ext uri="{FF2B5EF4-FFF2-40B4-BE49-F238E27FC236}">
                <a16:creationId xmlns:a16="http://schemas.microsoft.com/office/drawing/2014/main" id="{FFDD1569-FAAB-4E5E-A759-7AFD70CE72F4}"/>
              </a:ext>
            </a:extLst>
          </p:cNvPr>
          <p:cNvSpPr txBox="1"/>
          <p:nvPr/>
        </p:nvSpPr>
        <p:spPr>
          <a:xfrm>
            <a:off x="4953000" y="2803025"/>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財政管理法（</a:t>
            </a:r>
            <a:r>
              <a:rPr lang="en-US" altLang="ja-JP" sz="1400" dirty="0"/>
              <a:t>PMFA</a:t>
            </a:r>
            <a:r>
              <a:rPr lang="ja-JP" altLang="en-US" sz="1400" dirty="0"/>
              <a:t>）および優先調達法（</a:t>
            </a:r>
            <a:r>
              <a:rPr lang="en-US" altLang="ja-JP" sz="1400" dirty="0"/>
              <a:t>PPPF</a:t>
            </a:r>
            <a:r>
              <a:rPr lang="ja-JP" altLang="en-US" sz="1400" dirty="0"/>
              <a:t>）に基づき、州</a:t>
            </a:r>
            <a:r>
              <a:rPr lang="en-US" altLang="ja-JP" sz="1400" dirty="0"/>
              <a:t>(</a:t>
            </a:r>
            <a:r>
              <a:rPr lang="ja-JP" altLang="en-US" sz="1400" dirty="0"/>
              <a:t>特定機器については中央）の保健省が調達を行っている。</a:t>
            </a:r>
          </a:p>
          <a:p>
            <a:r>
              <a:rPr lang="ja-JP" altLang="en-US" sz="1400" dirty="0"/>
              <a:t>大規模な公立病院の場合は直接の発注もあるが、高額な機器の購入の際には、管轄する州保健省の調達局の監督と承認が必要となる。</a:t>
            </a:r>
            <a:endParaRPr lang="en-US" altLang="ja-JP" sz="1400" dirty="0"/>
          </a:p>
          <a:p>
            <a:r>
              <a:rPr lang="en-US" altLang="ja-JP" sz="1400" dirty="0"/>
              <a:t>B-BBEE</a:t>
            </a:r>
            <a:r>
              <a:rPr lang="ja-JP" altLang="en-US" sz="1400" dirty="0"/>
              <a:t>政策（ブラック・エコノミック・エンパワーメント政策）が取られており、医療機器選定の際の重要な基準ともなっている。要件を満たすためには、</a:t>
            </a:r>
            <a:r>
              <a:rPr lang="en-US" altLang="ja-JP" sz="1400" dirty="0"/>
              <a:t>B-BBEE</a:t>
            </a:r>
            <a:r>
              <a:rPr lang="ja-JP" altLang="en-US" sz="1400" dirty="0"/>
              <a:t>スコアの高いディストリビューターとの提携も有効である。</a:t>
            </a:r>
            <a:endParaRPr lang="en-US" altLang="ja-JP" sz="1400" dirty="0"/>
          </a:p>
        </p:txBody>
      </p:sp>
      <p:sp>
        <p:nvSpPr>
          <p:cNvPr id="47" name="TextBox 46">
            <a:extLst>
              <a:ext uri="{FF2B5EF4-FFF2-40B4-BE49-F238E27FC236}">
                <a16:creationId xmlns:a16="http://schemas.microsoft.com/office/drawing/2014/main" id="{82D59553-AA61-4B91-8BBF-B94B84037879}"/>
              </a:ext>
            </a:extLst>
          </p:cNvPr>
          <p:cNvSpPr txBox="1"/>
          <p:nvPr/>
        </p:nvSpPr>
        <p:spPr>
          <a:xfrm>
            <a:off x="344486" y="2869654"/>
            <a:ext cx="4608510" cy="22252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の調達は、個々の医療機関グループが傘下の病院や診療所などのためにサプライヤーの選定・登録を行っている。</a:t>
            </a:r>
            <a:endParaRPr lang="en-US" altLang="ja-JP" sz="1400" dirty="0"/>
          </a:p>
          <a:p>
            <a:r>
              <a:rPr lang="ja-JP" altLang="en-US" sz="1400" dirty="0"/>
              <a:t>病院は、現地民間保険であるメディカルエイドから資金提供の承認を得たうえで調達する。</a:t>
            </a:r>
          </a:p>
          <a:p>
            <a:r>
              <a:rPr lang="ja-JP" altLang="en-US" sz="1400" dirty="0"/>
              <a:t>医療機器は、多数の小規模ディストリビューター、大規模卸売業者、国際的サプライヤーの現地法人を通じて販売されている。</a:t>
            </a:r>
          </a:p>
          <a:p>
            <a:endParaRPr lang="en-US" sz="1400" dirty="0"/>
          </a:p>
        </p:txBody>
      </p:sp>
    </p:spTree>
    <p:extLst>
      <p:ext uri="{BB962C8B-B14F-4D97-AF65-F5344CB8AC3E}">
        <p14:creationId xmlns:p14="http://schemas.microsoft.com/office/powerpoint/2010/main" val="28440585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202932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13" name="Object 1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154" name="Chart 153">
            <a:extLst>
              <a:ext uri="{FF2B5EF4-FFF2-40B4-BE49-F238E27FC236}">
                <a16:creationId xmlns:a16="http://schemas.microsoft.com/office/drawing/2014/main" id="{957FD3FA-7AD7-8DB1-44B9-85F58C9B6C15}"/>
              </a:ext>
            </a:extLst>
          </p:cNvPr>
          <p:cNvGraphicFramePr/>
          <p:nvPr>
            <p:custDataLst>
              <p:tags r:id="rId3"/>
            </p:custDataLst>
            <p:extLst>
              <p:ext uri="{D42A27DB-BD31-4B8C-83A1-F6EECF244321}">
                <p14:modId xmlns:p14="http://schemas.microsoft.com/office/powerpoint/2010/main" val="2103694374"/>
              </p:ext>
            </p:extLst>
          </p:nvPr>
        </p:nvGraphicFramePr>
        <p:xfrm>
          <a:off x="169863" y="2305050"/>
          <a:ext cx="8828087" cy="3946525"/>
        </p:xfrm>
        <a:graphic>
          <a:graphicData uri="http://schemas.openxmlformats.org/drawingml/2006/chart">
            <c:chart xmlns:c="http://schemas.openxmlformats.org/drawingml/2006/chart" xmlns:r="http://schemas.openxmlformats.org/officeDocument/2006/relationships" r:id="rId27"/>
          </a:graphicData>
        </a:graphic>
      </p:graphicFrame>
      <p:cxnSp>
        <p:nvCxnSpPr>
          <p:cNvPr id="116" name="Straight Connector 115">
            <a:extLst>
              <a:ext uri="{FF2B5EF4-FFF2-40B4-BE49-F238E27FC236}">
                <a16:creationId xmlns:a16="http://schemas.microsoft.com/office/drawing/2014/main" id="{2AEA7FAA-0C0A-22D4-E976-8DA52BE0A420}"/>
              </a:ext>
            </a:extLst>
          </p:cNvPr>
          <p:cNvCxnSpPr/>
          <p:nvPr>
            <p:custDataLst>
              <p:tags r:id="rId4"/>
            </p:custDataLst>
          </p:nvPr>
        </p:nvCxnSpPr>
        <p:spPr bwMode="auto">
          <a:xfrm flipH="1">
            <a:off x="628650" y="43926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3F8861B5-AB7A-C2F3-55AB-65B1DA794451}"/>
              </a:ext>
            </a:extLst>
          </p:cNvPr>
          <p:cNvCxnSpPr/>
          <p:nvPr>
            <p:custDataLst>
              <p:tags r:id="rId5"/>
            </p:custDataLst>
          </p:nvPr>
        </p:nvCxnSpPr>
        <p:spPr bwMode="auto">
          <a:xfrm>
            <a:off x="3282950" y="4403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8278BBA2-13E2-F952-34B2-008A68E8FD21}"/>
              </a:ext>
            </a:extLst>
          </p:cNvPr>
          <p:cNvCxnSpPr/>
          <p:nvPr>
            <p:custDataLst>
              <p:tags r:id="rId6"/>
            </p:custDataLst>
          </p:nvPr>
        </p:nvCxnSpPr>
        <p:spPr bwMode="auto">
          <a:xfrm>
            <a:off x="5991225" y="4494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FDB79199-AE90-E5B5-42B1-86E7C9D0FFDB}"/>
              </a:ext>
            </a:extLst>
          </p:cNvPr>
          <p:cNvCxnSpPr/>
          <p:nvPr>
            <p:custDataLst>
              <p:tags r:id="rId7"/>
            </p:custDataLst>
          </p:nvPr>
        </p:nvCxnSpPr>
        <p:spPr bwMode="auto">
          <a:xfrm>
            <a:off x="8697913" y="4470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p:cNvSpPr>
            <a:spLocks noGrp="1"/>
          </p:cNvSpPr>
          <p:nvPr>
            <p:custDataLst>
              <p:tags r:id="rId8"/>
            </p:custDataLst>
          </p:nvPr>
        </p:nvSpPr>
        <p:spPr bwMode="auto">
          <a:xfrm>
            <a:off x="273050" y="2216150"/>
            <a:ext cx="5715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10 </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useBgFill="1">
        <p:nvSpPr>
          <p:cNvPr id="114" name="テキスト プレースホルダ 9">
            <a:extLst>
              <a:ext uri="{FF2B5EF4-FFF2-40B4-BE49-F238E27FC236}">
                <a16:creationId xmlns:a16="http://schemas.microsoft.com/office/drawing/2014/main" id="{B40F2134-7627-8944-439E-BE52B228736A}"/>
              </a:ext>
            </a:extLst>
          </p:cNvPr>
          <p:cNvSpPr>
            <a:spLocks/>
          </p:cNvSpPr>
          <p:nvPr>
            <p:custDataLst>
              <p:tags r:id="rId9"/>
            </p:custDataLst>
          </p:nvPr>
        </p:nvSpPr>
        <p:spPr bwMode="gray">
          <a:xfrm>
            <a:off x="5851525" y="43418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903D39-C400-4E61-A4A1-643686A2814A}" type="datetime'''''''''''''''''''''''''1''.''''''''''''9''2'''''''''''''''">
              <a:rPr lang="en-US" altLang="en-US" sz="1000" smtClean="0">
                <a:effectLst/>
              </a:rPr>
              <a:pPr/>
              <a:t>1.92</a:t>
            </a:fld>
            <a:endParaRPr kumimoji="1" lang="en-US" altLang="ja-JP" sz="1000" dirty="0">
              <a:sym typeface="+mn-lt"/>
            </a:endParaRPr>
          </a:p>
        </p:txBody>
      </p:sp>
      <p:sp useBgFill="1">
        <p:nvSpPr>
          <p:cNvPr id="115" name="テキスト プレースホルダ 9">
            <a:extLst>
              <a:ext uri="{FF2B5EF4-FFF2-40B4-BE49-F238E27FC236}">
                <a16:creationId xmlns:a16="http://schemas.microsoft.com/office/drawing/2014/main" id="{6ECA94AF-FB66-2D61-98CA-431251114762}"/>
              </a:ext>
            </a:extLst>
          </p:cNvPr>
          <p:cNvSpPr>
            <a:spLocks/>
          </p:cNvSpPr>
          <p:nvPr>
            <p:custDataLst>
              <p:tags r:id="rId10"/>
            </p:custDataLst>
          </p:nvPr>
        </p:nvSpPr>
        <p:spPr bwMode="gray">
          <a:xfrm>
            <a:off x="8558213" y="4318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67948-1E1F-4AD7-B6DF-2185F9758339}" type="datetime'''''1''''.''''''''''''''''9''''''''''''''6'''''''''''''''''''">
              <a:rPr lang="en-US" altLang="en-US" sz="1000" smtClean="0">
                <a:effectLst/>
              </a:rPr>
              <a:pPr/>
              <a:t>1.96</a:t>
            </a:fld>
            <a:endParaRPr kumimoji="1" lang="en-US" altLang="ja-JP" sz="1000" dirty="0">
              <a:sym typeface="+mn-lt"/>
            </a:endParaRPr>
          </a:p>
        </p:txBody>
      </p:sp>
      <p:sp useBgFill="1">
        <p:nvSpPr>
          <p:cNvPr id="153" name="テキスト プレースホルダ 9">
            <a:extLst>
              <a:ext uri="{FF2B5EF4-FFF2-40B4-BE49-F238E27FC236}">
                <a16:creationId xmlns:a16="http://schemas.microsoft.com/office/drawing/2014/main" id="{7789756F-A779-AB52-3057-6C1BB5F27B90}"/>
              </a:ext>
            </a:extLst>
          </p:cNvPr>
          <p:cNvSpPr>
            <a:spLocks/>
          </p:cNvSpPr>
          <p:nvPr>
            <p:custDataLst>
              <p:tags r:id="rId11"/>
            </p:custDataLst>
          </p:nvPr>
        </p:nvSpPr>
        <p:spPr bwMode="gray">
          <a:xfrm>
            <a:off x="3143250" y="42513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CC2BAF-206A-4E40-BAD6-D2204ADA4435}" type="datetime'2''''.''''''''''''''''''''''''''''''''0''''''''6'''''">
              <a:rPr lang="en-US" altLang="en-US" sz="1000" smtClean="0">
                <a:effectLst/>
                <a:sym typeface="+mn-lt"/>
              </a:rPr>
              <a:pPr marL="0" lvl="0" indent="0" algn="ctr">
                <a:spcBef>
                  <a:spcPct val="0"/>
                </a:spcBef>
                <a:buNone/>
              </a:pPr>
              <a:t>2.06</a:t>
            </a:fld>
            <a:endParaRPr kumimoji="1" lang="en-US" altLang="ja-JP"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00808"/>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8"/>
          <p:cNvGrpSpPr/>
          <p:nvPr/>
        </p:nvGrpSpPr>
        <p:grpSpPr>
          <a:xfrm>
            <a:off x="4694059" y="2348880"/>
            <a:ext cx="4340584" cy="4085379"/>
            <a:chOff x="4257040" y="2300288"/>
            <a:chExt cx="4512310" cy="4109191"/>
          </a:xfrm>
        </p:grpSpPr>
        <p:sp>
          <p:nvSpPr>
            <p:cNvPr id="31" name="フリーフォーム 19"/>
            <p:cNvSpPr/>
            <p:nvPr/>
          </p:nvSpPr>
          <p:spPr>
            <a:xfrm>
              <a:off x="4257040" y="2300288"/>
              <a:ext cx="4512310"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フリカはサハラ以南アフリカ最大の医薬品市場である。医薬品市場全体の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すると予測されている。</a:t>
            </a:r>
          </a:p>
        </p:txBody>
      </p:sp>
      <p:cxnSp>
        <p:nvCxnSpPr>
          <p:cNvPr id="64" name="Straight Connector 63">
            <a:extLst>
              <a:ext uri="{FF2B5EF4-FFF2-40B4-BE49-F238E27FC236}">
                <a16:creationId xmlns:a16="http://schemas.microsoft.com/office/drawing/2014/main" id="{F7C0ED8C-D73F-1871-41A5-FDAFE0A4989F}"/>
              </a:ext>
            </a:extLst>
          </p:cNvPr>
          <p:cNvCxnSpPr/>
          <p:nvPr>
            <p:custDataLst>
              <p:tags r:id="rId12"/>
            </p:custDataLst>
          </p:nvPr>
        </p:nvCxnSpPr>
        <p:spPr bwMode="gray">
          <a:xfrm>
            <a:off x="6537325" y="22336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D2601B62-F03A-1F7A-4901-112EBA8C688E}"/>
              </a:ext>
            </a:extLst>
          </p:cNvPr>
          <p:cNvCxnSpPr/>
          <p:nvPr>
            <p:custDataLst>
              <p:tags r:id="rId13"/>
            </p:custDataLst>
          </p:nvPr>
        </p:nvCxnSpPr>
        <p:spPr bwMode="gray">
          <a:xfrm>
            <a:off x="6537325" y="24368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6675DE36-39EF-55DF-277A-92540EA5820F}"/>
              </a:ext>
            </a:extLst>
          </p:cNvPr>
          <p:cNvCxnSpPr/>
          <p:nvPr>
            <p:custDataLst>
              <p:tags r:id="rId14"/>
            </p:custDataLst>
          </p:nvPr>
        </p:nvCxnSpPr>
        <p:spPr bwMode="gray">
          <a:xfrm>
            <a:off x="6537325" y="26400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077E2327-2288-92D3-5E8A-C5A240533FDA}"/>
              </a:ext>
            </a:extLst>
          </p:cNvPr>
          <p:cNvCxnSpPr/>
          <p:nvPr>
            <p:custDataLst>
              <p:tags r:id="rId15"/>
            </p:custDataLst>
          </p:nvPr>
        </p:nvCxnSpPr>
        <p:spPr bwMode="gray">
          <a:xfrm>
            <a:off x="6537325" y="28432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5" name="Oval 64">
            <a:extLst>
              <a:ext uri="{FF2B5EF4-FFF2-40B4-BE49-F238E27FC236}">
                <a16:creationId xmlns:a16="http://schemas.microsoft.com/office/drawing/2014/main" id="{26ED0F4C-6647-D043-D216-84F80CE0B0B8}"/>
              </a:ext>
            </a:extLst>
          </p:cNvPr>
          <p:cNvSpPr/>
          <p:nvPr>
            <p:custDataLst>
              <p:tags r:id="rId16"/>
            </p:custDataLst>
          </p:nvPr>
        </p:nvSpPr>
        <p:spPr bwMode="auto">
          <a:xfrm>
            <a:off x="6626225" y="2195513"/>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4" name="Rectangle 93">
            <a:extLst>
              <a:ext uri="{FF2B5EF4-FFF2-40B4-BE49-F238E27FC236}">
                <a16:creationId xmlns:a16="http://schemas.microsoft.com/office/drawing/2014/main" id="{28B33C78-2C7D-888F-726D-130FEE67F87B}"/>
              </a:ext>
            </a:extLst>
          </p:cNvPr>
          <p:cNvSpPr/>
          <p:nvPr>
            <p:custDataLst>
              <p:tags r:id="rId17"/>
            </p:custDataLst>
          </p:nvPr>
        </p:nvSpPr>
        <p:spPr bwMode="auto">
          <a:xfrm>
            <a:off x="6626225" y="2398713"/>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0" name="Isosceles Triangle 69">
            <a:extLst>
              <a:ext uri="{FF2B5EF4-FFF2-40B4-BE49-F238E27FC236}">
                <a16:creationId xmlns:a16="http://schemas.microsoft.com/office/drawing/2014/main" id="{EE562A4B-14E7-AC1F-4682-9237659CE797}"/>
              </a:ext>
            </a:extLst>
          </p:cNvPr>
          <p:cNvSpPr/>
          <p:nvPr>
            <p:custDataLst>
              <p:tags r:id="rId18"/>
            </p:custDataLst>
          </p:nvPr>
        </p:nvSpPr>
        <p:spPr bwMode="auto">
          <a:xfrm>
            <a:off x="6626225" y="260191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2" name="Diamond 71">
            <a:extLst>
              <a:ext uri="{FF2B5EF4-FFF2-40B4-BE49-F238E27FC236}">
                <a16:creationId xmlns:a16="http://schemas.microsoft.com/office/drawing/2014/main" id="{F792C96F-30EB-CC34-B67C-1522024ECD72}"/>
              </a:ext>
            </a:extLst>
          </p:cNvPr>
          <p:cNvSpPr/>
          <p:nvPr>
            <p:custDataLst>
              <p:tags r:id="rId19"/>
            </p:custDataLst>
          </p:nvPr>
        </p:nvSpPr>
        <p:spPr bwMode="auto">
          <a:xfrm>
            <a:off x="6626225" y="2805113"/>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8" name="テキスト プレースホルダ 9">
            <a:extLst>
              <a:ext uri="{FF2B5EF4-FFF2-40B4-BE49-F238E27FC236}">
                <a16:creationId xmlns:a16="http://schemas.microsoft.com/office/drawing/2014/main" id="{6339AFBE-641C-60AC-4C81-1BEE61714A7C}"/>
              </a:ext>
            </a:extLst>
          </p:cNvPr>
          <p:cNvSpPr>
            <a:spLocks/>
          </p:cNvSpPr>
          <p:nvPr>
            <p:custDataLst>
              <p:tags r:id="rId20"/>
            </p:custDataLst>
          </p:nvPr>
        </p:nvSpPr>
        <p:spPr bwMode="auto">
          <a:xfrm>
            <a:off x="6848475" y="21621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BACE7B8-38CC-44FD-930B-6B4B352D117C}" type="datetime'''処''''''''''''''''方''''''''箋''''''''''販''''''''''''''''売'''">
              <a:rPr lang="ja-JP" altLang="en-US" sz="1000" smtClean="0"/>
              <a:pPr/>
              <a:t>処方箋販売</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1ABFD70A-8655-617A-34EC-609E112C00ED}"/>
              </a:ext>
            </a:extLst>
          </p:cNvPr>
          <p:cNvSpPr>
            <a:spLocks/>
          </p:cNvSpPr>
          <p:nvPr>
            <p:custDataLst>
              <p:tags r:id="rId21"/>
            </p:custDataLst>
          </p:nvPr>
        </p:nvSpPr>
        <p:spPr bwMode="auto">
          <a:xfrm>
            <a:off x="6848475" y="2365375"/>
            <a:ext cx="876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345E2FE-114D-4138-8BED-521D9CF48932}" type="datetime'革''新''''''的''''''''''な''''''医''''''''薬''''''''''''''''''品'''''">
              <a:rPr lang="ja-JP" altLang="en-US" sz="1000" smtClean="0"/>
              <a:pPr/>
              <a:t>革新的な医薬品</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FB82DC62-4653-7C41-1758-0286B624C10C}"/>
              </a:ext>
            </a:extLst>
          </p:cNvPr>
          <p:cNvSpPr>
            <a:spLocks/>
          </p:cNvSpPr>
          <p:nvPr>
            <p:custDataLst>
              <p:tags r:id="rId22"/>
            </p:custDataLst>
          </p:nvPr>
        </p:nvSpPr>
        <p:spPr bwMode="auto">
          <a:xfrm>
            <a:off x="6848475" y="2568575"/>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E9F9A18-0DC0-4A5A-9DA6-ED0618142B27}" type="datetime'ジ''ェネ''リ''''''''''''''ック医''''''''''薬''''''''''''''''''''''品'">
              <a:rPr lang="ja-JP" altLang="en-US" sz="1000" smtClean="0"/>
              <a:pPr/>
              <a:t>ジェネリック医薬品</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78846594-AE53-3510-A3EA-DE3AAFACE921}"/>
              </a:ext>
            </a:extLst>
          </p:cNvPr>
          <p:cNvSpPr>
            <a:spLocks/>
          </p:cNvSpPr>
          <p:nvPr>
            <p:custDataLst>
              <p:tags r:id="rId23"/>
            </p:custDataLst>
          </p:nvPr>
        </p:nvSpPr>
        <p:spPr bwMode="auto">
          <a:xfrm>
            <a:off x="6848475" y="2771775"/>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4632D80-2B12-4D56-BB11-C96FD83CA5C5}" type="datetime'O''''''''''''''''''''T''''''''''''C'''''''''''''''''''''">
              <a:rPr lang="en-US" altLang="en-US" sz="1000" smtClean="0"/>
              <a:pPr/>
              <a:t>OTC</a:t>
            </a:fld>
            <a:endParaRPr kumimoji="1" lang="en-US" altLang="ja-JP" sz="1000" dirty="0">
              <a:sym typeface="+mn-lt"/>
            </a:endParaRPr>
          </a:p>
        </p:txBody>
      </p:sp>
    </p:spTree>
    <p:extLst>
      <p:ext uri="{BB962C8B-B14F-4D97-AF65-F5344CB8AC3E}">
        <p14:creationId xmlns:p14="http://schemas.microsoft.com/office/powerpoint/2010/main" val="24083273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90520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3" name="片側の 2 つの角を丸めた四角形 12"/>
          <p:cNvSpPr/>
          <p:nvPr/>
        </p:nvSpPr>
        <p:spPr>
          <a:xfrm>
            <a:off x="6177136" y="2474045"/>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42" name="Chart 3">
            <a:extLst>
              <a:ext uri="{FF2B5EF4-FFF2-40B4-BE49-F238E27FC236}">
                <a16:creationId xmlns:a16="http://schemas.microsoft.com/office/drawing/2014/main" id="{73C2C020-892C-2E5E-8CA4-5584872552AC}"/>
              </a:ext>
            </a:extLst>
          </p:cNvPr>
          <p:cNvGraphicFramePr/>
          <p:nvPr>
            <p:custDataLst>
              <p:tags r:id="rId3"/>
            </p:custDataLst>
            <p:extLst>
              <p:ext uri="{D42A27DB-BD31-4B8C-83A1-F6EECF244321}">
                <p14:modId xmlns:p14="http://schemas.microsoft.com/office/powerpoint/2010/main" val="572701069"/>
              </p:ext>
            </p:extLst>
          </p:nvPr>
        </p:nvGraphicFramePr>
        <p:xfrm>
          <a:off x="6288088" y="3138488"/>
          <a:ext cx="2689225" cy="2949575"/>
        </p:xfrm>
        <a:graphic>
          <a:graphicData uri="http://schemas.openxmlformats.org/drawingml/2006/chart">
            <c:chart xmlns:c="http://schemas.openxmlformats.org/drawingml/2006/chart" xmlns:r="http://schemas.openxmlformats.org/officeDocument/2006/relationships" r:id="rId42"/>
          </a:graphicData>
        </a:graphic>
      </p:graphicFrame>
      <p:sp>
        <p:nvSpPr>
          <p:cNvPr id="27" name="テキスト プレースホルダ 9">
            <a:extLst>
              <a:ext uri="{FF2B5EF4-FFF2-40B4-BE49-F238E27FC236}">
                <a16:creationId xmlns:a16="http://schemas.microsoft.com/office/drawing/2014/main" id="{4E89746D-2456-B881-923E-6BFEB608C4AF}"/>
              </a:ext>
            </a:extLst>
          </p:cNvPr>
          <p:cNvSpPr>
            <a:spLocks/>
          </p:cNvSpPr>
          <p:nvPr>
            <p:custDataLst>
              <p:tags r:id="rId4"/>
            </p:custDataLst>
          </p:nvPr>
        </p:nvSpPr>
        <p:spPr bwMode="auto">
          <a:xfrm>
            <a:off x="8515350" y="36449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インド</a:t>
            </a:r>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75B7D2EA-9929-B1FB-BBE4-E38D78B6F3BE}"/>
              </a:ext>
            </a:extLst>
          </p:cNvPr>
          <p:cNvSpPr>
            <a:spLocks/>
          </p:cNvSpPr>
          <p:nvPr>
            <p:custDataLst>
              <p:tags r:id="rId5"/>
            </p:custDataLst>
          </p:nvPr>
        </p:nvSpPr>
        <p:spPr bwMode="auto">
          <a:xfrm>
            <a:off x="8772525" y="5016500"/>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DD803276-FC86-0A14-D9F7-D671164CBF47}"/>
              </a:ext>
            </a:extLst>
          </p:cNvPr>
          <p:cNvSpPr>
            <a:spLocks/>
          </p:cNvSpPr>
          <p:nvPr>
            <p:custDataLst>
              <p:tags r:id="rId6"/>
            </p:custDataLst>
          </p:nvPr>
        </p:nvSpPr>
        <p:spPr bwMode="auto">
          <a:xfrm>
            <a:off x="8259763" y="56324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ドイツ</a:t>
            </a:r>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D07323A7-0023-5817-EC48-574ADB544B1F}"/>
              </a:ext>
            </a:extLst>
          </p:cNvPr>
          <p:cNvSpPr>
            <a:spLocks/>
          </p:cNvSpPr>
          <p:nvPr>
            <p:custDataLst>
              <p:tags r:id="rId7"/>
            </p:custDataLst>
          </p:nvPr>
        </p:nvSpPr>
        <p:spPr bwMode="auto">
          <a:xfrm>
            <a:off x="7404100" y="5810250"/>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90B3CE-D173-48F1-89D4-42A33CBF455D}" type="datetime'''''''デ''''''''''''''''''''''ン''''''''マ''''''''''''ーク'''''''''">
              <a:rPr lang="ja-JP" altLang="en-US" sz="1000" smtClean="0"/>
              <a:pPr/>
              <a:t>デンマーク</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11321C66-611D-5D01-5417-55AB2C47B1F6}"/>
              </a:ext>
            </a:extLst>
          </p:cNvPr>
          <p:cNvSpPr>
            <a:spLocks/>
          </p:cNvSpPr>
          <p:nvPr>
            <p:custDataLst>
              <p:tags r:id="rId8"/>
            </p:custDataLst>
          </p:nvPr>
        </p:nvSpPr>
        <p:spPr bwMode="auto">
          <a:xfrm>
            <a:off x="6797675" y="573881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フランス</a:t>
            </a:r>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4E032270-307C-12B6-752C-308C3F01C9E7}"/>
              </a:ext>
            </a:extLst>
          </p:cNvPr>
          <p:cNvSpPr>
            <a:spLocks/>
          </p:cNvSpPr>
          <p:nvPr>
            <p:custDataLst>
              <p:tags r:id="rId9"/>
            </p:custDataLst>
          </p:nvPr>
        </p:nvSpPr>
        <p:spPr bwMode="auto">
          <a:xfrm>
            <a:off x="6084888" y="41640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03077B9-57A8-4B2A-A8BA-C642DCF6BEB7}" type="datetime'''''''''''その''''他'''''''''''''''''''''''''''''''''''''">
              <a:rPr lang="ja-JP" altLang="en-US" sz="1000" smtClean="0"/>
              <a:pPr/>
              <a:t>その他</a:t>
            </a:fld>
            <a:endParaRPr kumimoji="1" lang="en-US" altLang="ja-JP" sz="1000" dirty="0">
              <a:sym typeface="+mn-lt"/>
            </a:endParaRPr>
          </a:p>
        </p:txBody>
      </p:sp>
      <p:sp>
        <p:nvSpPr>
          <p:cNvPr id="66" name="テキスト ボックス 21">
            <a:extLst>
              <a:ext uri="{FF2B5EF4-FFF2-40B4-BE49-F238E27FC236}">
                <a16:creationId xmlns:a16="http://schemas.microsoft.com/office/drawing/2014/main" id="{FA1D3885-5109-4FD1-A3B5-4FF1CDDBEC2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 Trade Map</a:t>
            </a:r>
            <a:r>
              <a:rPr lang="en-US" altLang="ja-JP"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sp>
        <p:nvSpPr>
          <p:cNvPr id="54" name="Rectangle 7">
            <a:extLst>
              <a:ext uri="{FF2B5EF4-FFF2-40B4-BE49-F238E27FC236}">
                <a16:creationId xmlns:a16="http://schemas.microsoft.com/office/drawing/2014/main" id="{660F218B-0344-4F18-ABDF-BF1EB3A21B35}"/>
              </a:ext>
            </a:extLst>
          </p:cNvPr>
          <p:cNvSpPr/>
          <p:nvPr>
            <p:custDataLst>
              <p:tags r:id="rId10"/>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Rectangle 8">
            <a:extLst>
              <a:ext uri="{FF2B5EF4-FFF2-40B4-BE49-F238E27FC236}">
                <a16:creationId xmlns:a16="http://schemas.microsoft.com/office/drawing/2014/main" id="{7FC4A8D8-5B33-427B-A0CD-460D72E318E6}"/>
              </a:ext>
            </a:extLst>
          </p:cNvPr>
          <p:cNvSpPr/>
          <p:nvPr>
            <p:custDataLst>
              <p:tags r:id="rId11"/>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9" name="テキスト プレースホルダ 9">
            <a:extLst>
              <a:ext uri="{FF2B5EF4-FFF2-40B4-BE49-F238E27FC236}">
                <a16:creationId xmlns:a16="http://schemas.microsoft.com/office/drawing/2014/main" id="{E785639E-03F2-43A2-B350-F20E1610E12D}"/>
              </a:ext>
            </a:extLst>
          </p:cNvPr>
          <p:cNvSpPr>
            <a:spLocks noGrp="1"/>
          </p:cNvSpPr>
          <p:nvPr>
            <p:custDataLst>
              <p:tags r:id="rId12"/>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67DFE7-58E0-4A0C-B0D5-B89F82179C4D}" type="datetime'''''''輸''''''''''''''出'''''''''''''''''''''''''''''''''''''''">
              <a:rPr kumimoji="0" lang="ja-JP" altLang="en-US" sz="1000" smtClean="0"/>
              <a:pPr/>
              <a:t>輸出</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D04CEE22-0F38-4C36-AA5B-1C4577E61A07}"/>
              </a:ext>
            </a:extLst>
          </p:cNvPr>
          <p:cNvSpPr>
            <a:spLocks noGrp="1"/>
          </p:cNvSpPr>
          <p:nvPr>
            <p:custDataLst>
              <p:tags r:id="rId13"/>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2AB487-7753-4878-A74D-500797B0E752}" type="datetime'''''''''''''''輸''''入'''''''''''''''''''''''''''''''''''''">
              <a:rPr kumimoji="0" lang="ja-JP" altLang="en-US" sz="1000" smtClean="0"/>
              <a:pPr/>
              <a:t>輸入</a:t>
            </a:fld>
            <a:endParaRPr kumimoji="0" lang="ja-JP" altLang="en-US" sz="1000" dirty="0">
              <a:sym typeface="+mn-lt"/>
            </a:endParaRPr>
          </a:p>
        </p:txBody>
      </p:sp>
      <p:graphicFrame>
        <p:nvGraphicFramePr>
          <p:cNvPr id="35" name="Chart 3">
            <a:extLst>
              <a:ext uri="{FF2B5EF4-FFF2-40B4-BE49-F238E27FC236}">
                <a16:creationId xmlns:a16="http://schemas.microsoft.com/office/drawing/2014/main" id="{E6D3579D-283D-6346-B3BA-299256DDD57D}"/>
              </a:ext>
            </a:extLst>
          </p:cNvPr>
          <p:cNvGraphicFramePr/>
          <p:nvPr>
            <p:custDataLst>
              <p:tags r:id="rId14"/>
            </p:custDataLst>
            <p:extLst>
              <p:ext uri="{D42A27DB-BD31-4B8C-83A1-F6EECF244321}">
                <p14:modId xmlns:p14="http://schemas.microsoft.com/office/powerpoint/2010/main" val="2605710895"/>
              </p:ext>
            </p:extLst>
          </p:nvPr>
        </p:nvGraphicFramePr>
        <p:xfrm>
          <a:off x="114300" y="2409825"/>
          <a:ext cx="5535613" cy="3703638"/>
        </p:xfrm>
        <a:graphic>
          <a:graphicData uri="http://schemas.openxmlformats.org/drawingml/2006/chart">
            <c:chart xmlns:c="http://schemas.openxmlformats.org/drawingml/2006/chart" xmlns:r="http://schemas.openxmlformats.org/officeDocument/2006/relationships" r:id="rId43"/>
          </a:graphicData>
        </a:graphic>
      </p:graphicFrame>
      <p:sp>
        <p:nvSpPr>
          <p:cNvPr id="119" name="テキスト プレースホルダ 9">
            <a:extLst>
              <a:ext uri="{FF2B5EF4-FFF2-40B4-BE49-F238E27FC236}">
                <a16:creationId xmlns:a16="http://schemas.microsoft.com/office/drawing/2014/main" id="{4D842722-5708-94ED-E880-93D9B3AB8EB0}"/>
              </a:ext>
            </a:extLst>
          </p:cNvPr>
          <p:cNvSpPr>
            <a:spLocks/>
          </p:cNvSpPr>
          <p:nvPr>
            <p:custDataLst>
              <p:tags r:id="rId15"/>
            </p:custDataLst>
          </p:nvPr>
        </p:nvSpPr>
        <p:spPr bwMode="auto">
          <a:xfrm>
            <a:off x="6889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C4D62-DF44-4B75-A246-A43A8E0412C7}" type="datetime'2''018'''''''''''''''''''''''''">
              <a:rPr lang="en-US" altLang="en-US" sz="1000" smtClean="0">
                <a:effectLst/>
                <a:sym typeface="+mn-lt"/>
              </a:rPr>
              <a:pPr marL="0" lvl="0" indent="0" algn="ctr">
                <a:spcBef>
                  <a:spcPct val="0"/>
                </a:spcBef>
                <a:buNone/>
              </a:pPr>
              <a:t>2018</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3C1AE923-B20A-043F-1BDD-ED20DD2EDF89}"/>
              </a:ext>
            </a:extLst>
          </p:cNvPr>
          <p:cNvSpPr>
            <a:spLocks/>
          </p:cNvSpPr>
          <p:nvPr>
            <p:custDataLst>
              <p:tags r:id="rId16"/>
            </p:custDataLst>
          </p:nvPr>
        </p:nvSpPr>
        <p:spPr bwMode="auto">
          <a:xfrm>
            <a:off x="1319213"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B058E-6A8D-48C8-8675-5530530E1D54}" type="datetime'''''''2''0''''''''''''''''''''''''1''''9'''''">
              <a:rPr lang="en-US" altLang="en-US" sz="1000" smtClean="0">
                <a:effectLst/>
                <a:sym typeface="+mn-lt"/>
              </a:rPr>
              <a:pPr marL="0" lvl="0" indent="0" algn="ctr">
                <a:spcBef>
                  <a:spcPct val="0"/>
                </a:spcBef>
                <a:buNone/>
              </a:pPr>
              <a:t>2019</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C319A7AB-2C6A-D311-C09B-1E72A59C93C9}"/>
              </a:ext>
            </a:extLst>
          </p:cNvPr>
          <p:cNvSpPr>
            <a:spLocks/>
          </p:cNvSpPr>
          <p:nvPr>
            <p:custDataLst>
              <p:tags r:id="rId17"/>
            </p:custDataLst>
          </p:nvPr>
        </p:nvSpPr>
        <p:spPr bwMode="auto">
          <a:xfrm>
            <a:off x="1951038"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0415D7-B277-40F4-819C-C1DC63B42A7D}" type="datetime'''''''''''''''''''''''''''2''''''02''''''''''''0'''''''''''">
              <a:rPr lang="en-US" altLang="en-US" sz="1000" smtClean="0">
                <a:effectLst/>
                <a:sym typeface="+mn-lt"/>
              </a:rPr>
              <a:pPr marL="0" lvl="0" indent="0" algn="ctr">
                <a:spcBef>
                  <a:spcPct val="0"/>
                </a:spcBef>
                <a:buNone/>
              </a:pPr>
              <a:t>202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F718C726-0D69-F684-1B49-4B5F7653A1A4}"/>
              </a:ext>
            </a:extLst>
          </p:cNvPr>
          <p:cNvSpPr>
            <a:spLocks/>
          </p:cNvSpPr>
          <p:nvPr>
            <p:custDataLst>
              <p:tags r:id="rId18"/>
            </p:custDataLst>
          </p:nvPr>
        </p:nvSpPr>
        <p:spPr bwMode="auto">
          <a:xfrm>
            <a:off x="25812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36BBA5-A7ED-428C-AAA6-46C8428E3F77}" type="datetime'''''''''''20''''2''''''''''''''''''''1'''''''''''''''''">
              <a:rPr lang="en-US" altLang="en-US" sz="1000" smtClean="0">
                <a:effectLst/>
                <a:sym typeface="+mn-lt"/>
              </a:rPr>
              <a:pPr marL="0" lvl="0" indent="0" algn="ctr">
                <a:spcBef>
                  <a:spcPct val="0"/>
                </a:spcBef>
                <a:buNone/>
              </a:pPr>
              <a:t>2021</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DC10BCB0-2256-17BB-E42F-433EE6E02E3B}"/>
              </a:ext>
            </a:extLst>
          </p:cNvPr>
          <p:cNvSpPr>
            <a:spLocks/>
          </p:cNvSpPr>
          <p:nvPr>
            <p:custDataLst>
              <p:tags r:id="rId19"/>
            </p:custDataLst>
          </p:nvPr>
        </p:nvSpPr>
        <p:spPr bwMode="auto">
          <a:xfrm>
            <a:off x="3213100"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4C2D2-E4F3-4FE9-84C4-99F375458FFD}" type="datetime'2''0''''''''''''''''''''''''''''''''''22'''''''''''''''''''">
              <a:rPr lang="en-US" altLang="en-US" sz="1000" smtClean="0">
                <a:effectLst/>
                <a:sym typeface="+mn-lt"/>
              </a:rPr>
              <a:pPr marL="0" lvl="0" indent="0" algn="ctr">
                <a:spcBef>
                  <a:spcPct val="0"/>
                </a:spcBef>
                <a:buNone/>
              </a:pPr>
              <a:t>2022</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28634E92-6505-13D6-60B9-41F13448AFE9}"/>
              </a:ext>
            </a:extLst>
          </p:cNvPr>
          <p:cNvSpPr>
            <a:spLocks/>
          </p:cNvSpPr>
          <p:nvPr>
            <p:custDataLst>
              <p:tags r:id="rId20"/>
            </p:custDataLst>
          </p:nvPr>
        </p:nvSpPr>
        <p:spPr bwMode="auto">
          <a:xfrm>
            <a:off x="3843338"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C9B79F-B057-4C2F-9460-F647E270D03C}"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5914E9EE-AF41-25DC-EB60-483371A63BD4}"/>
              </a:ext>
            </a:extLst>
          </p:cNvPr>
          <p:cNvSpPr>
            <a:spLocks/>
          </p:cNvSpPr>
          <p:nvPr>
            <p:custDataLst>
              <p:tags r:id="rId21"/>
            </p:custDataLst>
          </p:nvPr>
        </p:nvSpPr>
        <p:spPr bwMode="auto">
          <a:xfrm>
            <a:off x="44735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E5E99-8F28-497A-958F-63E84DF1205D}"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D8FD95D1-1AF2-A86A-EF04-1FEF84F9879C}"/>
              </a:ext>
            </a:extLst>
          </p:cNvPr>
          <p:cNvSpPr>
            <a:spLocks/>
          </p:cNvSpPr>
          <p:nvPr>
            <p:custDataLst>
              <p:tags r:id="rId22"/>
            </p:custDataLst>
          </p:nvPr>
        </p:nvSpPr>
        <p:spPr bwMode="auto">
          <a:xfrm>
            <a:off x="5105400"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E3D586-FF1C-42CA-9865-9173A0499592}"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2FEAF4F7-7DC6-4284-C3B2-ADB72B6BC722}"/>
              </a:ext>
            </a:extLst>
          </p:cNvPr>
          <p:cNvSpPr>
            <a:spLocks/>
          </p:cNvSpPr>
          <p:nvPr>
            <p:custDataLst>
              <p:tags r:id="rId23"/>
            </p:custDataLst>
          </p:nvPr>
        </p:nvSpPr>
        <p:spPr bwMode="gray">
          <a:xfrm>
            <a:off x="573088" y="5653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09D93-5159-4B94-AE1A-4C1251E080EF}" type="datetime'''''''0''''''''''''''''''''.4''''''3'''''''''''''''''''''''''">
              <a:rPr lang="en-US" altLang="en-US" sz="1000" smtClean="0">
                <a:effectLst/>
                <a:sym typeface="+mn-lt"/>
              </a:rPr>
              <a:pPr marL="0" lvl="0" indent="0" algn="ctr">
                <a:spcBef>
                  <a:spcPct val="0"/>
                </a:spcBef>
                <a:buNone/>
              </a:pPr>
              <a:t>0.43</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C328C486-052B-31C5-BAC0-5CDD37D45F3E}"/>
              </a:ext>
            </a:extLst>
          </p:cNvPr>
          <p:cNvSpPr>
            <a:spLocks/>
          </p:cNvSpPr>
          <p:nvPr>
            <p:custDataLst>
              <p:tags r:id="rId24"/>
            </p:custDataLst>
          </p:nvPr>
        </p:nvSpPr>
        <p:spPr bwMode="gray">
          <a:xfrm>
            <a:off x="815975" y="45545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7692F-1826-46A8-9ABD-D2AAEE3D7E68}" type="datetime'2''''''.''5''''''''''''0'''''''''''''''''''''''">
              <a:rPr lang="en-US" altLang="en-US" sz="1000" smtClean="0">
                <a:effectLst/>
                <a:sym typeface="+mn-lt"/>
              </a:rPr>
              <a:pPr marL="0" lvl="0" indent="0" algn="ctr">
                <a:spcBef>
                  <a:spcPct val="0"/>
                </a:spcBef>
                <a:buNone/>
              </a:pPr>
              <a:t>2.50</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8BD74193-A94C-6911-D907-8446CF4B6F3C}"/>
              </a:ext>
            </a:extLst>
          </p:cNvPr>
          <p:cNvSpPr>
            <a:spLocks/>
          </p:cNvSpPr>
          <p:nvPr>
            <p:custDataLst>
              <p:tags r:id="rId25"/>
            </p:custDataLst>
          </p:nvPr>
        </p:nvSpPr>
        <p:spPr bwMode="gray">
          <a:xfrm>
            <a:off x="1204913" y="5651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F8A2F3-4B70-4ED0-A2F0-31CF9EB1537C}" type="datetime'''''''''''''0''''''''''''''.''''''''''4''''''''''''''''''3'">
              <a:rPr lang="en-US" altLang="en-US" sz="1000" smtClean="0">
                <a:effectLst/>
                <a:sym typeface="+mn-lt"/>
              </a:rPr>
              <a:pPr marL="0" lvl="0" indent="0" algn="ctr">
                <a:spcBef>
                  <a:spcPct val="0"/>
                </a:spcBef>
                <a:buNone/>
              </a:pPr>
              <a:t>0.43</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598289E7-30C3-8824-9495-E069BFA569E5}"/>
              </a:ext>
            </a:extLst>
          </p:cNvPr>
          <p:cNvSpPr>
            <a:spLocks/>
          </p:cNvSpPr>
          <p:nvPr>
            <p:custDataLst>
              <p:tags r:id="rId26"/>
            </p:custDataLst>
          </p:nvPr>
        </p:nvSpPr>
        <p:spPr bwMode="gray">
          <a:xfrm>
            <a:off x="1447800" y="4597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B0BA29-5EAD-4E43-A0BF-5875147A578A}"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7B60000C-EB72-2614-D1E8-0249E92A7C63}"/>
              </a:ext>
            </a:extLst>
          </p:cNvPr>
          <p:cNvSpPr>
            <a:spLocks/>
          </p:cNvSpPr>
          <p:nvPr>
            <p:custDataLst>
              <p:tags r:id="rId27"/>
            </p:custDataLst>
          </p:nvPr>
        </p:nvSpPr>
        <p:spPr bwMode="gray">
          <a:xfrm>
            <a:off x="1835150" y="5673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10AD7-550D-448E-A3E7-A91C5057BB2F}" type="datetime'0''''''.3''''''''''''''''''''''''''''''''''''''''''9'''''">
              <a:rPr lang="en-US" altLang="en-US" sz="1000" smtClean="0">
                <a:effectLst/>
                <a:sym typeface="+mn-lt"/>
              </a:rPr>
              <a:pPr marL="0" lvl="0" indent="0" algn="ctr">
                <a:spcBef>
                  <a:spcPct val="0"/>
                </a:spcBef>
                <a:buNone/>
              </a:pPr>
              <a:t>0.39</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19A7C8ED-6E9C-892A-384F-3FB9C4304A48}"/>
              </a:ext>
            </a:extLst>
          </p:cNvPr>
          <p:cNvSpPr>
            <a:spLocks/>
          </p:cNvSpPr>
          <p:nvPr>
            <p:custDataLst>
              <p:tags r:id="rId28"/>
            </p:custDataLst>
          </p:nvPr>
        </p:nvSpPr>
        <p:spPr bwMode="gray">
          <a:xfrm>
            <a:off x="2078038" y="46085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5D382F-2F98-425F-A2D7-7F3CA4CF3492}" type="datetime'''''''2''''''''''''''''''.''''4''''''''''''''''0'''''">
              <a:rPr lang="en-US" altLang="en-US" sz="1000" smtClean="0">
                <a:effectLst/>
                <a:sym typeface="+mn-lt"/>
              </a:rPr>
              <a:pPr marL="0" lvl="0" indent="0" algn="ctr">
                <a:spcBef>
                  <a:spcPct val="0"/>
                </a:spcBef>
                <a:buNone/>
              </a:pPr>
              <a:t>2.40</a:t>
            </a:fld>
            <a:endParaRPr kumimoji="1" lang="en-US" altLang="ja-JP" sz="1000" dirty="0">
              <a:sym typeface="+mn-lt"/>
            </a:endParaRPr>
          </a:p>
        </p:txBody>
      </p:sp>
      <p:sp>
        <p:nvSpPr>
          <p:cNvPr id="19" name="テキスト プレースホルダ 9">
            <a:extLst>
              <a:ext uri="{FF2B5EF4-FFF2-40B4-BE49-F238E27FC236}">
                <a16:creationId xmlns:a16="http://schemas.microsoft.com/office/drawing/2014/main" id="{FE600942-8C99-CACB-4501-C50CCFF6168D}"/>
              </a:ext>
            </a:extLst>
          </p:cNvPr>
          <p:cNvSpPr>
            <a:spLocks/>
          </p:cNvSpPr>
          <p:nvPr>
            <p:custDataLst>
              <p:tags r:id="rId29"/>
            </p:custDataLst>
          </p:nvPr>
        </p:nvSpPr>
        <p:spPr bwMode="gray">
          <a:xfrm>
            <a:off x="2466975" y="5407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FE5E79-0A60-4006-9BF2-6C9B37256614}" type="datetime'''''''''''''''''''''0''.''''''''''''''89'''''''''''''''">
              <a:rPr lang="en-US" altLang="en-US" sz="1000" smtClean="0">
                <a:effectLst/>
                <a:sym typeface="+mn-lt"/>
              </a:rPr>
              <a:pPr marL="0" lvl="0" indent="0" algn="ctr">
                <a:spcBef>
                  <a:spcPct val="0"/>
                </a:spcBef>
                <a:buNone/>
              </a:pPr>
              <a:t>0.89</a:t>
            </a:fld>
            <a:endParaRPr kumimoji="1" lang="en-US" altLang="ja-JP" sz="1000" dirty="0">
              <a:sym typeface="+mn-lt"/>
            </a:endParaRPr>
          </a:p>
        </p:txBody>
      </p:sp>
      <p:sp>
        <p:nvSpPr>
          <p:cNvPr id="20" name="テキスト プレースホルダ 9">
            <a:extLst>
              <a:ext uri="{FF2B5EF4-FFF2-40B4-BE49-F238E27FC236}">
                <a16:creationId xmlns:a16="http://schemas.microsoft.com/office/drawing/2014/main" id="{AF04358F-6790-BA75-875D-8EA67D244FC3}"/>
              </a:ext>
            </a:extLst>
          </p:cNvPr>
          <p:cNvSpPr>
            <a:spLocks/>
          </p:cNvSpPr>
          <p:nvPr>
            <p:custDataLst>
              <p:tags r:id="rId30"/>
            </p:custDataLst>
          </p:nvPr>
        </p:nvSpPr>
        <p:spPr bwMode="gray">
          <a:xfrm>
            <a:off x="2709863" y="42560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F5A8B-C3FA-4D31-9B0D-3CABE29270F7}" type="datetime'''''''''''''''3''.''''''''''''''''''0''''''7'''''''''''''''">
              <a:rPr lang="en-US" altLang="en-US" sz="1000" smtClean="0">
                <a:effectLst/>
                <a:sym typeface="+mn-lt"/>
              </a:rPr>
              <a:pPr marL="0" lvl="0" indent="0" algn="ctr">
                <a:spcBef>
                  <a:spcPct val="0"/>
                </a:spcBef>
                <a:buNone/>
              </a:pPr>
              <a:t>3.07</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274543E4-CAA2-154A-F715-749726334A23}"/>
              </a:ext>
            </a:extLst>
          </p:cNvPr>
          <p:cNvSpPr>
            <a:spLocks/>
          </p:cNvSpPr>
          <p:nvPr>
            <p:custDataLst>
              <p:tags r:id="rId31"/>
            </p:custDataLst>
          </p:nvPr>
        </p:nvSpPr>
        <p:spPr bwMode="gray">
          <a:xfrm>
            <a:off x="3097213" y="5497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5F046-F503-4699-8F81-3E9EC27AB73E}" type="datetime'''''''''''''''''''0''.''''''72'">
              <a:rPr lang="en-US" altLang="en-US" sz="1000" smtClean="0">
                <a:effectLst/>
                <a:sym typeface="+mn-lt"/>
              </a:rPr>
              <a:pPr marL="0" lvl="0" indent="0" algn="ctr">
                <a:spcBef>
                  <a:spcPct val="0"/>
                </a:spcBef>
                <a:buNone/>
              </a:pPr>
              <a:t>0.72</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3C60848A-12DE-01A3-703A-2B80D4A78842}"/>
              </a:ext>
            </a:extLst>
          </p:cNvPr>
          <p:cNvSpPr>
            <a:spLocks/>
          </p:cNvSpPr>
          <p:nvPr>
            <p:custDataLst>
              <p:tags r:id="rId32"/>
            </p:custDataLst>
          </p:nvPr>
        </p:nvSpPr>
        <p:spPr bwMode="gray">
          <a:xfrm>
            <a:off x="3340100" y="45370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9F42B9-16F0-4ABC-94B3-90C3F22B4F53}" type="datetime'''2.''''''''''''''''''''''''''''''''''''''''''''''5''''4'''">
              <a:rPr lang="en-US" altLang="en-US" sz="1000" smtClean="0">
                <a:effectLst/>
                <a:sym typeface="+mn-lt"/>
              </a:rPr>
              <a:pPr marL="0" lvl="0" indent="0" algn="ctr">
                <a:spcBef>
                  <a:spcPct val="0"/>
                </a:spcBef>
                <a:buNone/>
              </a:pPr>
              <a:t>2.54</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D6FF9803-82A5-1E47-4EA9-2B2934D186D1}"/>
              </a:ext>
            </a:extLst>
          </p:cNvPr>
          <p:cNvSpPr>
            <a:spLocks/>
          </p:cNvSpPr>
          <p:nvPr>
            <p:custDataLst>
              <p:tags r:id="rId33"/>
            </p:custDataLst>
          </p:nvPr>
        </p:nvSpPr>
        <p:spPr bwMode="gray">
          <a:xfrm>
            <a:off x="3727450" y="5641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AF687B-7E90-4A7A-8B6B-BC23DF922A7F}" type="datetime'''''''0''''''''''''''''''''.''''''''''''''4''''5'''">
              <a:rPr lang="en-US" altLang="en-US" sz="1000" smtClean="0">
                <a:effectLst/>
                <a:sym typeface="+mn-lt"/>
              </a:rPr>
              <a:pPr marL="0" lvl="0" indent="0" algn="ctr">
                <a:spcBef>
                  <a:spcPct val="0"/>
                </a:spcBef>
                <a:buNone/>
              </a:pPr>
              <a:t>0.45</a:t>
            </a:fld>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064BA057-0041-FDAC-4370-93A31F69CFBB}"/>
              </a:ext>
            </a:extLst>
          </p:cNvPr>
          <p:cNvSpPr>
            <a:spLocks/>
          </p:cNvSpPr>
          <p:nvPr>
            <p:custDataLst>
              <p:tags r:id="rId34"/>
            </p:custDataLst>
          </p:nvPr>
        </p:nvSpPr>
        <p:spPr bwMode="gray">
          <a:xfrm>
            <a:off x="3970338" y="45989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128ED-41EE-4CDC-8134-D7B265396F81}"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25" name="テキスト プレースホルダ 9">
            <a:extLst>
              <a:ext uri="{FF2B5EF4-FFF2-40B4-BE49-F238E27FC236}">
                <a16:creationId xmlns:a16="http://schemas.microsoft.com/office/drawing/2014/main" id="{CFD61E5B-B32E-9859-0798-7C401DCEE5D0}"/>
              </a:ext>
            </a:extLst>
          </p:cNvPr>
          <p:cNvSpPr>
            <a:spLocks/>
          </p:cNvSpPr>
          <p:nvPr>
            <p:custDataLst>
              <p:tags r:id="rId35"/>
            </p:custDataLst>
          </p:nvPr>
        </p:nvSpPr>
        <p:spPr bwMode="gray">
          <a:xfrm>
            <a:off x="4359275" y="5595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F63FB-3F3D-4795-8043-0BC0A34C7E0E}" type="datetime'''''''''0''''''''''''''''''''''''.5''''''''''''''''''''4'''''">
              <a:rPr lang="en-US" altLang="en-US" sz="1000" smtClean="0">
                <a:effectLst/>
                <a:sym typeface="+mn-lt"/>
              </a:rPr>
              <a:pPr marL="0" lvl="0" indent="0" algn="ctr">
                <a:spcBef>
                  <a:spcPct val="0"/>
                </a:spcBef>
                <a:buNone/>
              </a:pPr>
              <a:t>0.54</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0E02BFA6-8305-F752-CE74-73F9D70D309C}"/>
              </a:ext>
            </a:extLst>
          </p:cNvPr>
          <p:cNvSpPr>
            <a:spLocks/>
          </p:cNvSpPr>
          <p:nvPr>
            <p:custDataLst>
              <p:tags r:id="rId36"/>
            </p:custDataLst>
          </p:nvPr>
        </p:nvSpPr>
        <p:spPr bwMode="gray">
          <a:xfrm>
            <a:off x="4602163" y="45958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D590AB-F06C-496C-94CC-5479EE5199A3}"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A40C2097-0086-4843-908D-6871F230A2A2}"/>
              </a:ext>
            </a:extLst>
          </p:cNvPr>
          <p:cNvSpPr>
            <a:spLocks/>
          </p:cNvSpPr>
          <p:nvPr>
            <p:custDataLst>
              <p:tags r:id="rId37"/>
            </p:custDataLst>
          </p:nvPr>
        </p:nvSpPr>
        <p:spPr bwMode="gray">
          <a:xfrm>
            <a:off x="4989513" y="5588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6C5EDC-A74F-408C-A4FD-743541C1E329}" type="datetime'''0''''''''.''5''''''''''''''''''''''''''''5'''''''''''''''''">
              <a:rPr lang="en-US" altLang="en-US" sz="1000" smtClean="0">
                <a:effectLst/>
                <a:sym typeface="+mn-lt"/>
              </a:rPr>
              <a:pPr marL="0" lvl="0" indent="0" algn="ctr">
                <a:spcBef>
                  <a:spcPct val="0"/>
                </a:spcBef>
                <a:buNone/>
              </a:pPr>
              <a:t>0.55</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BE042D9F-DD97-6F6B-5D9E-61BED1C4A211}"/>
              </a:ext>
            </a:extLst>
          </p:cNvPr>
          <p:cNvSpPr>
            <a:spLocks/>
          </p:cNvSpPr>
          <p:nvPr>
            <p:custDataLst>
              <p:tags r:id="rId38"/>
            </p:custDataLst>
          </p:nvPr>
        </p:nvSpPr>
        <p:spPr bwMode="gray">
          <a:xfrm>
            <a:off x="5232400" y="4552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042C68-3B8A-4CBE-998A-A5D7C7371121}" type="datetime'''''2''''''.''''''''5''1'''''''''''''">
              <a:rPr lang="en-US" altLang="en-US" sz="1000" smtClean="0">
                <a:effectLst/>
                <a:sym typeface="+mn-lt"/>
              </a:rPr>
              <a:pPr marL="0" lvl="0" indent="0" algn="ctr">
                <a:spcBef>
                  <a:spcPct val="0"/>
                </a:spcBef>
                <a:buNone/>
              </a:pPr>
              <a:t>2.51</a:t>
            </a:fld>
            <a:endParaRPr kumimoji="1" lang="en-US" altLang="ja-JP" sz="1000" dirty="0">
              <a:sym typeface="+mn-lt"/>
            </a:endParaRPr>
          </a:p>
        </p:txBody>
      </p:sp>
      <p:sp>
        <p:nvSpPr>
          <p:cNvPr id="84" name="テキスト ボックス 83">
            <a:extLst>
              <a:ext uri="{FF2B5EF4-FFF2-40B4-BE49-F238E27FC236}">
                <a16:creationId xmlns:a16="http://schemas.microsoft.com/office/drawing/2014/main" id="{86DFA8B6-7CDB-41EB-85DE-6FD8686E4761}"/>
              </a:ext>
            </a:extLst>
          </p:cNvPr>
          <p:cNvSpPr txBox="1"/>
          <p:nvPr/>
        </p:nvSpPr>
        <p:spPr>
          <a:xfrm>
            <a:off x="553948" y="2227834"/>
            <a:ext cx="876246" cy="227621"/>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3018784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3392409827"/>
              </p:ext>
            </p:extLst>
          </p:nvPr>
        </p:nvGraphicFramePr>
        <p:xfrm>
          <a:off x="213190" y="2333426"/>
          <a:ext cx="9420329" cy="4150147"/>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8574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78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 Pharma South Afr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師が患者の治療方針を迅速かつ正確に伝えることを可能にする、最新のがん診断用組織染色プラットフォーム「</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enchMark</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LTRA PLUS syste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発売。</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639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ロンドンとケープタウンの工場で、一般用医薬品と市販薬を製造し、南アフリカで販売。</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4126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93</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ovartis</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は、民間（</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公共（</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セクターで医薬品を販売。</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4816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rck Sharp &amp; Dohme</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社名で</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事業を展開しており、南アフリカに地域本部を持つ。</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6104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南アフリカおよびサハラ以南のアフリカの地域本部として機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64827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W Africa(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46007" y="197338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79173" y="314404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79173" y="385980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79173" y="464785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79173" y="529592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79173" y="594400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テキスト ボックス 3">
            <a:extLst>
              <a:ext uri="{FF2B5EF4-FFF2-40B4-BE49-F238E27FC236}">
                <a16:creationId xmlns:a16="http://schemas.microsoft.com/office/drawing/2014/main" id="{6BCCE6CF-F143-468A-889A-377FE3BF32DA}"/>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83048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157778383"/>
              </p:ext>
            </p:extLst>
          </p:nvPr>
        </p:nvGraphicFramePr>
        <p:xfrm>
          <a:off x="213191" y="2420888"/>
          <a:ext cx="9420329" cy="3910488"/>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533195">
                  <a:extLst>
                    <a:ext uri="{9D8B030D-6E8A-4147-A177-3AD203B41FA5}">
                      <a16:colId xmlns:a16="http://schemas.microsoft.com/office/drawing/2014/main" val="3661723914"/>
                    </a:ext>
                  </a:extLst>
                </a:gridCol>
                <a:gridCol w="1080121">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72481"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4" name="Multiplication Sign 13">
            <a:extLst>
              <a:ext uri="{FF2B5EF4-FFF2-40B4-BE49-F238E27FC236}">
                <a16:creationId xmlns:a16="http://schemas.microsoft.com/office/drawing/2014/main" id="{4CB5A004-7E10-4ADE-AB1E-4B22C177AE4E}"/>
              </a:ext>
            </a:extLst>
          </p:cNvPr>
          <p:cNvSpPr/>
          <p:nvPr/>
        </p:nvSpPr>
        <p:spPr>
          <a:xfrm>
            <a:off x="3647811" y="2917207"/>
            <a:ext cx="576064" cy="560007"/>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15" name="テキスト ボックス 3">
            <a:extLst>
              <a:ext uri="{FF2B5EF4-FFF2-40B4-BE49-F238E27FC236}">
                <a16:creationId xmlns:a16="http://schemas.microsoft.com/office/drawing/2014/main" id="{1C5B940E-562F-4037-AF60-9C7FBFC6393B}"/>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や合弁会社の設立、買収により拠点を築いており、アフリカ南部・サブサハラの地域本部としている場合が多い。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4259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p:cNvGraphicFramePr>
          <p:nvPr>
            <p:custDataLst>
              <p:tags r:id="rId1"/>
            </p:custDataLst>
            <p:extLst>
              <p:ext uri="{D42A27DB-BD31-4B8C-83A1-F6EECF244321}">
                <p14:modId xmlns:p14="http://schemas.microsoft.com/office/powerpoint/2010/main" val="3260423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405707856"/>
              </p:ext>
            </p:extLst>
          </p:nvPr>
        </p:nvGraphicFramePr>
        <p:xfrm>
          <a:off x="264761" y="1121350"/>
          <a:ext cx="9505056" cy="5409425"/>
        </p:xfrm>
        <a:graphic>
          <a:graphicData uri="http://schemas.openxmlformats.org/drawingml/2006/table">
            <a:tbl>
              <a:tblPr firstRow="1" bandRow="1">
                <a:tableStyleId>{5C22544A-7EE6-4342-B048-85BDC9FD1C3A}</a:tableStyleId>
              </a:tblPr>
              <a:tblGrid>
                <a:gridCol w="1663903">
                  <a:extLst>
                    <a:ext uri="{9D8B030D-6E8A-4147-A177-3AD203B41FA5}">
                      <a16:colId xmlns:a16="http://schemas.microsoft.com/office/drawing/2014/main" val="20000"/>
                    </a:ext>
                  </a:extLst>
                </a:gridCol>
                <a:gridCol w="7841153">
                  <a:extLst>
                    <a:ext uri="{9D8B030D-6E8A-4147-A177-3AD203B41FA5}">
                      <a16:colId xmlns:a16="http://schemas.microsoft.com/office/drawing/2014/main" val="20001"/>
                    </a:ext>
                  </a:extLst>
                </a:gridCol>
              </a:tblGrid>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レトリア（行政上の首都</a:t>
                      </a:r>
                      <a:r>
                        <a:rPr kumimoji="1" lang="en-US" altLang="ja-JP" sz="1200" b="0" kern="1200" baseline="300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アフリカーンス語，バンツー諸語（ズールー語，ソト語他）の合計</a:t>
                      </a:r>
                      <a:r>
                        <a:rPr kumimoji="1" lang="en-US" altLang="ja-JP" sz="1200" b="0" dirty="0">
                          <a:solidFill>
                            <a:schemeClr val="tx1"/>
                          </a:solidFill>
                        </a:rPr>
                        <a:t>11</a:t>
                      </a:r>
                      <a:r>
                        <a:rPr kumimoji="1" lang="ja-JP" altLang="en-US" sz="1200" b="0" dirty="0">
                          <a:solidFill>
                            <a:schemeClr val="tx1"/>
                          </a:solidFill>
                        </a:rPr>
                        <a:t>が公用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ランド（</a:t>
                      </a:r>
                      <a:r>
                        <a:rPr kumimoji="1" lang="en-US" altLang="ja-JP" sz="1200" b="0" dirty="0">
                          <a:solidFill>
                            <a:schemeClr val="tx1"/>
                          </a:solidFill>
                        </a:rPr>
                        <a:t>ZAR</a:t>
                      </a:r>
                      <a:r>
                        <a:rPr kumimoji="1" lang="ja-JP" altLang="en-US" sz="1200" b="0" dirty="0">
                          <a:solidFill>
                            <a:schemeClr val="tx1"/>
                          </a:solidFill>
                        </a:rPr>
                        <a:t>）　＝　</a:t>
                      </a:r>
                      <a:r>
                        <a:rPr kumimoji="1" lang="en-US" altLang="ja-JP" sz="1200" b="0" dirty="0">
                          <a:solidFill>
                            <a:schemeClr val="tx1"/>
                          </a:solidFill>
                        </a:rPr>
                        <a:t>9.40</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が、多くの企業は</a:t>
                      </a:r>
                      <a:r>
                        <a:rPr kumimoji="1" lang="en-US" altLang="ja-JP" sz="1200" b="0" dirty="0">
                          <a:solidFill>
                            <a:schemeClr val="tx1"/>
                          </a:solidFill>
                        </a:rPr>
                        <a:t>2</a:t>
                      </a:r>
                      <a:r>
                        <a:rPr kumimoji="1" lang="ja-JP" altLang="en-US" sz="1200" b="0" dirty="0">
                          <a:solidFill>
                            <a:schemeClr val="tx1"/>
                          </a:solidFill>
                        </a:rPr>
                        <a:t>月末決算</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901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人口の約</a:t>
                      </a:r>
                      <a:r>
                        <a:rPr kumimoji="1" lang="en-US" altLang="ja-JP" sz="1200" kern="1200" dirty="0">
                          <a:solidFill>
                            <a:schemeClr val="dk1"/>
                          </a:solidFill>
                          <a:latin typeface="+mn-lt"/>
                          <a:ea typeface="+mn-ea"/>
                          <a:cs typeface="+mn-cs"/>
                        </a:rPr>
                        <a:t>80</a:t>
                      </a:r>
                      <a:r>
                        <a:rPr kumimoji="1" lang="ja-JP" altLang="en-US" sz="1200" kern="1200" dirty="0">
                          <a:solidFill>
                            <a:schemeClr val="dk1"/>
                          </a:solidFill>
                          <a:latin typeface="+mn-lt"/>
                          <a:ea typeface="+mn-ea"/>
                          <a:cs typeface="+mn-cs"/>
                        </a:rPr>
                        <a:t>％），ヒンズー教，イスラム教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8591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代後半に法制化され、以来継続されたアパルトヘイト政策は、国際社会からの非難や制裁、反アパルトヘイト運動の激化を受け、デ・クラーク大統領により、撤廃に向けての改革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関連法が全廃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南ア史上初めて黒人を含む全人種が参加した制憲議会選挙および州議会選挙が実施されて完全撤廃された。議会選挙では、アパルトヘイト撤廃を推進したアフリカ民族会議（</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率で勝利し、マンデラ議長が大統領に選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総選挙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に実施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率にとどま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アパルトヘイト終結以来初めて議会の過半数を失った。この結果を受け、国民議会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A</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FP</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および小政党の支持を得て、国民統一政府の一員として現職のシリル・ラマポーザ大統領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期目となる最後の任期に再選した。彼の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予定されている総選挙まで続く。</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931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以降、南アフリカではコロナ禍による諸規制が実施され、当初は犯罪発生も減少したが、最近は徐々に例年の水準に戻りつつあり、殺人、強盗、傷害等の凶悪犯罪が高水準で発生している。</a:t>
                      </a:r>
                    </a:p>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南アフリカにおける所得格差は依然として大きく、政府による行政サービスが改善されないことへの反発から、一部のタウンシップ（旧黒人居住区）において住民による焼き討ちや公道封鎖、行政サービス等への不満に対するデモがしばしば行われている。</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依然として失業率は高く、低所得者の生活向上が社会問題の一つとなっており、労働組合等によるデモが頻繁に行わ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64761" y="6699405"/>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みずほ銀行</a:t>
            </a:r>
            <a:endParaRPr lang="en-US" altLang="ja-JP" sz="800" b="1" dirty="0"/>
          </a:p>
        </p:txBody>
      </p:sp>
      <p:sp>
        <p:nvSpPr>
          <p:cNvPr id="10" name="テキスト ボックス 12">
            <a:extLst>
              <a:ext uri="{FF2B5EF4-FFF2-40B4-BE49-F238E27FC236}">
                <a16:creationId xmlns:a16="http://schemas.microsoft.com/office/drawing/2014/main" id="{22351167-875E-45EA-9004-6FADA8979428}"/>
              </a:ext>
            </a:extLst>
          </p:cNvPr>
          <p:cNvSpPr txBox="1"/>
          <p:nvPr/>
        </p:nvSpPr>
        <p:spPr>
          <a:xfrm>
            <a:off x="264761" y="6548946"/>
            <a:ext cx="8568878" cy="136462"/>
          </a:xfrm>
          <a:prstGeom prst="rect">
            <a:avLst/>
          </a:prstGeom>
          <a:noFill/>
        </p:spPr>
        <p:txBody>
          <a:bodyPr wrap="square" lIns="0" tIns="0" rIns="0" bIns="0" rtlCol="0">
            <a:noAutofit/>
          </a:bodyPr>
          <a:lstStyle/>
          <a:p>
            <a:r>
              <a:rPr lang="en-US" altLang="ja-JP" sz="800" dirty="0">
                <a:latin typeface="+mn-ea"/>
                <a:cs typeface="Arial" panose="020B0604020202020204" pitchFamily="34" charset="0"/>
              </a:rPr>
              <a:t>1)</a:t>
            </a:r>
            <a:r>
              <a:rPr lang="ja-JP" altLang="en-US" sz="800" dirty="0">
                <a:latin typeface="+mn-ea"/>
                <a:cs typeface="Arial" panose="020B0604020202020204" pitchFamily="34" charset="0"/>
              </a:rPr>
              <a:t> 立法府はケープタウン、司法府はブルーム・フォンテーンにある</a:t>
            </a:r>
            <a:endParaRPr lang="en-US" altLang="ja-JP" sz="800" dirty="0">
              <a:latin typeface="+mn-ea"/>
            </a:endParaRPr>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156059044"/>
              </p:ext>
            </p:extLst>
          </p:nvPr>
        </p:nvGraphicFramePr>
        <p:xfrm>
          <a:off x="213191" y="2445154"/>
          <a:ext cx="9420329" cy="4216168"/>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389179">
                  <a:extLst>
                    <a:ext uri="{9D8B030D-6E8A-4147-A177-3AD203B41FA5}">
                      <a16:colId xmlns:a16="http://schemas.microsoft.com/office/drawing/2014/main" val="3661723914"/>
                    </a:ext>
                  </a:extLst>
                </a:gridCol>
                <a:gridCol w="1224137">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6240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477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ジェネリック医薬品、一般用医薬品、オリジネーター医薬品の販売、流通を実施。</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中東・アフリカに強い制約が記者</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KM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LUMY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中東・北アフリカ地域における独占的ライセンス契約を締結。</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1523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公共および民間医療機関向けにジェネリック医薬品を製造・販売。</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1525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South Afr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で数量ベースで最大、金額ベースでは第</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位の製薬会社。</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221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nturephar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の合弁により、直接市場に参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この合弁会社は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r Reddy‘s </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となっ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おいては中枢神経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N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イマリーケアなどが主要治療分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811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のジェネリック医薬品大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 Dynamic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買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690265"/>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Cipla Limited Annual Report 2021-22 </a:t>
            </a:r>
            <a:endParaRPr kumimoji="0" lang="ja-JP" altLang="en-US" sz="800" dirty="0" bmk=""/>
          </a:p>
        </p:txBody>
      </p:sp>
      <p:sp>
        <p:nvSpPr>
          <p:cNvPr id="12" name="Rectangle 6"/>
          <p:cNvSpPr>
            <a:spLocks noChangeArrowheads="1"/>
          </p:cNvSpPr>
          <p:nvPr/>
        </p:nvSpPr>
        <p:spPr bwMode="auto">
          <a:xfrm>
            <a:off x="220484" y="20277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073353"/>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3">
            <a:extLst>
              <a:ext uri="{FF2B5EF4-FFF2-40B4-BE49-F238E27FC236}">
                <a16:creationId xmlns:a16="http://schemas.microsoft.com/office/drawing/2014/main" id="{02669D47-0DA6-4989-AF33-D28DBA263B92}"/>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Circle: Hollow 15">
            <a:extLst>
              <a:ext uri="{FF2B5EF4-FFF2-40B4-BE49-F238E27FC236}">
                <a16:creationId xmlns:a16="http://schemas.microsoft.com/office/drawing/2014/main" id="{44F246D7-CACB-4E1E-9EC7-27F81DF93080}"/>
              </a:ext>
            </a:extLst>
          </p:cNvPr>
          <p:cNvSpPr/>
          <p:nvPr/>
        </p:nvSpPr>
        <p:spPr>
          <a:xfrm>
            <a:off x="3728864" y="3099114"/>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Circle: Hollow 16">
            <a:extLst>
              <a:ext uri="{FF2B5EF4-FFF2-40B4-BE49-F238E27FC236}">
                <a16:creationId xmlns:a16="http://schemas.microsoft.com/office/drawing/2014/main" id="{FD7B0787-082E-4445-B7CB-43CCC02EC298}"/>
              </a:ext>
            </a:extLst>
          </p:cNvPr>
          <p:cNvSpPr/>
          <p:nvPr/>
        </p:nvSpPr>
        <p:spPr>
          <a:xfrm>
            <a:off x="3728864" y="396321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8" name="Circle: Hollow 17">
            <a:extLst>
              <a:ext uri="{FF2B5EF4-FFF2-40B4-BE49-F238E27FC236}">
                <a16:creationId xmlns:a16="http://schemas.microsoft.com/office/drawing/2014/main" id="{A9500348-DF44-40F1-91FB-CCDE704C26C0}"/>
              </a:ext>
            </a:extLst>
          </p:cNvPr>
          <p:cNvSpPr/>
          <p:nvPr/>
        </p:nvSpPr>
        <p:spPr>
          <a:xfrm>
            <a:off x="3728864" y="540337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5" name="Circle: Hollow 24">
            <a:extLst>
              <a:ext uri="{FF2B5EF4-FFF2-40B4-BE49-F238E27FC236}">
                <a16:creationId xmlns:a16="http://schemas.microsoft.com/office/drawing/2014/main" id="{59195A91-6453-4C68-9251-F0A6C8ADD4E4}"/>
              </a:ext>
            </a:extLst>
          </p:cNvPr>
          <p:cNvSpPr/>
          <p:nvPr/>
        </p:nvSpPr>
        <p:spPr>
          <a:xfrm>
            <a:off x="3728864" y="612345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6" name="Circle: Hollow 25">
            <a:extLst>
              <a:ext uri="{FF2B5EF4-FFF2-40B4-BE49-F238E27FC236}">
                <a16:creationId xmlns:a16="http://schemas.microsoft.com/office/drawing/2014/main" id="{E07D45EA-C414-4239-ACAD-96E44E892F28}"/>
              </a:ext>
            </a:extLst>
          </p:cNvPr>
          <p:cNvSpPr/>
          <p:nvPr/>
        </p:nvSpPr>
        <p:spPr>
          <a:xfrm>
            <a:off x="3728864" y="468329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Tree>
    <p:extLst>
      <p:ext uri="{BB962C8B-B14F-4D97-AF65-F5344CB8AC3E}">
        <p14:creationId xmlns:p14="http://schemas.microsoft.com/office/powerpoint/2010/main" val="29849769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22246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3239521375"/>
              </p:ext>
            </p:extLst>
          </p:nvPr>
        </p:nvGraphicFramePr>
        <p:xfrm>
          <a:off x="206151" y="2382169"/>
          <a:ext cx="9392638" cy="2414982"/>
        </p:xfrm>
        <a:graphic>
          <a:graphicData uri="http://schemas.openxmlformats.org/drawingml/2006/table">
            <a:tbl>
              <a:tblPr firstRow="1" bandRow="1">
                <a:tableStyleId>{5C22544A-7EE6-4342-B048-85BDC9FD1C3A}</a:tableStyleId>
              </a:tblPr>
              <a:tblGrid>
                <a:gridCol w="2219143">
                  <a:extLst>
                    <a:ext uri="{9D8B030D-6E8A-4147-A177-3AD203B41FA5}">
                      <a16:colId xmlns:a16="http://schemas.microsoft.com/office/drawing/2014/main" val="20000"/>
                    </a:ext>
                  </a:extLst>
                </a:gridCol>
                <a:gridCol w="1820097">
                  <a:extLst>
                    <a:ext uri="{9D8B030D-6E8A-4147-A177-3AD203B41FA5}">
                      <a16:colId xmlns:a16="http://schemas.microsoft.com/office/drawing/2014/main" val="20001"/>
                    </a:ext>
                  </a:extLst>
                </a:gridCol>
                <a:gridCol w="968620">
                  <a:extLst>
                    <a:ext uri="{9D8B030D-6E8A-4147-A177-3AD203B41FA5}">
                      <a16:colId xmlns:a16="http://schemas.microsoft.com/office/drawing/2014/main" val="3386509722"/>
                    </a:ext>
                  </a:extLst>
                </a:gridCol>
                <a:gridCol w="2192389">
                  <a:extLst>
                    <a:ext uri="{9D8B030D-6E8A-4147-A177-3AD203B41FA5}">
                      <a16:colId xmlns:a16="http://schemas.microsoft.com/office/drawing/2014/main" val="20003"/>
                    </a:ext>
                  </a:extLst>
                </a:gridCol>
                <a:gridCol w="2192389">
                  <a:extLst>
                    <a:ext uri="{9D8B030D-6E8A-4147-A177-3AD203B41FA5}">
                      <a16:colId xmlns:a16="http://schemas.microsoft.com/office/drawing/2014/main" val="3524783470"/>
                    </a:ext>
                  </a:extLst>
                </a:gridCol>
              </a:tblGrid>
              <a:tr h="47656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920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spen Pharmacare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地域では鎮痛・抗炎症薬、甲状腺ホルモン薬、抗潰瘍薬など</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16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以上に進出しているグローバル製薬企業。シーメンスと南アフリカ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ワクチン生産強化で協力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6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spenpharma.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96920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Adcok</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 Ingram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幅広い市販薬および処方箋薬を製造</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1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ヨハネスブルク証券取引所に上場。南アフリカを中心としたアフリカ諸国の他にインドにも進出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6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dcock.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9078480"/>
                  </a:ext>
                </a:extLst>
              </a:tr>
            </a:tbl>
          </a:graphicData>
        </a:graphic>
      </p:graphicFrame>
      <p:sp>
        <p:nvSpPr>
          <p:cNvPr id="6" name="テキスト ボックス 5"/>
          <p:cNvSpPr txBox="1"/>
          <p:nvPr/>
        </p:nvSpPr>
        <p:spPr>
          <a:xfrm>
            <a:off x="165745" y="6428442"/>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32842" y="195806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薬品メーカーのうち、大手企業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25243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435167251"/>
              </p:ext>
            </p:extLst>
          </p:nvPr>
        </p:nvGraphicFramePr>
        <p:xfrm>
          <a:off x="201526" y="2187000"/>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5514">
                  <a:extLst>
                    <a:ext uri="{9D8B030D-6E8A-4147-A177-3AD203B41FA5}">
                      <a16:colId xmlns:a16="http://schemas.microsoft.com/office/drawing/2014/main" val="20002"/>
                    </a:ext>
                  </a:extLst>
                </a:gridCol>
                <a:gridCol w="3384486">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Astellas</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harma</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ty)</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詳細不明</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ty.)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武田の扱う医薬品のマーケティングおよ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Mentholatum</a:t>
                      </a:r>
                      <a:r>
                        <a:rPr kumimoji="1" lang="en-US" altLang="zh-TW" sz="1100" b="0" i="0" u="none" strike="noStrike" kern="1200" dirty="0">
                          <a:solidFill>
                            <a:srgbClr val="000000"/>
                          </a:solidFill>
                          <a:effectLst/>
                          <a:latin typeface="+mn-lt"/>
                          <a:ea typeface="+mj-ea"/>
                          <a:cs typeface="+mn-cs"/>
                        </a:rPr>
                        <a:t> South Afric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スキンケアを中心に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92208112"/>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務省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時点で</a:t>
            </a:r>
            <a:r>
              <a:rPr lang="en-US" altLang="ja-JP" sz="1400" dirty="0"/>
              <a:t>268</a:t>
            </a:r>
            <a:r>
              <a:rPr lang="ja-JP" altLang="en-US" sz="1400" dirty="0"/>
              <a:t>社。</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通り。</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3716547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26655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444" imgH="443" progId="TCLayout.ActiveDocument.1">
                  <p:embed/>
                </p:oleObj>
              </mc:Choice>
              <mc:Fallback>
                <p:oleObj name="think-cellスライド" r:id="rId6"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Chart 19">
            <a:extLst>
              <a:ext uri="{FF2B5EF4-FFF2-40B4-BE49-F238E27FC236}">
                <a16:creationId xmlns:a16="http://schemas.microsoft.com/office/drawing/2014/main" id="{DFF8AF4A-A556-ADE2-ACA9-D5DF12578A1B}"/>
              </a:ext>
            </a:extLst>
          </p:cNvPr>
          <p:cNvGraphicFramePr/>
          <p:nvPr>
            <p:custDataLst>
              <p:tags r:id="rId3"/>
            </p:custDataLst>
            <p:extLst>
              <p:ext uri="{D42A27DB-BD31-4B8C-83A1-F6EECF244321}">
                <p14:modId xmlns:p14="http://schemas.microsoft.com/office/powerpoint/2010/main" val="1122135698"/>
              </p:ext>
            </p:extLst>
          </p:nvPr>
        </p:nvGraphicFramePr>
        <p:xfrm>
          <a:off x="407988" y="2587625"/>
          <a:ext cx="8732837" cy="3663950"/>
        </p:xfrm>
        <a:graphic>
          <a:graphicData uri="http://schemas.openxmlformats.org/drawingml/2006/chart">
            <c:chart xmlns:c="http://schemas.openxmlformats.org/drawingml/2006/chart" xmlns:r="http://schemas.openxmlformats.org/officeDocument/2006/relationships" r:id="rId8"/>
          </a:graphicData>
        </a:graphic>
      </p:graphicFrame>
      <p:sp useBgFill="1">
        <p:nvSpPr>
          <p:cNvPr id="17" name="テキスト プレースホルダ 9">
            <a:extLst>
              <a:ext uri="{FF2B5EF4-FFF2-40B4-BE49-F238E27FC236}">
                <a16:creationId xmlns:a16="http://schemas.microsoft.com/office/drawing/2014/main" id="{B38346F7-5E50-078D-6CC5-23C5CD1B3DB7}"/>
              </a:ext>
            </a:extLst>
          </p:cNvPr>
          <p:cNvSpPr>
            <a:spLocks/>
          </p:cNvSpPr>
          <p:nvPr>
            <p:custDataLst>
              <p:tags r:id="rId4"/>
            </p:custDataLst>
          </p:nvPr>
        </p:nvSpPr>
        <p:spPr bwMode="gray">
          <a:xfrm>
            <a:off x="6702425" y="52609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1372D8-6651-4906-BC07-74587666C1EE}" type="datetime'''''''''2''''5''''''''''.''''''''''0'''">
              <a:rPr lang="en-US" altLang="en-US" sz="1000" smtClean="0">
                <a:effectLst/>
                <a:sym typeface="+mn-lt"/>
              </a:rPr>
              <a:pPr marL="0" lvl="0" indent="0" algn="ctr">
                <a:spcBef>
                  <a:spcPct val="0"/>
                </a:spcBef>
                <a:buNone/>
              </a:pPr>
              <a:t>25.0</a:t>
            </a:fld>
            <a:endParaRPr kumimoji="1" lang="en-US" altLang="ja-JP" sz="1000" dirty="0">
              <a:sym typeface="+mn-lt"/>
            </a:endParaRPr>
          </a:p>
        </p:txBody>
      </p:sp>
    </p:spTree>
    <p:extLst>
      <p:ext uri="{BB962C8B-B14F-4D97-AF65-F5344CB8AC3E}">
        <p14:creationId xmlns:p14="http://schemas.microsoft.com/office/powerpoint/2010/main" val="17806664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1.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1474230295"/>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181A3B6-E293-4E35-AE7C-7A8BED8085BC}"/>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5555692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0BBA4CFE-71C4-4545-BB9F-A61A78A8089B}"/>
              </a:ext>
            </a:extLst>
          </p:cNvPr>
          <p:cNvSpPr/>
          <p:nvPr/>
        </p:nvSpPr>
        <p:spPr>
          <a:xfrm>
            <a:off x="4832752" y="2595285"/>
            <a:ext cx="4753541" cy="218614"/>
          </a:xfrm>
          <a:prstGeom prst="rect">
            <a:avLst/>
          </a:prstGeom>
          <a:solidFill>
            <a:srgbClr val="AFCDE0"/>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Rectangle 36">
            <a:extLst>
              <a:ext uri="{FF2B5EF4-FFF2-40B4-BE49-F238E27FC236}">
                <a16:creationId xmlns:a16="http://schemas.microsoft.com/office/drawing/2014/main" id="{71AEDA33-EA50-4FB9-9607-3956A94F6BDD}"/>
              </a:ext>
            </a:extLst>
          </p:cNvPr>
          <p:cNvSpPr/>
          <p:nvPr/>
        </p:nvSpPr>
        <p:spPr>
          <a:xfrm>
            <a:off x="4832752" y="3157210"/>
            <a:ext cx="4753541" cy="343798"/>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E54FC763-4051-4AF2-B415-59FBC1B98257}"/>
              </a:ext>
            </a:extLst>
          </p:cNvPr>
          <p:cNvSpPr/>
          <p:nvPr/>
        </p:nvSpPr>
        <p:spPr>
          <a:xfrm>
            <a:off x="4832752" y="2843674"/>
            <a:ext cx="4753541" cy="297294"/>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extLst>
              <p:ext uri="{D42A27DB-BD31-4B8C-83A1-F6EECF244321}">
                <p14:modId xmlns:p14="http://schemas.microsoft.com/office/powerpoint/2010/main" val="4273651613"/>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南アフリ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携帯電話は普及しており、地域における</a:t>
            </a:r>
            <a:r>
              <a:rPr lang="en-US" altLang="ja-JP" sz="1138" dirty="0">
                <a:solidFill>
                  <a:srgbClr val="000000"/>
                </a:solidFill>
              </a:rPr>
              <a:t>primary healthcare worker</a:t>
            </a:r>
            <a:r>
              <a:rPr lang="ja-JP" altLang="en-US" sz="1138" dirty="0">
                <a:solidFill>
                  <a:srgbClr val="000000"/>
                </a:solidFill>
              </a:rPr>
              <a:t>を通じて、地域住民の情報をアプリで管理するのに活用されている。</a:t>
            </a:r>
          </a:p>
          <a:p>
            <a:r>
              <a:rPr lang="en-US" altLang="ja-JP" sz="1138" dirty="0">
                <a:solidFill>
                  <a:srgbClr val="000000"/>
                </a:solidFill>
              </a:rPr>
              <a:t>2019</a:t>
            </a:r>
            <a:r>
              <a:rPr lang="ja-JP" altLang="en-US" sz="1138" dirty="0">
                <a:solidFill>
                  <a:srgbClr val="000000"/>
                </a:solidFill>
              </a:rPr>
              <a:t>年に発表されたデジタルヘルス戦略では、</a:t>
            </a:r>
            <a:r>
              <a:rPr lang="en-US" altLang="ja-JP" sz="1138" dirty="0">
                <a:solidFill>
                  <a:srgbClr val="000000"/>
                </a:solidFill>
              </a:rPr>
              <a:t>EHR</a:t>
            </a:r>
            <a:r>
              <a:rPr lang="ja-JP" altLang="en-US" sz="1138" dirty="0">
                <a:solidFill>
                  <a:srgbClr val="000000"/>
                </a:solidFill>
              </a:rPr>
              <a:t>の整備や全国規模のプラットフォームの構築を目標としているが、大きな進捗は報告されていない。</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南アフリカ保健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3454267630"/>
              </p:ext>
            </p:extLst>
          </p:nvPr>
        </p:nvGraphicFramePr>
        <p:xfrm>
          <a:off x="128464" y="2346274"/>
          <a:ext cx="9438944" cy="4013061"/>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00569">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南アフリ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67</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2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4</a:t>
                      </a:r>
                      <a:r>
                        <a:rPr lang="ja-JP" altLang="en-US" sz="900" dirty="0"/>
                        <a:t>年を目標年としたデジタルヘルス戦略を</a:t>
                      </a:r>
                      <a:r>
                        <a:rPr lang="en-US" altLang="ja-JP" sz="900" dirty="0"/>
                        <a:t>2019</a:t>
                      </a:r>
                      <a:r>
                        <a:rPr lang="ja-JP" altLang="en-US" sz="900" dirty="0"/>
                        <a:t>年に発表。</a:t>
                      </a:r>
                      <a:r>
                        <a:rPr lang="en-US" altLang="ja-JP" sz="900" dirty="0"/>
                        <a:t>EHR</a:t>
                      </a:r>
                      <a:r>
                        <a:rPr lang="ja-JP" altLang="en-US" sz="900" dirty="0"/>
                        <a:t>の整備や保健セクター全体の統合情報プラットフォームの構築、地域でのモバイルヘルスの推進、デジタルヘルス関連の知識労働者の育成などを目標として掲げている。デジタルヘルスに限定した予算は不明だが、</a:t>
                      </a:r>
                      <a:r>
                        <a:rPr lang="en-US" altLang="ja-JP" sz="900" dirty="0"/>
                        <a:t>2024</a:t>
                      </a:r>
                      <a:r>
                        <a:rPr lang="ja-JP" altLang="en-US" sz="900" dirty="0"/>
                        <a:t>年には</a:t>
                      </a:r>
                      <a:r>
                        <a:rPr lang="en-US" altLang="ja-JP" sz="900" dirty="0"/>
                        <a:t>GDP</a:t>
                      </a:r>
                      <a:r>
                        <a:rPr lang="ja-JP" altLang="en-US" sz="900" dirty="0"/>
                        <a:t>の</a:t>
                      </a:r>
                      <a:r>
                        <a:rPr lang="en-US" altLang="ja-JP" sz="900" dirty="0"/>
                        <a:t>1.1%</a:t>
                      </a:r>
                      <a:r>
                        <a:rPr lang="ja-JP" altLang="en-US" sz="900" dirty="0"/>
                        <a:t>を</a:t>
                      </a:r>
                      <a:r>
                        <a:rPr lang="en-US" altLang="ja-JP" sz="900" dirty="0"/>
                        <a:t>R&amp;D</a:t>
                      </a:r>
                      <a:r>
                        <a:rPr lang="ja-JP" altLang="en-US" sz="900" dirty="0"/>
                        <a:t>に投資する計画。</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13</a:t>
                      </a:r>
                      <a:r>
                        <a:rPr lang="ja-JP" altLang="en-US" sz="900" dirty="0"/>
                        <a:t>年から段階的に施行されてきた個人情報保護法が</a:t>
                      </a:r>
                      <a:r>
                        <a:rPr lang="en-US" altLang="ja-JP" sz="900" dirty="0"/>
                        <a:t>2021</a:t>
                      </a:r>
                      <a:r>
                        <a:rPr lang="ja-JP" altLang="en-US" sz="900" dirty="0"/>
                        <a:t>年には全面的に適用となっているのに加え、</a:t>
                      </a:r>
                      <a:r>
                        <a:rPr lang="en-US" altLang="ja-JP" sz="900" dirty="0"/>
                        <a:t>2000</a:t>
                      </a:r>
                      <a:r>
                        <a:rPr lang="ja-JP" altLang="en-US" sz="900" dirty="0"/>
                        <a:t>年に制定された情報アクセス促進法も、</a:t>
                      </a:r>
                      <a:r>
                        <a:rPr lang="en-US" altLang="ja-JP" sz="900" dirty="0"/>
                        <a:t>2021</a:t>
                      </a:r>
                      <a:r>
                        <a:rPr lang="ja-JP" altLang="en-US" sz="900" dirty="0"/>
                        <a:t>年に追加された規則によって事業者の義務が強化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ツールとしては存在するものの、広範に利用されているマスター患者インデックスは確認できず。一方で、地域で活動する</a:t>
                      </a:r>
                      <a:r>
                        <a:rPr lang="en-US" altLang="ja-JP" sz="900" dirty="0"/>
                        <a:t>PHO</a:t>
                      </a:r>
                      <a:r>
                        <a:rPr lang="ja-JP" altLang="en-US" sz="900" dirty="0"/>
                        <a:t>チームにより、地域住民の情報をモバイルアプリによって一元管理する試みは進んでいる。</a:t>
                      </a:r>
                      <a:r>
                        <a:rPr lang="en-US" altLang="ja-JP" sz="900" dirty="0"/>
                        <a:t>2020</a:t>
                      </a:r>
                      <a:r>
                        <a:rPr lang="ja-JP" altLang="en-US" sz="900" dirty="0"/>
                        <a:t>年現在、約</a:t>
                      </a:r>
                      <a:r>
                        <a:rPr lang="en-US" altLang="ja-JP" sz="900" dirty="0"/>
                        <a:t>50</a:t>
                      </a:r>
                      <a:r>
                        <a:rPr lang="ja-JP" altLang="en-US" sz="900" dirty="0"/>
                        <a:t>万人の住民／患者の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2076412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340053345"/>
              </p:ext>
            </p:extLst>
          </p:nvPr>
        </p:nvGraphicFramePr>
        <p:xfrm>
          <a:off x="681553" y="2281450"/>
          <a:ext cx="8280920" cy="1452132"/>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047074">
                  <a:extLst>
                    <a:ext uri="{9D8B030D-6E8A-4147-A177-3AD203B41FA5}">
                      <a16:colId xmlns:a16="http://schemas.microsoft.com/office/drawing/2014/main" val="20002"/>
                    </a:ext>
                  </a:extLst>
                </a:gridCol>
                <a:gridCol w="250565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forc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予約なしに地元の看護師のクリニックを訪れることにより、必要に応じて医師とのビデオ診療を受けることが専門的な指示や処方箋を出してくれる。</a:t>
                      </a:r>
                      <a:endParaRPr kumimoji="1" lang="en-US" altLang="ja-JP" sz="10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ealthforce.io/</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パソコンもしくはカメラ付き携帯電話経由で医師の診療を受けることができる</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intercare.co.za/services/virtu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rtual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家庭医向けの、オンライン診療サービスを始めるための</a:t>
                      </a:r>
                      <a:r>
                        <a:rPr kumimoji="1" lang="en-US" altLang="ja-JP" sz="1000" kern="1200" dirty="0" err="1">
                          <a:solidFill>
                            <a:schemeClr val="tx1"/>
                          </a:solidFill>
                          <a:latin typeface="+mn-lt"/>
                          <a:ea typeface="+mn-ea"/>
                          <a:cs typeface="+mn-cs"/>
                        </a:rPr>
                        <a:t>Bonitas</a:t>
                      </a:r>
                      <a:r>
                        <a:rPr kumimoji="1" lang="en-US" altLang="ja-JP" sz="1000" kern="1200" dirty="0">
                          <a:solidFill>
                            <a:schemeClr val="tx1"/>
                          </a:solidFill>
                          <a:latin typeface="+mn-lt"/>
                          <a:ea typeface="+mn-ea"/>
                          <a:cs typeface="+mn-cs"/>
                        </a:rPr>
                        <a:t> </a:t>
                      </a:r>
                      <a:r>
                        <a:rPr kumimoji="1" lang="en-US" altLang="ja-JP" sz="1000" kern="1200" dirty="0" err="1">
                          <a:solidFill>
                            <a:schemeClr val="tx1"/>
                          </a:solidFill>
                          <a:latin typeface="+mn-lt"/>
                          <a:ea typeface="+mn-ea"/>
                          <a:cs typeface="+mn-cs"/>
                        </a:rPr>
                        <a:t>Virtualcare</a:t>
                      </a:r>
                      <a:r>
                        <a:rPr kumimoji="1" lang="ja-JP" altLang="en-US" sz="1000" kern="1200" dirty="0">
                          <a:solidFill>
                            <a:schemeClr val="tx1"/>
                          </a:solidFill>
                          <a:latin typeface="+mn-lt"/>
                          <a:ea typeface="+mn-ea"/>
                          <a:cs typeface="+mn-cs"/>
                        </a:rPr>
                        <a:t>というソリューションを提供</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portal.allegra.co.za/product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オンライン診療の選択肢はまだ多くはないが、保健省がガイドラインを策定しており、少しずつ参入企業が増えてきているものと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9560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319126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業界団体を以下の表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2205644756"/>
              </p:ext>
            </p:extLst>
          </p:nvPr>
        </p:nvGraphicFramePr>
        <p:xfrm>
          <a:off x="203176" y="1557430"/>
          <a:ext cx="9502350" cy="4610300"/>
        </p:xfrm>
        <a:graphic>
          <a:graphicData uri="http://schemas.openxmlformats.org/drawingml/2006/table">
            <a:tbl>
              <a:tblPr firstRow="1" bandRow="1">
                <a:tableStyleId>{2D5ABB26-0587-4C30-8999-92F81FD0307C}</a:tableStyleId>
              </a:tblPr>
              <a:tblGrid>
                <a:gridCol w="2973051">
                  <a:extLst>
                    <a:ext uri="{9D8B030D-6E8A-4147-A177-3AD203B41FA5}">
                      <a16:colId xmlns:a16="http://schemas.microsoft.com/office/drawing/2014/main" val="2753323387"/>
                    </a:ext>
                  </a:extLst>
                </a:gridCol>
                <a:gridCol w="765579">
                  <a:extLst>
                    <a:ext uri="{9D8B030D-6E8A-4147-A177-3AD203B41FA5}">
                      <a16:colId xmlns:a16="http://schemas.microsoft.com/office/drawing/2014/main" val="2083171187"/>
                    </a:ext>
                  </a:extLst>
                </a:gridCol>
                <a:gridCol w="4251444">
                  <a:extLst>
                    <a:ext uri="{9D8B030D-6E8A-4147-A177-3AD203B41FA5}">
                      <a16:colId xmlns:a16="http://schemas.microsoft.com/office/drawing/2014/main" val="402676426"/>
                    </a:ext>
                  </a:extLst>
                </a:gridCol>
                <a:gridCol w="1512276">
                  <a:extLst>
                    <a:ext uri="{9D8B030D-6E8A-4147-A177-3AD203B41FA5}">
                      <a16:colId xmlns:a16="http://schemas.microsoft.com/office/drawing/2014/main" val="3935625665"/>
                    </a:ext>
                  </a:extLst>
                </a:gridCol>
              </a:tblGrid>
              <a:tr h="32304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338981">
                <a:tc>
                  <a:txBody>
                    <a:bodyPr/>
                    <a:lstStyle/>
                    <a:p>
                      <a:r>
                        <a:rPr lang="ja-JP" altLang="en-US" sz="1050" dirty="0"/>
                        <a:t>南アフリカ医療協会 </a:t>
                      </a:r>
                      <a:r>
                        <a:rPr lang="en-US" altLang="ja-JP" sz="1050" dirty="0"/>
                        <a:t>South African Medical Associ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88</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の医師の約</a:t>
                      </a:r>
                      <a:r>
                        <a:rPr kumimoji="1" lang="en-US" altLang="ja-JP" sz="1000" kern="1200" dirty="0">
                          <a:solidFill>
                            <a:schemeClr val="dk1"/>
                          </a:solidFill>
                          <a:latin typeface="+mn-lt"/>
                          <a:ea typeface="+mn-ea"/>
                          <a:cs typeface="+mn-cs"/>
                        </a:rPr>
                        <a:t>70%</a:t>
                      </a:r>
                      <a:r>
                        <a:rPr kumimoji="1" lang="ja-JP" altLang="en-US" sz="1000" kern="1200" dirty="0">
                          <a:solidFill>
                            <a:schemeClr val="dk1"/>
                          </a:solidFill>
                          <a:latin typeface="+mn-lt"/>
                          <a:ea typeface="+mn-ea"/>
                          <a:cs typeface="+mn-cs"/>
                        </a:rPr>
                        <a:t>が所属する職能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medical.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3389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dirty="0"/>
                        <a:t>South African Academy of Family Physicia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Primary care</a:t>
                      </a:r>
                      <a:r>
                        <a:rPr kumimoji="1" lang="ja-JP" altLang="en-US" sz="1000" kern="1200" dirty="0">
                          <a:solidFill>
                            <a:schemeClr val="dk1"/>
                          </a:solidFill>
                          <a:latin typeface="+mn-lt"/>
                          <a:ea typeface="+mn-ea"/>
                          <a:cs typeface="+mn-cs"/>
                        </a:rPr>
                        <a:t>を担当する家庭医の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saafp.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6747954"/>
                  </a:ext>
                </a:extLst>
              </a:tr>
              <a:tr h="3389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dirty="0"/>
                        <a:t>Federation of South African Surgeo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にある外科医の学会を束ねる上位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fosas.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3989886"/>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外科医師会 </a:t>
                      </a:r>
                      <a:r>
                        <a:rPr lang="en-US" altLang="ja-JP" sz="1050" dirty="0"/>
                        <a:t>The Association of Surgeons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43</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の一般外科医の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urgeon.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心臓協会　</a:t>
                      </a:r>
                      <a:r>
                        <a:rPr lang="en-US" altLang="ja-JP" sz="1050" dirty="0"/>
                        <a:t>South African Heart Association NP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9</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心臓外科医や関連する技師・看護師・放射線技師、心血管疾患の研究者などからなる非営利法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heart.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整形外科学会 </a:t>
                      </a:r>
                      <a:r>
                        <a:rPr lang="en-US" altLang="ja-JP" sz="1050" dirty="0"/>
                        <a:t>South African Orthopedic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47</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整形外科医</a:t>
                      </a:r>
                      <a:r>
                        <a:rPr kumimoji="1" lang="en-US" altLang="ja-JP" sz="1000" kern="1200" dirty="0">
                          <a:solidFill>
                            <a:schemeClr val="dk1"/>
                          </a:solidFill>
                          <a:latin typeface="+mn-lt"/>
                          <a:ea typeface="+mn-ea"/>
                          <a:cs typeface="+mn-cs"/>
                        </a:rPr>
                        <a:t>800</a:t>
                      </a:r>
                      <a:r>
                        <a:rPr kumimoji="1" lang="ja-JP" altLang="en-US" sz="1000" kern="1200" dirty="0">
                          <a:solidFill>
                            <a:schemeClr val="dk1"/>
                          </a:solidFill>
                          <a:latin typeface="+mn-lt"/>
                          <a:ea typeface="+mn-ea"/>
                          <a:cs typeface="+mn-cs"/>
                        </a:rPr>
                        <a:t>名ほ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sao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38039226"/>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歯科医師会 </a:t>
                      </a:r>
                      <a:r>
                        <a:rPr lang="en-US" altLang="ja-JP" sz="1050" dirty="0"/>
                        <a:t>The South African Dent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8</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00</a:t>
                      </a:r>
                      <a:r>
                        <a:rPr kumimoji="1" lang="ja-JP" altLang="en-US" sz="1000" kern="1200" dirty="0">
                          <a:solidFill>
                            <a:schemeClr val="dk1"/>
                          </a:solidFill>
                          <a:latin typeface="+mn-lt"/>
                          <a:ea typeface="+mn-ea"/>
                          <a:cs typeface="+mn-cs"/>
                        </a:rPr>
                        <a:t>年前後から南アフリカに存在した歯科関連の様々な学会が統合し、</a:t>
                      </a:r>
                      <a:r>
                        <a:rPr kumimoji="1" lang="en-US" altLang="ja-JP" sz="1000" kern="1200" dirty="0">
                          <a:solidFill>
                            <a:schemeClr val="dk1"/>
                          </a:solidFill>
                          <a:latin typeface="+mn-lt"/>
                          <a:ea typeface="+mn-ea"/>
                          <a:cs typeface="+mn-cs"/>
                        </a:rPr>
                        <a:t>1998</a:t>
                      </a:r>
                      <a:r>
                        <a:rPr kumimoji="1" lang="ja-JP" altLang="en-US" sz="1000" kern="1200" dirty="0">
                          <a:solidFill>
                            <a:schemeClr val="dk1"/>
                          </a:solidFill>
                          <a:latin typeface="+mn-lt"/>
                          <a:ea typeface="+mn-ea"/>
                          <a:cs typeface="+mn-cs"/>
                        </a:rPr>
                        <a:t>年に国内の大半の歯科医師を会員とする学会として設立</a:t>
                      </a:r>
                      <a:endParaRPr kumimoji="1" lang="en-US" altLang="ja-JP" sz="1000" kern="1200" dirty="0">
                        <a:solidFill>
                          <a:schemeClr val="dk1"/>
                        </a:solidFill>
                        <a:latin typeface="+mn-lt"/>
                        <a:ea typeface="+mn-ea"/>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からは全ての歯科関連の専門職にも門戸を開い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d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3926351"/>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病理学会 </a:t>
                      </a:r>
                      <a:r>
                        <a:rPr lang="en-US" altLang="ja-JP" sz="1050" dirty="0"/>
                        <a:t>National Pathology Group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0</a:t>
                      </a:r>
                      <a:r>
                        <a:rPr kumimoji="1" lang="ja-JP" altLang="en-US" sz="1000" kern="1200" dirty="0">
                          <a:solidFill>
                            <a:schemeClr val="dk1"/>
                          </a:solidFill>
                          <a:latin typeface="+mn-lt"/>
                          <a:ea typeface="+mn-ea"/>
                          <a:cs typeface="+mn-cs"/>
                        </a:rPr>
                        <a:t>名ほどの病理専門医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pathology.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7068564"/>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放射線医学学会　</a:t>
                      </a:r>
                      <a:r>
                        <a:rPr lang="en-US" altLang="ja-JP" sz="1050" dirty="0"/>
                        <a:t>The Radiological Society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74</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ボツワナ・ナミビア・ジンバブエの放射線科専門医による学会</a:t>
                      </a:r>
                      <a:endParaRPr kumimoji="1" lang="en-US" altLang="ja-JP" sz="1000" kern="1200" dirty="0">
                        <a:solidFill>
                          <a:schemeClr val="dk1"/>
                        </a:solidFill>
                        <a:latin typeface="+mn-lt"/>
                        <a:ea typeface="+mn-ea"/>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900</a:t>
                      </a:r>
                      <a:r>
                        <a:rPr kumimoji="1" lang="ja-JP" altLang="en-US" sz="1000" kern="1200" dirty="0">
                          <a:solidFill>
                            <a:schemeClr val="dk1"/>
                          </a:solidFill>
                          <a:latin typeface="+mn-lt"/>
                          <a:ea typeface="+mn-ea"/>
                          <a:cs typeface="+mn-cs"/>
                        </a:rPr>
                        <a:t>名以上の会員が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rss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22113144"/>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泌尿器科学会 </a:t>
                      </a:r>
                      <a:r>
                        <a:rPr lang="en-US" altLang="ja-JP" sz="1050" dirty="0"/>
                        <a:t>South African Urolog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国内の泌尿器科専門医や研究者、学生な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sau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4316118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D497C0-B624-4B1F-AF98-A43E0680C810}"/>
              </a:ext>
            </a:extLst>
          </p:cNvPr>
          <p:cNvGraphicFramePr>
            <a:graphicFrameLocks noChangeAspect="1"/>
          </p:cNvGraphicFramePr>
          <p:nvPr>
            <p:custDataLst>
              <p:tags r:id="rId1"/>
            </p:custDataLst>
            <p:extLst>
              <p:ext uri="{D42A27DB-BD31-4B8C-83A1-F6EECF244321}">
                <p14:modId xmlns:p14="http://schemas.microsoft.com/office/powerpoint/2010/main" val="335680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C2D497C0-B624-4B1F-AF98-A43E0680C8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0AA9F180-01A2-41F5-917A-5C2914FDD43D}"/>
              </a:ext>
            </a:extLst>
          </p:cNvPr>
          <p:cNvGraphicFramePr>
            <a:graphicFrameLocks noGrp="1"/>
          </p:cNvGraphicFramePr>
          <p:nvPr>
            <p:extLst>
              <p:ext uri="{D42A27DB-BD31-4B8C-83A1-F6EECF244321}">
                <p14:modId xmlns:p14="http://schemas.microsoft.com/office/powerpoint/2010/main" val="1294051070"/>
              </p:ext>
            </p:extLst>
          </p:nvPr>
        </p:nvGraphicFramePr>
        <p:xfrm>
          <a:off x="235005" y="3924400"/>
          <a:ext cx="9467690" cy="944760"/>
        </p:xfrm>
        <a:graphic>
          <a:graphicData uri="http://schemas.openxmlformats.org/drawingml/2006/table">
            <a:tbl>
              <a:tblPr firstRow="1" bandRow="1">
                <a:tableStyleId>{2D5ABB26-0587-4C30-8999-92F81FD0307C}</a:tableStyleId>
              </a:tblPr>
              <a:tblGrid>
                <a:gridCol w="1714026">
                  <a:extLst>
                    <a:ext uri="{9D8B030D-6E8A-4147-A177-3AD203B41FA5}">
                      <a16:colId xmlns:a16="http://schemas.microsoft.com/office/drawing/2014/main" val="2753323387"/>
                    </a:ext>
                  </a:extLst>
                </a:gridCol>
                <a:gridCol w="1209200">
                  <a:extLst>
                    <a:ext uri="{9D8B030D-6E8A-4147-A177-3AD203B41FA5}">
                      <a16:colId xmlns:a16="http://schemas.microsoft.com/office/drawing/2014/main" val="783939283"/>
                    </a:ext>
                  </a:extLst>
                </a:gridCol>
                <a:gridCol w="4129245">
                  <a:extLst>
                    <a:ext uri="{9D8B030D-6E8A-4147-A177-3AD203B41FA5}">
                      <a16:colId xmlns:a16="http://schemas.microsoft.com/office/drawing/2014/main" val="2808370505"/>
                    </a:ext>
                  </a:extLst>
                </a:gridCol>
                <a:gridCol w="1012834">
                  <a:extLst>
                    <a:ext uri="{9D8B030D-6E8A-4147-A177-3AD203B41FA5}">
                      <a16:colId xmlns:a16="http://schemas.microsoft.com/office/drawing/2014/main" val="2083171187"/>
                    </a:ext>
                  </a:extLst>
                </a:gridCol>
                <a:gridCol w="1402385">
                  <a:extLst>
                    <a:ext uri="{9D8B030D-6E8A-4147-A177-3AD203B41FA5}">
                      <a16:colId xmlns:a16="http://schemas.microsoft.com/office/drawing/2014/main" val="3935625665"/>
                    </a:ext>
                  </a:extLst>
                </a:gridCol>
              </a:tblGrid>
              <a:tr h="40470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品目</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48984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dirty="0"/>
                        <a:t>Africa Health  /</a:t>
                      </a:r>
                      <a:r>
                        <a:rPr lang="ja-JP" altLang="en-US" sz="1000" dirty="0"/>
                        <a:t> </a:t>
                      </a:r>
                      <a:r>
                        <a:rPr lang="en-US" altLang="ja-JP" sz="1000" dirty="0" err="1"/>
                        <a:t>Medlab</a:t>
                      </a:r>
                      <a:r>
                        <a:rPr lang="ja-JP" altLang="en-US" sz="1000" dirty="0"/>
                        <a:t> </a:t>
                      </a:r>
                      <a:r>
                        <a:rPr lang="en-US" altLang="ja-JP" sz="1000" dirty="0"/>
                        <a:t>Afric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Informa Markets</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医療機器・デバイス、整形外科・理学療法・リハビリテーション、消耗品・消費財、</a:t>
                      </a:r>
                      <a:r>
                        <a:rPr kumimoji="1" lang="en-US" altLang="ja-JP" sz="900" kern="1200" dirty="0">
                          <a:solidFill>
                            <a:schemeClr val="dk1"/>
                          </a:solidFill>
                          <a:latin typeface="+mn-lt"/>
                          <a:ea typeface="+mn-ea"/>
                          <a:cs typeface="+mn-cs"/>
                        </a:rPr>
                        <a:t>IT</a:t>
                      </a:r>
                      <a:r>
                        <a:rPr kumimoji="1" lang="ja-JP" altLang="en-US" sz="900" kern="1200" dirty="0">
                          <a:solidFill>
                            <a:schemeClr val="dk1"/>
                          </a:solidFill>
                          <a:latin typeface="+mn-lt"/>
                          <a:ea typeface="+mn-ea"/>
                          <a:cs typeface="+mn-cs"/>
                        </a:rPr>
                        <a:t>システム・ソリューション、医療インフラ・資産、画像診断・予防・診断後治療、ヘルスケア・一般サービ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tx1"/>
                          </a:solidFill>
                          <a:latin typeface="+mn-lt"/>
                          <a:ea typeface="+mn-ea"/>
                          <a:cs typeface="+mn-cs"/>
                          <a:hlinkClick r:id="rId5">
                            <a:extLst>
                              <a:ext uri="{A12FA001-AC4F-418D-AE19-62706E023703}">
                                <ahyp:hlinkClr xmlns:ahyp="http://schemas.microsoft.com/office/drawing/2018/hyperlinkcolor" val="tx"/>
                              </a:ext>
                            </a:extLst>
                          </a:hlinkClick>
                        </a:rPr>
                        <a:t>https://www.africahealthexhibition.com/en/home.html</a:t>
                      </a:r>
                      <a:endParaRPr kumimoji="1" lang="en-US" altLang="ja-JP" sz="9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graphicFrame>
        <p:nvGraphicFramePr>
          <p:cNvPr id="9" name="Table 8">
            <a:extLst>
              <a:ext uri="{FF2B5EF4-FFF2-40B4-BE49-F238E27FC236}">
                <a16:creationId xmlns:a16="http://schemas.microsoft.com/office/drawing/2014/main" id="{81958848-0648-4B20-B2DD-A60C952BA456}"/>
              </a:ext>
            </a:extLst>
          </p:cNvPr>
          <p:cNvGraphicFramePr>
            <a:graphicFrameLocks noGrp="1"/>
          </p:cNvGraphicFramePr>
          <p:nvPr>
            <p:extLst>
              <p:ext uri="{D42A27DB-BD31-4B8C-83A1-F6EECF244321}">
                <p14:modId xmlns:p14="http://schemas.microsoft.com/office/powerpoint/2010/main" val="2992601184"/>
              </p:ext>
            </p:extLst>
          </p:nvPr>
        </p:nvGraphicFramePr>
        <p:xfrm>
          <a:off x="200472" y="1890998"/>
          <a:ext cx="9505055" cy="1447986"/>
        </p:xfrm>
        <a:graphic>
          <a:graphicData uri="http://schemas.openxmlformats.org/drawingml/2006/table">
            <a:tbl>
              <a:tblPr firstRow="1" bandRow="1">
                <a:tableStyleId>{2D5ABB26-0587-4C30-8999-92F81FD0307C}</a:tableStyleId>
              </a:tblPr>
              <a:tblGrid>
                <a:gridCol w="2973897">
                  <a:extLst>
                    <a:ext uri="{9D8B030D-6E8A-4147-A177-3AD203B41FA5}">
                      <a16:colId xmlns:a16="http://schemas.microsoft.com/office/drawing/2014/main" val="2753323387"/>
                    </a:ext>
                  </a:extLst>
                </a:gridCol>
                <a:gridCol w="765797">
                  <a:extLst>
                    <a:ext uri="{9D8B030D-6E8A-4147-A177-3AD203B41FA5}">
                      <a16:colId xmlns:a16="http://schemas.microsoft.com/office/drawing/2014/main" val="2083171187"/>
                    </a:ext>
                  </a:extLst>
                </a:gridCol>
                <a:gridCol w="4252654">
                  <a:extLst>
                    <a:ext uri="{9D8B030D-6E8A-4147-A177-3AD203B41FA5}">
                      <a16:colId xmlns:a16="http://schemas.microsoft.com/office/drawing/2014/main" val="402676426"/>
                    </a:ext>
                  </a:extLst>
                </a:gridCol>
                <a:gridCol w="1512707">
                  <a:extLst>
                    <a:ext uri="{9D8B030D-6E8A-4147-A177-3AD203B41FA5}">
                      <a16:colId xmlns:a16="http://schemas.microsoft.com/office/drawing/2014/main" val="3935625665"/>
                    </a:ext>
                  </a:extLst>
                </a:gridCol>
              </a:tblGrid>
              <a:tr h="40470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494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南アフリカ医療機器メーカー団体</a:t>
                      </a:r>
                      <a:r>
                        <a:rPr lang="en-US" altLang="ja-JP" sz="1000" dirty="0"/>
                        <a:t>Medical Device Manufacturers of South Africa</a:t>
                      </a:r>
                      <a:r>
                        <a:rPr lang="ja-JP" altLang="en-US" sz="1000" dirty="0"/>
                        <a:t> </a:t>
                      </a:r>
                      <a:r>
                        <a:rPr lang="en-US" altLang="ja-JP" sz="1000" dirty="0"/>
                        <a:t>(MDMS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南アフリカで医療機器・資材を生産する企業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mdms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494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南アフリカ医療機器産業組合 </a:t>
                      </a:r>
                      <a:r>
                        <a:rPr lang="en-US" altLang="ja-JP" sz="1000" dirty="0"/>
                        <a:t>The South African Medical Technology Industry Association </a:t>
                      </a:r>
                      <a:r>
                        <a:rPr lang="ja-JP" altLang="en-US" sz="1000" dirty="0"/>
                        <a:t>（</a:t>
                      </a:r>
                      <a:r>
                        <a:rPr lang="en-US" altLang="ja-JP" sz="1000" dirty="0"/>
                        <a:t>SAMED</a:t>
                      </a:r>
                      <a:r>
                        <a:rPr lang="ja-JP" altLang="en-US" sz="1000" dirty="0"/>
                        <a:t>）</a:t>
                      </a:r>
                      <a:endParaRPr lang="en-US" altLang="ja-JP"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1985</a:t>
                      </a:r>
                      <a:r>
                        <a:rPr kumimoji="1" lang="ja-JP" altLang="en-US" sz="9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南アフリカの医療テクノロジー企業の意欲向上を目的とした独立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samed.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0" name="Rectangle 9">
            <a:extLst>
              <a:ext uri="{FF2B5EF4-FFF2-40B4-BE49-F238E27FC236}">
                <a16:creationId xmlns:a16="http://schemas.microsoft.com/office/drawing/2014/main" id="{DB53B254-8B8F-45AD-9BF1-7D99D3649792}"/>
              </a:ext>
            </a:extLst>
          </p:cNvPr>
          <p:cNvSpPr>
            <a:spLocks noChangeArrowheads="1"/>
          </p:cNvSpPr>
          <p:nvPr/>
        </p:nvSpPr>
        <p:spPr bwMode="auto">
          <a:xfrm>
            <a:off x="200025" y="155743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1" name="Rectangle 10">
            <a:extLst>
              <a:ext uri="{FF2B5EF4-FFF2-40B4-BE49-F238E27FC236}">
                <a16:creationId xmlns:a16="http://schemas.microsoft.com/office/drawing/2014/main" id="{3E6BA290-B566-4E7D-AB12-5558078D9EBE}"/>
              </a:ext>
            </a:extLst>
          </p:cNvPr>
          <p:cNvSpPr>
            <a:spLocks noChangeArrowheads="1"/>
          </p:cNvSpPr>
          <p:nvPr/>
        </p:nvSpPr>
        <p:spPr bwMode="auto">
          <a:xfrm>
            <a:off x="200025" y="359506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05327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078219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82" imgW="270" imgH="270" progId="TCLayout.ActiveDocument.1">
                  <p:embed/>
                </p:oleObj>
              </mc:Choice>
              <mc:Fallback>
                <p:oleObj name="think-cellスライド" r:id="rId282" imgW="270" imgH="270" progId="TCLayout.ActiveDocument.1">
                  <p:embed/>
                  <p:pic>
                    <p:nvPicPr>
                      <p:cNvPr id="7" name="オブジェクト 6" hidden="1"/>
                      <p:cNvPicPr>
                        <a:picLocks noChangeAspect="1" noChangeArrowheads="1"/>
                      </p:cNvPicPr>
                      <p:nvPr/>
                    </p:nvPicPr>
                    <p:blipFill>
                      <a:blip r:embed="rId2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127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S PGothic (Headings)"/>
                <a:ea typeface="ＭＳ Ｐゴシック" panose="020B0600070205080204" pitchFamily="50" charset="-128"/>
                <a:cs typeface="Arial" panose="020B0604020202020204" pitchFamily="34" charset="0"/>
              </a:rPr>
              <a:t>2050</a:t>
            </a:r>
            <a:r>
              <a:rPr lang="ja-JP" altLang="en-US" sz="1400" dirty="0">
                <a:latin typeface="MS PGothic (Headings)"/>
                <a:ea typeface="ＭＳ Ｐゴシック" panose="020B0600070205080204" pitchFamily="50" charset="-128"/>
                <a:cs typeface="Arial" panose="020B0604020202020204" pitchFamily="34" charset="0"/>
              </a:rPr>
              <a:t>年を超えて人口は増加を続けるが、</a:t>
            </a:r>
            <a:r>
              <a:rPr lang="en-US" altLang="ja-JP" sz="1400" dirty="0">
                <a:latin typeface="MS PGothic (Headings)"/>
                <a:ea typeface="ＭＳ Ｐゴシック" panose="020B0600070205080204" pitchFamily="50" charset="-128"/>
                <a:cs typeface="Arial" panose="020B0604020202020204" pitchFamily="34" charset="0"/>
              </a:rPr>
              <a:t>2030</a:t>
            </a:r>
            <a:r>
              <a:rPr lang="ja-JP" altLang="en-US" sz="1400" dirty="0">
                <a:latin typeface="MS PGothic (Headings)"/>
                <a:ea typeface="ＭＳ Ｐゴシック" panose="020B0600070205080204" pitchFamily="50" charset="-128"/>
                <a:cs typeface="Arial" panose="020B0604020202020204" pitchFamily="34" charset="0"/>
              </a:rPr>
              <a:t>年頃からは徐々に高齢化が始まると見込まれている。</a:t>
            </a:r>
          </a:p>
        </p:txBody>
      </p:sp>
      <p:grpSp>
        <p:nvGrpSpPr>
          <p:cNvPr id="66" name="グループ化 65"/>
          <p:cNvGrpSpPr/>
          <p:nvPr/>
        </p:nvGrpSpPr>
        <p:grpSpPr>
          <a:xfrm>
            <a:off x="8212604" y="4494104"/>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025" y="6635645"/>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1" name="Chart 30">
            <a:extLst>
              <a:ext uri="{FF2B5EF4-FFF2-40B4-BE49-F238E27FC236}">
                <a16:creationId xmlns:a16="http://schemas.microsoft.com/office/drawing/2014/main" id="{5E171C3D-36A3-E770-716B-283F00E591E9}"/>
              </a:ext>
            </a:extLst>
          </p:cNvPr>
          <p:cNvGraphicFramePr/>
          <p:nvPr>
            <p:custDataLst>
              <p:tags r:id="rId3"/>
            </p:custDataLst>
            <p:extLst>
              <p:ext uri="{D42A27DB-BD31-4B8C-83A1-F6EECF244321}">
                <p14:modId xmlns:p14="http://schemas.microsoft.com/office/powerpoint/2010/main" val="3964347979"/>
              </p:ext>
            </p:extLst>
          </p:nvPr>
        </p:nvGraphicFramePr>
        <p:xfrm>
          <a:off x="222250" y="2228850"/>
          <a:ext cx="9313863" cy="1725613"/>
        </p:xfrm>
        <a:graphic>
          <a:graphicData uri="http://schemas.openxmlformats.org/drawingml/2006/chart">
            <c:chart xmlns:c="http://schemas.openxmlformats.org/drawingml/2006/chart" xmlns:r="http://schemas.openxmlformats.org/officeDocument/2006/relationships" r:id="rId284"/>
          </a:graphicData>
        </a:graphic>
      </p:graphicFrame>
      <p:cxnSp>
        <p:nvCxnSpPr>
          <p:cNvPr id="222" name="Straight Connector 221">
            <a:extLst>
              <a:ext uri="{FF2B5EF4-FFF2-40B4-BE49-F238E27FC236}">
                <a16:creationId xmlns:a16="http://schemas.microsoft.com/office/drawing/2014/main" id="{914422C4-0287-794F-5677-4C23811AA059}"/>
              </a:ext>
            </a:extLst>
          </p:cNvPr>
          <p:cNvCxnSpPr/>
          <p:nvPr>
            <p:custDataLst>
              <p:tags r:id="rId4"/>
            </p:custDataLst>
          </p:nvPr>
        </p:nvCxnSpPr>
        <p:spPr bwMode="auto">
          <a:xfrm>
            <a:off x="5454650" y="3600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B5ACA4CA-5597-280A-5AD6-74C13E7E858A}"/>
              </a:ext>
            </a:extLst>
          </p:cNvPr>
          <p:cNvCxnSpPr/>
          <p:nvPr>
            <p:custDataLst>
              <p:tags r:id="rId5"/>
            </p:custDataLst>
          </p:nvPr>
        </p:nvCxnSpPr>
        <p:spPr bwMode="auto">
          <a:xfrm>
            <a:off x="8940800" y="320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0" name="テキスト プレースホルダ 9">
            <a:extLst>
              <a:ext uri="{FF2B5EF4-FFF2-40B4-BE49-F238E27FC236}">
                <a16:creationId xmlns:a16="http://schemas.microsoft.com/office/drawing/2014/main" id="{4FF69CFB-FF61-345C-A9AC-1246FBCD7572}"/>
              </a:ext>
            </a:extLst>
          </p:cNvPr>
          <p:cNvSpPr>
            <a:spLocks noGrp="1"/>
          </p:cNvSpPr>
          <p:nvPr>
            <p:custDataLst>
              <p:tags r:id="rId6"/>
            </p:custDataLst>
          </p:nvPr>
        </p:nvSpPr>
        <p:spPr bwMode="auto">
          <a:xfrm>
            <a:off x="661988"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A8C4B-CEB2-4115-9370-E7B368159AC5}"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5803A127-E49E-D299-B2AB-5DFABD002D49}"/>
              </a:ext>
            </a:extLst>
          </p:cNvPr>
          <p:cNvSpPr>
            <a:spLocks noGrp="1"/>
          </p:cNvSpPr>
          <p:nvPr>
            <p:custDataLst>
              <p:tags r:id="rId7"/>
            </p:custDataLst>
          </p:nvPr>
        </p:nvSpPr>
        <p:spPr bwMode="gray">
          <a:xfrm>
            <a:off x="958850" y="3371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5E372-70FC-4EFB-A62C-C1B91646E8D5}" type="datetime'''''''''''''''''''4''''''''''7''.''6'">
              <a:rPr lang="ja-JP" altLang="en-US" sz="1000" smtClean="0">
                <a:effectLst/>
                <a:sym typeface="+mn-lt"/>
              </a:rPr>
              <a:pPr marL="0" lvl="0" indent="0" algn="ctr">
                <a:spcBef>
                  <a:spcPct val="0"/>
                </a:spcBef>
                <a:buNone/>
              </a:pPr>
              <a:t>47.6</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E26C9974-4C59-1B1A-E255-267D48F7929A}"/>
              </a:ext>
            </a:extLst>
          </p:cNvPr>
          <p:cNvSpPr>
            <a:spLocks noGrp="1"/>
          </p:cNvSpPr>
          <p:nvPr>
            <p:custDataLst>
              <p:tags r:id="rId8"/>
            </p:custDataLst>
          </p:nvPr>
        </p:nvSpPr>
        <p:spPr bwMode="auto">
          <a:xfrm>
            <a:off x="10223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E4128-D030-4360-9FEC-6BD2E4F4C958}"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9FC11E55-F2F8-0265-1B1C-915136486F7D}"/>
              </a:ext>
            </a:extLst>
          </p:cNvPr>
          <p:cNvSpPr>
            <a:spLocks noGrp="1"/>
          </p:cNvSpPr>
          <p:nvPr>
            <p:custDataLst>
              <p:tags r:id="rId9"/>
            </p:custDataLst>
          </p:nvPr>
        </p:nvSpPr>
        <p:spPr bwMode="gray">
          <a:xfrm>
            <a:off x="1249363" y="3368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E5689-4241-4395-AA58-07DA81CFBF8A}" type="datetime'4''''''8''''''''''''.''0'''''''''''''''''''''''''">
              <a:rPr lang="ja-JP" altLang="en-US" sz="1000" smtClean="0">
                <a:effectLst/>
                <a:sym typeface="+mn-lt"/>
              </a:rPr>
              <a:pPr marL="0" lvl="0" indent="0" algn="ctr">
                <a:spcBef>
                  <a:spcPct val="0"/>
                </a:spcBef>
                <a:buNone/>
              </a:pPr>
              <a:t>48.0</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B2BC945E-CFD9-9C47-228D-5D8DFA0B78E2}"/>
              </a:ext>
            </a:extLst>
          </p:cNvPr>
          <p:cNvSpPr>
            <a:spLocks noGrp="1"/>
          </p:cNvSpPr>
          <p:nvPr>
            <p:custDataLst>
              <p:tags r:id="rId10"/>
            </p:custDataLst>
          </p:nvPr>
        </p:nvSpPr>
        <p:spPr bwMode="auto">
          <a:xfrm>
            <a:off x="13128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F800D-84D9-42FF-A862-443C6EBEFD5B}"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429C53F1-96A5-4132-70C5-9AC6D6FEF315}"/>
              </a:ext>
            </a:extLst>
          </p:cNvPr>
          <p:cNvSpPr>
            <a:spLocks noGrp="1"/>
          </p:cNvSpPr>
          <p:nvPr>
            <p:custDataLst>
              <p:tags r:id="rId11"/>
            </p:custDataLst>
          </p:nvPr>
        </p:nvSpPr>
        <p:spPr bwMode="gray">
          <a:xfrm>
            <a:off x="1539875" y="3367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26A9DB-153F-4CEF-8366-021B4D82E41E}" type="datetime'''''''''''4''8''''''.''''''''''''''''''5'''''''''''''">
              <a:rPr lang="ja-JP" altLang="en-US" sz="1000" smtClean="0">
                <a:effectLst/>
                <a:sym typeface="+mn-lt"/>
              </a:rPr>
              <a:pPr marL="0" lvl="0" indent="0" algn="ctr">
                <a:spcBef>
                  <a:spcPct val="0"/>
                </a:spcBef>
                <a:buNone/>
              </a:pPr>
              <a:t>48.5</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30FF21CA-196B-983A-BB85-CE012C9F38B2}"/>
              </a:ext>
            </a:extLst>
          </p:cNvPr>
          <p:cNvSpPr>
            <a:spLocks noGrp="1"/>
          </p:cNvSpPr>
          <p:nvPr>
            <p:custDataLst>
              <p:tags r:id="rId12"/>
            </p:custDataLst>
          </p:nvPr>
        </p:nvSpPr>
        <p:spPr bwMode="auto">
          <a:xfrm>
            <a:off x="16033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658DDB-D206-44C4-BCC1-A423792EFC9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CEA6B834-C9EF-6ABB-48D1-34C4FC82FD8B}"/>
              </a:ext>
            </a:extLst>
          </p:cNvPr>
          <p:cNvSpPr>
            <a:spLocks noGrp="1"/>
          </p:cNvSpPr>
          <p:nvPr>
            <p:custDataLst>
              <p:tags r:id="rId13"/>
            </p:custDataLst>
          </p:nvPr>
        </p:nvSpPr>
        <p:spPr bwMode="gray">
          <a:xfrm>
            <a:off x="1830388" y="3363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60CEF7-0118-4313-B019-F7AC5634C356}" type="datetime'''''''''4''9''''''''''''''''''''''''''.''''0'''">
              <a:rPr lang="ja-JP" altLang="en-US" sz="1000" smtClean="0">
                <a:effectLst/>
                <a:sym typeface="+mn-lt"/>
              </a:rPr>
              <a:pPr marL="0" lvl="0" indent="0" algn="ctr">
                <a:spcBef>
                  <a:spcPct val="0"/>
                </a:spcBef>
                <a:buNone/>
              </a:pPr>
              <a:t>49.0</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D72E9DEC-737D-C79D-E787-CE7DD8F228D5}"/>
              </a:ext>
            </a:extLst>
          </p:cNvPr>
          <p:cNvSpPr>
            <a:spLocks noGrp="1"/>
          </p:cNvSpPr>
          <p:nvPr>
            <p:custDataLst>
              <p:tags r:id="rId14"/>
            </p:custDataLst>
          </p:nvPr>
        </p:nvSpPr>
        <p:spPr bwMode="auto">
          <a:xfrm>
            <a:off x="1893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7E7DA-B2B1-43CF-81BD-25A6498B6C34}"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B2CDA250-A93F-E8A8-3FFF-E1725EBFCF7A}"/>
              </a:ext>
            </a:extLst>
          </p:cNvPr>
          <p:cNvSpPr>
            <a:spLocks noGrp="1"/>
          </p:cNvSpPr>
          <p:nvPr>
            <p:custDataLst>
              <p:tags r:id="rId15"/>
            </p:custDataLst>
          </p:nvPr>
        </p:nvSpPr>
        <p:spPr bwMode="gray">
          <a:xfrm>
            <a:off x="2120900" y="3360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34EBC-9D5A-4245-9F9C-71E24B249520}" type="datetime'''''''''''''''''''''''''''49''''''''.''''''''''''5'">
              <a:rPr lang="ja-JP" altLang="en-US" sz="1000" smtClean="0">
                <a:effectLst/>
                <a:sym typeface="+mn-lt"/>
              </a:rPr>
              <a:pPr marL="0" lvl="0" indent="0" algn="ctr">
                <a:spcBef>
                  <a:spcPct val="0"/>
                </a:spcBef>
                <a:buNone/>
              </a:pPr>
              <a:t>49.5</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1E6DC253-0D3C-8413-E56B-F085AB4F1E53}"/>
              </a:ext>
            </a:extLst>
          </p:cNvPr>
          <p:cNvSpPr>
            <a:spLocks noGrp="1"/>
          </p:cNvSpPr>
          <p:nvPr>
            <p:custDataLst>
              <p:tags r:id="rId16"/>
            </p:custDataLst>
          </p:nvPr>
        </p:nvSpPr>
        <p:spPr bwMode="auto">
          <a:xfrm>
            <a:off x="21844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A9219-95AC-47BB-BBF6-43886FFDF4FD}"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D01C095D-7E6E-C0D6-29AD-A1F8DF762AC6}"/>
              </a:ext>
            </a:extLst>
          </p:cNvPr>
          <p:cNvSpPr>
            <a:spLocks noGrp="1"/>
          </p:cNvSpPr>
          <p:nvPr>
            <p:custDataLst>
              <p:tags r:id="rId17"/>
            </p:custDataLst>
          </p:nvPr>
        </p:nvSpPr>
        <p:spPr bwMode="gray">
          <a:xfrm>
            <a:off x="2411413" y="3357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67DA2-EEDB-417F-8C9C-E431293CD024}" type="datetime'''''''''''''''''''''''''''''5''''0.''''''''''''0'''''''''''">
              <a:rPr lang="ja-JP" altLang="en-US" sz="1000" smtClean="0">
                <a:effectLst/>
                <a:sym typeface="+mn-lt"/>
              </a:rPr>
              <a:pPr marL="0" lvl="0" indent="0" algn="ctr">
                <a:spcBef>
                  <a:spcPct val="0"/>
                </a:spcBef>
                <a:buNone/>
              </a:pPr>
              <a:t>50.0</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4FD74A50-9E90-46CB-B817-8850DE980F69}"/>
              </a:ext>
            </a:extLst>
          </p:cNvPr>
          <p:cNvSpPr>
            <a:spLocks noGrp="1"/>
          </p:cNvSpPr>
          <p:nvPr>
            <p:custDataLst>
              <p:tags r:id="rId18"/>
            </p:custDataLst>
          </p:nvPr>
        </p:nvSpPr>
        <p:spPr bwMode="auto">
          <a:xfrm>
            <a:off x="2474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6F41BD-116A-429D-AFA2-C9E3A4307ACE}"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4601E6D7-2246-7FB7-5B2E-5DDF9437D1D0}"/>
              </a:ext>
            </a:extLst>
          </p:cNvPr>
          <p:cNvSpPr>
            <a:spLocks noGrp="1"/>
          </p:cNvSpPr>
          <p:nvPr>
            <p:custDataLst>
              <p:tags r:id="rId19"/>
            </p:custDataLst>
          </p:nvPr>
        </p:nvSpPr>
        <p:spPr bwMode="gray">
          <a:xfrm>
            <a:off x="2701925" y="3354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5C940D-AF9B-433A-AE89-27F46154A689}" type="datetime'''''5''0''.''''''''''''''5'''''''''''''''''''''''''''''''''">
              <a:rPr lang="ja-JP" altLang="en-US" sz="1000" smtClean="0">
                <a:effectLst/>
                <a:sym typeface="+mn-lt"/>
              </a:rPr>
              <a:pPr marL="0" lvl="0" indent="0" algn="ctr">
                <a:spcBef>
                  <a:spcPct val="0"/>
                </a:spcBef>
                <a:buNone/>
              </a:pPr>
              <a:t>50.5</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CA08F3CD-87A5-534D-9F8C-352DD6885B58}"/>
              </a:ext>
            </a:extLst>
          </p:cNvPr>
          <p:cNvSpPr>
            <a:spLocks noGrp="1"/>
          </p:cNvSpPr>
          <p:nvPr>
            <p:custDataLst>
              <p:tags r:id="rId20"/>
            </p:custDataLst>
          </p:nvPr>
        </p:nvSpPr>
        <p:spPr bwMode="auto">
          <a:xfrm>
            <a:off x="27654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0C9D35-3C70-45A8-9187-D68B27E1D17C}"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CED44F44-FBD3-CAEC-A2F2-5B77DFAB1CB1}"/>
              </a:ext>
            </a:extLst>
          </p:cNvPr>
          <p:cNvSpPr>
            <a:spLocks noGrp="1"/>
          </p:cNvSpPr>
          <p:nvPr>
            <p:custDataLst>
              <p:tags r:id="rId21"/>
            </p:custDataLst>
          </p:nvPr>
        </p:nvSpPr>
        <p:spPr bwMode="gray">
          <a:xfrm>
            <a:off x="2992438" y="3351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B8AF68-7F97-4675-B8A9-B281889A5DFE}" type="datetime'''''''5''''''''''''''''1''.''''''''''''''''''''1'''''">
              <a:rPr lang="ja-JP" altLang="en-US" sz="1000" smtClean="0">
                <a:effectLst/>
                <a:sym typeface="+mn-lt"/>
              </a:rPr>
              <a:pPr marL="0" lvl="0" indent="0" algn="ctr">
                <a:spcBef>
                  <a:spcPct val="0"/>
                </a:spcBef>
                <a:buNone/>
              </a:pPr>
              <a:t>51.1</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72E7BFC0-3052-4598-D108-2460704085D7}"/>
              </a:ext>
            </a:extLst>
          </p:cNvPr>
          <p:cNvSpPr>
            <a:spLocks noGrp="1"/>
          </p:cNvSpPr>
          <p:nvPr>
            <p:custDataLst>
              <p:tags r:id="rId22"/>
            </p:custDataLst>
          </p:nvPr>
        </p:nvSpPr>
        <p:spPr bwMode="auto">
          <a:xfrm>
            <a:off x="3055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B258B-45B2-499B-BF28-B009F5D7BEA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D2906400-8C8C-BBC9-6F09-3FA64D376E78}"/>
              </a:ext>
            </a:extLst>
          </p:cNvPr>
          <p:cNvSpPr>
            <a:spLocks noGrp="1"/>
          </p:cNvSpPr>
          <p:nvPr>
            <p:custDataLst>
              <p:tags r:id="rId23"/>
            </p:custDataLst>
          </p:nvPr>
        </p:nvSpPr>
        <p:spPr bwMode="gray">
          <a:xfrm>
            <a:off x="3282950" y="3348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49D634-43E5-4D93-AB96-1C139704B45F}" type="datetime'''''''''''''5''''''''''1''''.''''''''''7'''''''">
              <a:rPr lang="ja-JP" altLang="en-US" sz="1000" smtClean="0">
                <a:effectLst/>
                <a:sym typeface="+mn-lt"/>
              </a:rPr>
              <a:pPr marL="0" lvl="0" indent="0" algn="ctr">
                <a:spcBef>
                  <a:spcPct val="0"/>
                </a:spcBef>
                <a:buNone/>
              </a:pPr>
              <a:t>51.7</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D54EDF9E-E211-956A-2413-AE3ADE204B46}"/>
              </a:ext>
            </a:extLst>
          </p:cNvPr>
          <p:cNvSpPr>
            <a:spLocks noGrp="1"/>
          </p:cNvSpPr>
          <p:nvPr>
            <p:custDataLst>
              <p:tags r:id="rId24"/>
            </p:custDataLst>
          </p:nvPr>
        </p:nvSpPr>
        <p:spPr bwMode="auto">
          <a:xfrm>
            <a:off x="3346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B2C1E-77EF-4DF7-9900-3A03ABAFDC0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21CD9790-C9CF-CA52-1503-EBA32E86A5A7}"/>
              </a:ext>
            </a:extLst>
          </p:cNvPr>
          <p:cNvSpPr>
            <a:spLocks noGrp="1"/>
          </p:cNvSpPr>
          <p:nvPr>
            <p:custDataLst>
              <p:tags r:id="rId25"/>
            </p:custDataLst>
          </p:nvPr>
        </p:nvSpPr>
        <p:spPr bwMode="gray">
          <a:xfrm>
            <a:off x="3573463" y="3343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E216B-DB15-4503-B1C0-0E9FB21FFDFC}" type="datetime'52''''''''''''''.''''''3'''''''''''''''''''''''''''''''''''">
              <a:rPr lang="ja-JP" altLang="en-US" sz="1000" smtClean="0">
                <a:effectLst/>
                <a:sym typeface="+mn-lt"/>
              </a:rPr>
              <a:pPr marL="0" lvl="0" indent="0" algn="ctr">
                <a:spcBef>
                  <a:spcPct val="0"/>
                </a:spcBef>
                <a:buNone/>
              </a:pPr>
              <a:t>52.3</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A63A5F47-9DE1-B41C-76C7-6A8336EA409C}"/>
              </a:ext>
            </a:extLst>
          </p:cNvPr>
          <p:cNvSpPr>
            <a:spLocks noGrp="1"/>
          </p:cNvSpPr>
          <p:nvPr>
            <p:custDataLst>
              <p:tags r:id="rId26"/>
            </p:custDataLst>
          </p:nvPr>
        </p:nvSpPr>
        <p:spPr bwMode="auto">
          <a:xfrm>
            <a:off x="3636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A37C7-2704-414A-A770-2208482DAB69}"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BA19FA2C-7936-3149-352E-EB668F6E8227}"/>
              </a:ext>
            </a:extLst>
          </p:cNvPr>
          <p:cNvSpPr>
            <a:spLocks noGrp="1"/>
          </p:cNvSpPr>
          <p:nvPr>
            <p:custDataLst>
              <p:tags r:id="rId27"/>
            </p:custDataLst>
          </p:nvPr>
        </p:nvSpPr>
        <p:spPr bwMode="gray">
          <a:xfrm>
            <a:off x="3863975" y="3340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9BD80-8154-41BB-80A6-421E29969B91}" type="datetime'5''''''''''''''''''''''''''''3.''''''''''''''''''''''0'''''''">
              <a:rPr lang="ja-JP" altLang="en-US" sz="1000" smtClean="0">
                <a:effectLst/>
                <a:sym typeface="+mn-lt"/>
              </a:rPr>
              <a:pPr marL="0" lvl="0" indent="0" algn="ctr">
                <a:spcBef>
                  <a:spcPct val="0"/>
                </a:spcBef>
                <a:buNone/>
              </a:pPr>
              <a:t>53.0</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3C70929A-ACAE-7B71-92A0-810E7F3FEB55}"/>
              </a:ext>
            </a:extLst>
          </p:cNvPr>
          <p:cNvSpPr>
            <a:spLocks noGrp="1"/>
          </p:cNvSpPr>
          <p:nvPr>
            <p:custDataLst>
              <p:tags r:id="rId28"/>
            </p:custDataLst>
          </p:nvPr>
        </p:nvSpPr>
        <p:spPr bwMode="auto">
          <a:xfrm>
            <a:off x="39274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5B05E5-E1B4-4E4D-B1AF-3AD0A4454AC6}"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9B11EEAC-AC55-0740-6A2F-5178DAB3618E}"/>
              </a:ext>
            </a:extLst>
          </p:cNvPr>
          <p:cNvSpPr>
            <a:spLocks noGrp="1"/>
          </p:cNvSpPr>
          <p:nvPr>
            <p:custDataLst>
              <p:tags r:id="rId29"/>
            </p:custDataLst>
          </p:nvPr>
        </p:nvSpPr>
        <p:spPr bwMode="gray">
          <a:xfrm>
            <a:off x="4154488" y="3335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88BF3A-80A8-414D-BE9D-26CB91312B72}" type="datetime'''''''5''''''''3''''''''''''''''''''''''''''''''''''.8'''''''">
              <a:rPr lang="ja-JP" altLang="en-US" sz="1000" smtClean="0">
                <a:effectLst/>
                <a:sym typeface="+mn-lt"/>
              </a:rPr>
              <a:pPr marL="0" lvl="0" indent="0" algn="ctr">
                <a:spcBef>
                  <a:spcPct val="0"/>
                </a:spcBef>
                <a:buNone/>
              </a:pPr>
              <a:t>53.8</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04A242C0-34FB-3D1D-F67D-E32B8AC66CA3}"/>
              </a:ext>
            </a:extLst>
          </p:cNvPr>
          <p:cNvSpPr>
            <a:spLocks noGrp="1"/>
          </p:cNvSpPr>
          <p:nvPr>
            <p:custDataLst>
              <p:tags r:id="rId30"/>
            </p:custDataLst>
          </p:nvPr>
        </p:nvSpPr>
        <p:spPr bwMode="auto">
          <a:xfrm>
            <a:off x="4217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E7BF82-C49E-4E6F-B2CA-4C55EAC609AA}"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2C9C03CD-B8D7-2D5E-719F-EC011EE013C4}"/>
              </a:ext>
            </a:extLst>
          </p:cNvPr>
          <p:cNvSpPr>
            <a:spLocks noGrp="1"/>
          </p:cNvSpPr>
          <p:nvPr>
            <p:custDataLst>
              <p:tags r:id="rId31"/>
            </p:custDataLst>
          </p:nvPr>
        </p:nvSpPr>
        <p:spPr bwMode="gray">
          <a:xfrm>
            <a:off x="4445000" y="3330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B0CF3-5A66-4077-BF9D-A7A95487FB12}" type="datetime'''''''''''''''''''54''''''''''''''.''''''''''''''''7'">
              <a:rPr lang="ja-JP" altLang="en-US" sz="1000" smtClean="0">
                <a:effectLst/>
                <a:sym typeface="+mn-lt"/>
              </a:rPr>
              <a:pPr marL="0" lvl="0" indent="0" algn="ctr">
                <a:spcBef>
                  <a:spcPct val="0"/>
                </a:spcBef>
                <a:buNone/>
              </a:pPr>
              <a:t>54.7</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D1DE3B80-A027-1F67-1003-33F7BCCF14AE}"/>
              </a:ext>
            </a:extLst>
          </p:cNvPr>
          <p:cNvSpPr>
            <a:spLocks noGrp="1"/>
          </p:cNvSpPr>
          <p:nvPr>
            <p:custDataLst>
              <p:tags r:id="rId32"/>
            </p:custDataLst>
          </p:nvPr>
        </p:nvSpPr>
        <p:spPr bwMode="auto">
          <a:xfrm>
            <a:off x="4508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13DE2-351D-4728-B8EB-F03B71C0CE4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F1EEFF9F-A969-5F95-CD59-10B60E7CBE63}"/>
              </a:ext>
            </a:extLst>
          </p:cNvPr>
          <p:cNvSpPr>
            <a:spLocks noGrp="1"/>
          </p:cNvSpPr>
          <p:nvPr>
            <p:custDataLst>
              <p:tags r:id="rId33"/>
            </p:custDataLst>
          </p:nvPr>
        </p:nvSpPr>
        <p:spPr bwMode="gray">
          <a:xfrm>
            <a:off x="4735513" y="3324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B7C43-B668-4942-ACDE-0A1955B79715}" type="datetime'''''''''''''''5''''''5''''''''''.6'''''''''''''''''''''">
              <a:rPr lang="ja-JP" altLang="en-US" sz="1000" smtClean="0">
                <a:effectLst/>
                <a:sym typeface="+mn-lt"/>
              </a:rPr>
              <a:pPr marL="0" lvl="0" indent="0" algn="ctr">
                <a:spcBef>
                  <a:spcPct val="0"/>
                </a:spcBef>
                <a:buNone/>
              </a:pPr>
              <a:t>55.6</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6D9ED907-9C58-6142-9A00-D3FFC3748ECE}"/>
              </a:ext>
            </a:extLst>
          </p:cNvPr>
          <p:cNvSpPr>
            <a:spLocks noGrp="1"/>
          </p:cNvSpPr>
          <p:nvPr>
            <p:custDataLst>
              <p:tags r:id="rId34"/>
            </p:custDataLst>
          </p:nvPr>
        </p:nvSpPr>
        <p:spPr bwMode="auto">
          <a:xfrm>
            <a:off x="47990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62347E-3B0A-4985-8164-26C7D79D250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41347FC2-B6F7-C08E-2280-66ACB12CDC93}"/>
              </a:ext>
            </a:extLst>
          </p:cNvPr>
          <p:cNvSpPr>
            <a:spLocks noGrp="1"/>
          </p:cNvSpPr>
          <p:nvPr>
            <p:custDataLst>
              <p:tags r:id="rId35"/>
            </p:custDataLst>
          </p:nvPr>
        </p:nvSpPr>
        <p:spPr bwMode="gray">
          <a:xfrm>
            <a:off x="5024438" y="3317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4BA22C-0FF7-492C-8114-45F11EC75E78}" type="datetime'5''''''''''''''''6''''''''.''''''''''''''''7'''''''''''">
              <a:rPr lang="ja-JP" altLang="en-US" sz="1000" smtClean="0">
                <a:effectLst/>
                <a:sym typeface="+mn-lt"/>
              </a:rPr>
              <a:pPr marL="0" lvl="0" indent="0" algn="ctr">
                <a:spcBef>
                  <a:spcPct val="0"/>
                </a:spcBef>
                <a:buNone/>
              </a:pPr>
              <a:t>56.7</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24F5B35E-7DE3-C8E8-DAA5-092E1F3848E0}"/>
              </a:ext>
            </a:extLst>
          </p:cNvPr>
          <p:cNvSpPr>
            <a:spLocks noGrp="1"/>
          </p:cNvSpPr>
          <p:nvPr>
            <p:custDataLst>
              <p:tags r:id="rId36"/>
            </p:custDataLst>
          </p:nvPr>
        </p:nvSpPr>
        <p:spPr bwMode="auto">
          <a:xfrm>
            <a:off x="5087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77AD44-2B43-4313-BA38-271D332AECE4}"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1F1116A5-88AA-7D0E-3F59-7C7B2F0AC1AF}"/>
              </a:ext>
            </a:extLst>
          </p:cNvPr>
          <p:cNvSpPr>
            <a:spLocks noGrp="1"/>
          </p:cNvSpPr>
          <p:nvPr>
            <p:custDataLst>
              <p:tags r:id="rId37"/>
            </p:custDataLst>
          </p:nvPr>
        </p:nvSpPr>
        <p:spPr bwMode="gray">
          <a:xfrm>
            <a:off x="5329238" y="3448050"/>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62E0B7-384B-433C-A8FC-DDEAB2BFE56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8" name="Text Placeholder 12"/>
          <p:cNvSpPr>
            <a:spLocks noGrp="1"/>
          </p:cNvSpPr>
          <p:nvPr>
            <p:custDataLst>
              <p:tags r:id="rId38"/>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90" name="テキスト プレースホルダ 9">
            <a:extLst>
              <a:ext uri="{FF2B5EF4-FFF2-40B4-BE49-F238E27FC236}">
                <a16:creationId xmlns:a16="http://schemas.microsoft.com/office/drawing/2014/main" id="{AE17BB7F-3B08-BA39-8B48-9636ACDDA665}"/>
              </a:ext>
            </a:extLst>
          </p:cNvPr>
          <p:cNvSpPr>
            <a:spLocks noGrp="1"/>
          </p:cNvSpPr>
          <p:nvPr>
            <p:custDataLst>
              <p:tags r:id="rId39"/>
            </p:custDataLst>
          </p:nvPr>
        </p:nvSpPr>
        <p:spPr bwMode="gray">
          <a:xfrm>
            <a:off x="5314950" y="3314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DF7B8D-8BAC-494D-A697-115E20F07CEB}" type="datetime'''''''''''''''''''''''''''5''''''''7''.''''''3'''''''''''">
              <a:rPr lang="ja-JP" altLang="en-US" sz="1000" smtClean="0">
                <a:effectLst/>
                <a:sym typeface="+mn-lt"/>
              </a:rPr>
              <a:pPr marL="0" lvl="0" indent="0" algn="ctr">
                <a:spcBef>
                  <a:spcPct val="0"/>
                </a:spcBef>
                <a:buNone/>
              </a:pPr>
              <a:t>57.3</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D3A2B49C-4FCA-B310-C387-009E231AE58C}"/>
              </a:ext>
            </a:extLst>
          </p:cNvPr>
          <p:cNvSpPr>
            <a:spLocks noGrp="1"/>
          </p:cNvSpPr>
          <p:nvPr>
            <p:custDataLst>
              <p:tags r:id="rId40"/>
            </p:custDataLst>
          </p:nvPr>
        </p:nvSpPr>
        <p:spPr bwMode="auto">
          <a:xfrm>
            <a:off x="5378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9C19D3-A8AE-408B-9030-68A32B7FD2A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54606FC6-F530-D9E4-2188-E0034B0B65C5}"/>
              </a:ext>
            </a:extLst>
          </p:cNvPr>
          <p:cNvSpPr>
            <a:spLocks noGrp="1"/>
          </p:cNvSpPr>
          <p:nvPr>
            <p:custDataLst>
              <p:tags r:id="rId41"/>
            </p:custDataLst>
          </p:nvPr>
        </p:nvSpPr>
        <p:spPr bwMode="gray">
          <a:xfrm>
            <a:off x="5605463" y="3313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EC20BA-F960-4BCA-BADE-F5C490F3E49D}" type="datetime'''5''''''''''''''''''''''''''''7''''''''''.''6'''''''''''''">
              <a:rPr lang="ja-JP" altLang="en-US" sz="1000" smtClean="0">
                <a:effectLst/>
                <a:sym typeface="+mn-lt"/>
              </a:rPr>
              <a:pPr marL="0" lvl="0" indent="0" algn="ctr">
                <a:spcBef>
                  <a:spcPct val="0"/>
                </a:spcBef>
                <a:buNone/>
              </a:pPr>
              <a:t>57.6</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44593B0A-C8DF-85D5-9D97-C3B6CED7D8D1}"/>
              </a:ext>
            </a:extLst>
          </p:cNvPr>
          <p:cNvSpPr>
            <a:spLocks noGrp="1"/>
          </p:cNvSpPr>
          <p:nvPr>
            <p:custDataLst>
              <p:tags r:id="rId42"/>
            </p:custDataLst>
          </p:nvPr>
        </p:nvSpPr>
        <p:spPr bwMode="auto">
          <a:xfrm>
            <a:off x="5668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168D81-C1A5-493A-991B-F63E15F395D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892546FC-3079-59B6-1FB4-A596FEBFF1F5}"/>
              </a:ext>
            </a:extLst>
          </p:cNvPr>
          <p:cNvSpPr>
            <a:spLocks noGrp="1"/>
          </p:cNvSpPr>
          <p:nvPr>
            <p:custDataLst>
              <p:tags r:id="rId43"/>
            </p:custDataLst>
          </p:nvPr>
        </p:nvSpPr>
        <p:spPr bwMode="gray">
          <a:xfrm>
            <a:off x="5895975" y="3306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631375-9395-47A7-B9CF-CC29B4EAAD86}" type="datetime'5''''''''8''''''.''6'''''''''''''''''''''''''''''">
              <a:rPr lang="ja-JP" altLang="en-US" sz="1000" smtClean="0">
                <a:effectLst/>
                <a:sym typeface="+mn-lt"/>
              </a:rPr>
              <a:pPr marL="0" lvl="0" indent="0" algn="ctr">
                <a:spcBef>
                  <a:spcPct val="0"/>
                </a:spcBef>
                <a:buNone/>
              </a:pPr>
              <a:t>58.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2FBCDD9A-10DA-57DD-D972-F0A2F3F38227}"/>
              </a:ext>
            </a:extLst>
          </p:cNvPr>
          <p:cNvSpPr>
            <a:spLocks noGrp="1"/>
          </p:cNvSpPr>
          <p:nvPr>
            <p:custDataLst>
              <p:tags r:id="rId44"/>
            </p:custDataLst>
          </p:nvPr>
        </p:nvSpPr>
        <p:spPr bwMode="auto">
          <a:xfrm>
            <a:off x="59594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07F5C-7C4F-4E8B-A0D8-800738079B36}"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D9BC4D51-FE80-2D3C-EDE0-BB421C8D360C}"/>
              </a:ext>
            </a:extLst>
          </p:cNvPr>
          <p:cNvSpPr>
            <a:spLocks noGrp="1"/>
          </p:cNvSpPr>
          <p:nvPr>
            <p:custDataLst>
              <p:tags r:id="rId45"/>
            </p:custDataLst>
          </p:nvPr>
        </p:nvSpPr>
        <p:spPr bwMode="gray">
          <a:xfrm>
            <a:off x="6186488" y="3302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07EFAB-842E-42A6-9FA3-2D68769C74C5}" type="datetime'''''''''''''''''5''''''''''''''''9''.''''6'''''''''''">
              <a:rPr lang="ja-JP" altLang="en-US" sz="1000" smtClean="0">
                <a:effectLst/>
                <a:sym typeface="+mn-lt"/>
              </a:rPr>
              <a:pPr marL="0" lvl="0" indent="0" algn="ctr">
                <a:spcBef>
                  <a:spcPct val="0"/>
                </a:spcBef>
                <a:buNone/>
              </a:pPr>
              <a:t>59.6</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746E8F94-F503-D8C6-5D3E-68DD501449FB}"/>
              </a:ext>
            </a:extLst>
          </p:cNvPr>
          <p:cNvSpPr>
            <a:spLocks noGrp="1"/>
          </p:cNvSpPr>
          <p:nvPr>
            <p:custDataLst>
              <p:tags r:id="rId46"/>
            </p:custDataLst>
          </p:nvPr>
        </p:nvSpPr>
        <p:spPr bwMode="auto">
          <a:xfrm>
            <a:off x="6249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EB0D09-14BE-4498-86CF-A688FDDFCE3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91891769-05D6-6585-22C3-EA02D83A554E}"/>
              </a:ext>
            </a:extLst>
          </p:cNvPr>
          <p:cNvSpPr>
            <a:spLocks noGrp="1"/>
          </p:cNvSpPr>
          <p:nvPr>
            <p:custDataLst>
              <p:tags r:id="rId47"/>
            </p:custDataLst>
          </p:nvPr>
        </p:nvSpPr>
        <p:spPr bwMode="gray">
          <a:xfrm>
            <a:off x="6477000" y="32956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872C7-EE00-4CEC-9FCA-B40A6F958169}" type="datetime'''6''''0''''''''''''.''''''''''''6'''''''">
              <a:rPr lang="ja-JP" altLang="en-US" sz="1000" smtClean="0">
                <a:effectLst/>
                <a:sym typeface="+mn-lt"/>
              </a:rPr>
              <a:pPr marL="0" lvl="0" indent="0" algn="ctr">
                <a:spcBef>
                  <a:spcPct val="0"/>
                </a:spcBef>
                <a:buNone/>
              </a:pPr>
              <a:t>60.6</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34A31B9C-C9B2-1D88-C3E1-C2F8E5009821}"/>
              </a:ext>
            </a:extLst>
          </p:cNvPr>
          <p:cNvSpPr>
            <a:spLocks noGrp="1"/>
          </p:cNvSpPr>
          <p:nvPr>
            <p:custDataLst>
              <p:tags r:id="rId48"/>
            </p:custDataLst>
          </p:nvPr>
        </p:nvSpPr>
        <p:spPr bwMode="auto">
          <a:xfrm>
            <a:off x="654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6DCF5E-51EA-4EAA-80FE-6176449A358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764CFD3C-5694-EC1D-9133-42D22D133B38}"/>
              </a:ext>
            </a:extLst>
          </p:cNvPr>
          <p:cNvSpPr>
            <a:spLocks noGrp="1"/>
          </p:cNvSpPr>
          <p:nvPr>
            <p:custDataLst>
              <p:tags r:id="rId49"/>
            </p:custDataLst>
          </p:nvPr>
        </p:nvSpPr>
        <p:spPr bwMode="gray">
          <a:xfrm>
            <a:off x="6767513" y="3289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8EAB3C-A8D6-479D-891F-AA427169532E}" type="datetime'''''''''''''61''''.''''''''''''''''5'''''''''''''''''''''''''">
              <a:rPr lang="ja-JP" altLang="en-US" sz="1000" smtClean="0">
                <a:effectLst/>
                <a:sym typeface="+mn-lt"/>
              </a:rPr>
              <a:pPr marL="0" lvl="0" indent="0" algn="ctr">
                <a:spcBef>
                  <a:spcPct val="0"/>
                </a:spcBef>
                <a:buNone/>
              </a:pPr>
              <a:t>61.5</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75C6F25B-8690-A837-0843-0E5756557084}"/>
              </a:ext>
            </a:extLst>
          </p:cNvPr>
          <p:cNvSpPr>
            <a:spLocks noGrp="1"/>
          </p:cNvSpPr>
          <p:nvPr>
            <p:custDataLst>
              <p:tags r:id="rId50"/>
            </p:custDataLst>
          </p:nvPr>
        </p:nvSpPr>
        <p:spPr bwMode="auto">
          <a:xfrm>
            <a:off x="68310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256FEE-C19E-4761-ACEF-F55F67892E1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ED71784A-BE59-EEF3-0316-7F2CC885430B}"/>
              </a:ext>
            </a:extLst>
          </p:cNvPr>
          <p:cNvSpPr>
            <a:spLocks noGrp="1"/>
          </p:cNvSpPr>
          <p:nvPr>
            <p:custDataLst>
              <p:tags r:id="rId51"/>
            </p:custDataLst>
          </p:nvPr>
        </p:nvSpPr>
        <p:spPr bwMode="gray">
          <a:xfrm>
            <a:off x="7058025" y="3284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C7607-081B-4FAC-AC4C-B2E0AE1447C4}" type="datetime'''''''''''''''''''6''''''''2''''''''''''''''''''''.''4'''''''">
              <a:rPr lang="ja-JP" altLang="en-US" sz="1000" smtClean="0">
                <a:effectLst/>
                <a:sym typeface="+mn-lt"/>
              </a:rPr>
              <a:pPr marL="0" lvl="0" indent="0" algn="ctr">
                <a:spcBef>
                  <a:spcPct val="0"/>
                </a:spcBef>
                <a:buNone/>
              </a:pPr>
              <a:t>62.4</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222EB48C-7A91-E071-E6D9-CFEDE240EBA5}"/>
              </a:ext>
            </a:extLst>
          </p:cNvPr>
          <p:cNvSpPr>
            <a:spLocks noGrp="1"/>
          </p:cNvSpPr>
          <p:nvPr>
            <p:custDataLst>
              <p:tags r:id="rId52"/>
            </p:custDataLst>
          </p:nvPr>
        </p:nvSpPr>
        <p:spPr bwMode="auto">
          <a:xfrm>
            <a:off x="71215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0AF11C-214A-41BC-B775-9525B35B3351}" type="datetime'''''''''''''''''''''''''''''''''''2''''''''''''''2'''''''">
              <a:rPr lang="ja-JP" altLang="en-US" sz="1000" smtClean="0"/>
              <a:pPr/>
              <a:t>22</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008F8446-A536-DA61-BEAA-EA6089E35198}"/>
              </a:ext>
            </a:extLst>
          </p:cNvPr>
          <p:cNvSpPr>
            <a:spLocks noGrp="1"/>
          </p:cNvSpPr>
          <p:nvPr>
            <p:custDataLst>
              <p:tags r:id="rId53"/>
            </p:custDataLst>
          </p:nvPr>
        </p:nvSpPr>
        <p:spPr bwMode="gray">
          <a:xfrm>
            <a:off x="7348538" y="3279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B037C-A697-4910-9F63-F0E5234B789D}" type="datetime'''''''''''''6''''3''''''''.''''''''''''''2'''''''''''">
              <a:rPr lang="ja-JP" altLang="en-US" sz="1000" smtClean="0">
                <a:effectLst/>
                <a:sym typeface="+mn-lt"/>
              </a:rPr>
              <a:pPr marL="0" lvl="0" indent="0" algn="ctr">
                <a:spcBef>
                  <a:spcPct val="0"/>
                </a:spcBef>
                <a:buNone/>
              </a:pPr>
              <a:t>63.2</a:t>
            </a:fld>
            <a:endParaRPr kumimoji="1" lang="ja-JP" altLang="en-US" sz="1000" dirty="0">
              <a:sym typeface="+mn-lt"/>
            </a:endParaRPr>
          </a:p>
        </p:txBody>
      </p:sp>
      <p:sp>
        <p:nvSpPr>
          <p:cNvPr id="49" name="Text Placeholder 12"/>
          <p:cNvSpPr>
            <a:spLocks noGrp="1"/>
          </p:cNvSpPr>
          <p:nvPr>
            <p:custDataLst>
              <p:tags r:id="rId54"/>
            </p:custDataLst>
          </p:nvPr>
        </p:nvSpPr>
        <p:spPr bwMode="auto">
          <a:xfrm>
            <a:off x="9136063"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1" name="テキスト プレースホルダ 9">
            <a:extLst>
              <a:ext uri="{FF2B5EF4-FFF2-40B4-BE49-F238E27FC236}">
                <a16:creationId xmlns:a16="http://schemas.microsoft.com/office/drawing/2014/main" id="{C7713A8F-0D89-DB97-E1C0-ED3CC30DD73D}"/>
              </a:ext>
            </a:extLst>
          </p:cNvPr>
          <p:cNvSpPr>
            <a:spLocks noGrp="1"/>
          </p:cNvSpPr>
          <p:nvPr>
            <p:custDataLst>
              <p:tags r:id="rId55"/>
            </p:custDataLst>
          </p:nvPr>
        </p:nvSpPr>
        <p:spPr bwMode="gray">
          <a:xfrm>
            <a:off x="7639050" y="3275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D94EA2-351B-4A60-A798-9B7B9CB07C40}" type="datetime'''6''''''''4''''''''''''''''''''''''''.''0'''''''''''''''''''">
              <a:rPr lang="ja-JP" altLang="en-US" sz="1000" smtClean="0">
                <a:effectLst/>
                <a:sym typeface="+mn-lt"/>
              </a:rPr>
              <a:pPr/>
              <a:t>64.0</a:t>
            </a:fld>
            <a:endParaRPr kumimoji="1" lang="ja-JP" altLang="en-US" sz="1000" dirty="0">
              <a:sym typeface="+mn-lt"/>
            </a:endParaRPr>
          </a:p>
        </p:txBody>
      </p:sp>
      <p:sp>
        <p:nvSpPr>
          <p:cNvPr id="8" name="テキスト プレースホルダ 9">
            <a:extLst>
              <a:ext uri="{FF2B5EF4-FFF2-40B4-BE49-F238E27FC236}">
                <a16:creationId xmlns:a16="http://schemas.microsoft.com/office/drawing/2014/main" id="{E4640F9B-3258-A206-BCB0-628995D0841A}"/>
              </a:ext>
            </a:extLst>
          </p:cNvPr>
          <p:cNvSpPr>
            <a:spLocks noGrp="1"/>
          </p:cNvSpPr>
          <p:nvPr>
            <p:custDataLst>
              <p:tags r:id="rId56"/>
            </p:custDataLst>
          </p:nvPr>
        </p:nvSpPr>
        <p:spPr bwMode="auto">
          <a:xfrm>
            <a:off x="77025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649AB8-2B24-4863-8636-99F10243CD5F}" type="datetime'''2''''4'''''''''''''''''''">
              <a:rPr lang="ja-JP" altLang="en-US" sz="1000" smtClean="0"/>
              <a:pPr/>
              <a:t>24</a:t>
            </a:fld>
            <a:endParaRPr kumimoji="1" lang="ja-JP" altLang="en-US" sz="1000" dirty="0">
              <a:sym typeface="+mn-lt"/>
            </a:endParaRPr>
          </a:p>
        </p:txBody>
      </p:sp>
      <p:sp useBgFill="1">
        <p:nvSpPr>
          <p:cNvPr id="25" name="テキスト プレースホルダ 9">
            <a:extLst>
              <a:ext uri="{FF2B5EF4-FFF2-40B4-BE49-F238E27FC236}">
                <a16:creationId xmlns:a16="http://schemas.microsoft.com/office/drawing/2014/main" id="{001CCB82-95C2-8F4F-E537-B1E29586E297}"/>
              </a:ext>
            </a:extLst>
          </p:cNvPr>
          <p:cNvSpPr>
            <a:spLocks noGrp="1"/>
          </p:cNvSpPr>
          <p:nvPr>
            <p:custDataLst>
              <p:tags r:id="rId57"/>
            </p:custDataLst>
          </p:nvPr>
        </p:nvSpPr>
        <p:spPr bwMode="gray">
          <a:xfrm>
            <a:off x="7964488" y="28463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C6FCAA-A5E8-4F31-934D-0BE9014FB67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D3DC7679-5EEB-C3ED-8EC4-8A15884E474B}"/>
              </a:ext>
            </a:extLst>
          </p:cNvPr>
          <p:cNvSpPr>
            <a:spLocks noGrp="1"/>
          </p:cNvSpPr>
          <p:nvPr>
            <p:custDataLst>
              <p:tags r:id="rId58"/>
            </p:custDataLst>
          </p:nvPr>
        </p:nvSpPr>
        <p:spPr bwMode="gray">
          <a:xfrm>
            <a:off x="7929563" y="3271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CB173E-161B-4EE0-8A0E-8A854BB3B8CA}" type="datetime'6''''4''''''''''''.''''''''''''''''''5'''''''''''''''''''''''">
              <a:rPr lang="ja-JP" altLang="en-US" sz="1000" smtClean="0">
                <a:effectLst/>
                <a:sym typeface="+mn-lt"/>
              </a:rPr>
              <a:pPr/>
              <a:t>64.5</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0082B27C-05AD-B4F7-9C59-4CEDB4A0836E}"/>
              </a:ext>
            </a:extLst>
          </p:cNvPr>
          <p:cNvSpPr>
            <a:spLocks noGrp="1"/>
          </p:cNvSpPr>
          <p:nvPr>
            <p:custDataLst>
              <p:tags r:id="rId59"/>
            </p:custDataLst>
          </p:nvPr>
        </p:nvSpPr>
        <p:spPr bwMode="auto">
          <a:xfrm>
            <a:off x="79930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A402AB-0660-44C8-8AF9-320DF2E9DCE6}" type="datetime'''2''''''''5'''''''''''''''''''''''''''''''''''''''">
              <a:rPr lang="ja-JP" altLang="en-US" sz="1000" smtClean="0"/>
              <a:pPr/>
              <a:t>25</a:t>
            </a:fld>
            <a:endParaRPr kumimoji="1" lang="ja-JP" altLang="en-US" sz="1000" dirty="0">
              <a:sym typeface="+mn-lt"/>
            </a:endParaRPr>
          </a:p>
        </p:txBody>
      </p:sp>
      <p:sp useBgFill="1">
        <p:nvSpPr>
          <p:cNvPr id="28" name="テキスト プレースホルダ 9">
            <a:extLst>
              <a:ext uri="{FF2B5EF4-FFF2-40B4-BE49-F238E27FC236}">
                <a16:creationId xmlns:a16="http://schemas.microsoft.com/office/drawing/2014/main" id="{73E51586-5095-CD85-D747-5E8280F52398}"/>
              </a:ext>
            </a:extLst>
          </p:cNvPr>
          <p:cNvSpPr>
            <a:spLocks noGrp="1"/>
          </p:cNvSpPr>
          <p:nvPr>
            <p:custDataLst>
              <p:tags r:id="rId60"/>
            </p:custDataLst>
          </p:nvPr>
        </p:nvSpPr>
        <p:spPr bwMode="gray">
          <a:xfrm>
            <a:off x="8255000" y="29162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F15ED6-B05A-47CE-ABD2-CFC664558EEE}"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66284D1D-741B-CA60-3F9F-2FB8B7BAB284}"/>
              </a:ext>
            </a:extLst>
          </p:cNvPr>
          <p:cNvSpPr>
            <a:spLocks noGrp="1"/>
          </p:cNvSpPr>
          <p:nvPr>
            <p:custDataLst>
              <p:tags r:id="rId61"/>
            </p:custDataLst>
          </p:nvPr>
        </p:nvSpPr>
        <p:spPr bwMode="gray">
          <a:xfrm>
            <a:off x="8220075" y="3251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00FDF7-6B0B-4A18-9DBF-A526AF6ABFC0}" type="datetime'''''''6''''''''''''''''''''''''''''''8''''''.''''''''''''''2'">
              <a:rPr lang="ja-JP" altLang="en-US" sz="1000" smtClean="0">
                <a:effectLst/>
                <a:sym typeface="+mn-lt"/>
              </a:rPr>
              <a:pPr marL="0" lvl="0" indent="0" algn="ctr">
                <a:spcBef>
                  <a:spcPct val="0"/>
                </a:spcBef>
                <a:buNone/>
              </a:pPr>
              <a:t>68.2</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7BEBF430-FD41-86A4-5DE7-9F674C9E2618}"/>
              </a:ext>
            </a:extLst>
          </p:cNvPr>
          <p:cNvSpPr>
            <a:spLocks noGrp="1"/>
          </p:cNvSpPr>
          <p:nvPr>
            <p:custDataLst>
              <p:tags r:id="rId62"/>
            </p:custDataLst>
          </p:nvPr>
        </p:nvSpPr>
        <p:spPr bwMode="auto">
          <a:xfrm>
            <a:off x="74120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7ED0E6-C62E-4AE4-8AFF-936318888982}" type="datetime'''2''''''3'''''''''''">
              <a:rPr lang="ja-JP" altLang="en-US" sz="1000" smtClean="0"/>
              <a:pPr/>
              <a:t>23</a:t>
            </a:fld>
            <a:endParaRPr kumimoji="1" lang="ja-JP" altLang="en-US" sz="1000" dirty="0">
              <a:sym typeface="+mn-lt"/>
            </a:endParaRPr>
          </a:p>
        </p:txBody>
      </p:sp>
      <p:sp useBgFill="1">
        <p:nvSpPr>
          <p:cNvPr id="29" name="テキスト プレースホルダ 9">
            <a:extLst>
              <a:ext uri="{FF2B5EF4-FFF2-40B4-BE49-F238E27FC236}">
                <a16:creationId xmlns:a16="http://schemas.microsoft.com/office/drawing/2014/main" id="{81005C19-93DC-2700-DF61-5D12B5E15440}"/>
              </a:ext>
            </a:extLst>
          </p:cNvPr>
          <p:cNvSpPr>
            <a:spLocks noGrp="1"/>
          </p:cNvSpPr>
          <p:nvPr>
            <p:custDataLst>
              <p:tags r:id="rId63"/>
            </p:custDataLst>
          </p:nvPr>
        </p:nvSpPr>
        <p:spPr bwMode="gray">
          <a:xfrm>
            <a:off x="8545513" y="29987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62438A-B20A-405C-A179-70691E36B52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4321996C-F63F-7EFB-C5C5-E633C969CDA7}"/>
              </a:ext>
            </a:extLst>
          </p:cNvPr>
          <p:cNvSpPr>
            <a:spLocks noGrp="1"/>
          </p:cNvSpPr>
          <p:nvPr>
            <p:custDataLst>
              <p:tags r:id="rId64"/>
            </p:custDataLst>
          </p:nvPr>
        </p:nvSpPr>
        <p:spPr bwMode="gray">
          <a:xfrm>
            <a:off x="8510588" y="3216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FB4CBF-66AD-48AD-8448-E287657D47D5}" type="datetime'''''''''''''''''''''''74''''''''''''.''''''''''0'''''''''">
              <a:rPr lang="ja-JP" altLang="en-US" sz="1000" smtClean="0">
                <a:effectLst/>
                <a:sym typeface="+mn-lt"/>
              </a:rPr>
              <a:pPr marL="0" lvl="0" indent="0" algn="ctr">
                <a:spcBef>
                  <a:spcPct val="0"/>
                </a:spcBef>
                <a:buNone/>
              </a:pPr>
              <a:t>74.0</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00FCA2DE-1803-516C-1338-34CB53238700}"/>
              </a:ext>
            </a:extLst>
          </p:cNvPr>
          <p:cNvSpPr>
            <a:spLocks noGrp="1"/>
          </p:cNvSpPr>
          <p:nvPr>
            <p:custDataLst>
              <p:tags r:id="rId65"/>
            </p:custDataLst>
          </p:nvPr>
        </p:nvSpPr>
        <p:spPr bwMode="auto">
          <a:xfrm>
            <a:off x="85740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781F37-74A0-4E2F-B6A2-41404157CD16}" type="datetime'''''''4''''''''0'">
              <a:rPr lang="ja-JP" altLang="en-US" sz="1000" smtClean="0"/>
              <a:pPr/>
              <a:t>40</a:t>
            </a:fld>
            <a:endParaRPr kumimoji="1" lang="ja-JP" altLang="en-US" sz="1000" dirty="0">
              <a:sym typeface="+mn-lt"/>
            </a:endParaRPr>
          </a:p>
        </p:txBody>
      </p:sp>
      <p:sp>
        <p:nvSpPr>
          <p:cNvPr id="30" name="テキスト プレースホルダ 9">
            <a:extLst>
              <a:ext uri="{FF2B5EF4-FFF2-40B4-BE49-F238E27FC236}">
                <a16:creationId xmlns:a16="http://schemas.microsoft.com/office/drawing/2014/main" id="{06009F27-B7FA-84C1-23FA-E901EE0465B1}"/>
              </a:ext>
            </a:extLst>
          </p:cNvPr>
          <p:cNvSpPr>
            <a:spLocks noGrp="1"/>
          </p:cNvSpPr>
          <p:nvPr>
            <p:custDataLst>
              <p:tags r:id="rId66"/>
            </p:custDataLst>
          </p:nvPr>
        </p:nvSpPr>
        <p:spPr bwMode="gray">
          <a:xfrm>
            <a:off x="8836025" y="30511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F9294-FA74-4F2C-943F-937A86FEDF49}"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1E87EFF4-385B-2B84-F1DF-44B1C8300BD0}"/>
              </a:ext>
            </a:extLst>
          </p:cNvPr>
          <p:cNvSpPr>
            <a:spLocks noGrp="1"/>
          </p:cNvSpPr>
          <p:nvPr>
            <p:custDataLst>
              <p:tags r:id="rId67"/>
            </p:custDataLst>
          </p:nvPr>
        </p:nvSpPr>
        <p:spPr bwMode="gray">
          <a:xfrm>
            <a:off x="668338" y="3375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3C2A52-E81C-4B67-B626-3EA17A80ABC8}" type="datetime'''4''''''''''''''''''''''''''''''''''''''''''''7.''''''''2'''">
              <a:rPr lang="ja-JP" altLang="en-US" sz="1000" smtClean="0">
                <a:effectLst/>
                <a:sym typeface="+mn-lt"/>
              </a:rPr>
              <a:pPr marL="0" lvl="0" indent="0" algn="ctr">
                <a:spcBef>
                  <a:spcPct val="0"/>
                </a:spcBef>
                <a:buNone/>
              </a:pPr>
              <a:t>47.2</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59885FCD-6F58-9AAE-A3F3-712EEC64BB7C}"/>
              </a:ext>
            </a:extLst>
          </p:cNvPr>
          <p:cNvSpPr>
            <a:spLocks noGrp="1"/>
          </p:cNvSpPr>
          <p:nvPr>
            <p:custDataLst>
              <p:tags r:id="rId68"/>
            </p:custDataLst>
          </p:nvPr>
        </p:nvSpPr>
        <p:spPr bwMode="gray">
          <a:xfrm>
            <a:off x="8801100" y="3186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E2F8B-77A7-46E0-9DBC-F1DCB426C3BB}" type="datetime'''7''''''''''9''''''''.''''''''''''''''2'''''''''''''''''''">
              <a:rPr lang="ja-JP" altLang="en-US" sz="1000" smtClean="0">
                <a:effectLst/>
                <a:sym typeface="+mn-lt"/>
              </a:rPr>
              <a:pPr marL="0" lvl="0" indent="0" algn="ctr">
                <a:spcBef>
                  <a:spcPct val="0"/>
                </a:spcBef>
                <a:buNone/>
              </a:pPr>
              <a:t>79.2</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3F3DDAAD-6647-4AF3-AA4E-D3A93DF5A07D}"/>
              </a:ext>
            </a:extLst>
          </p:cNvPr>
          <p:cNvSpPr>
            <a:spLocks noGrp="1"/>
          </p:cNvSpPr>
          <p:nvPr>
            <p:custDataLst>
              <p:tags r:id="rId69"/>
            </p:custDataLst>
          </p:nvPr>
        </p:nvSpPr>
        <p:spPr bwMode="auto">
          <a:xfrm>
            <a:off x="8864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185582-18F9-480A-A1F8-1870D70D63A7}" type="datetime'''''5''''''''''''''''''''''''''''0'''''''''''''''''''''''''">
              <a:rPr lang="ja-JP" altLang="en-US" sz="1000" smtClean="0"/>
              <a:pPr/>
              <a:t>50</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7B29AA02-7C5F-5089-71C2-23005A765CDB}"/>
              </a:ext>
            </a:extLst>
          </p:cNvPr>
          <p:cNvSpPr>
            <a:spLocks noGrp="1"/>
          </p:cNvSpPr>
          <p:nvPr>
            <p:custDataLst>
              <p:tags r:id="rId70"/>
            </p:custDataLst>
          </p:nvPr>
        </p:nvSpPr>
        <p:spPr bwMode="auto">
          <a:xfrm>
            <a:off x="8283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E7387-BF42-4F5D-BBD4-3374977DEC37}" type="datetime'''''''''''''''''''''3''''''''''''0'''''''''''''''''">
              <a:rPr lang="ja-JP" altLang="en-US" sz="1000" smtClean="0"/>
              <a:pPr/>
              <a:t>30</a:t>
            </a:fld>
            <a:endParaRPr kumimoji="1" lang="ja-JP" altLang="en-US" sz="1000" dirty="0">
              <a:sym typeface="+mn-lt"/>
            </a:endParaRPr>
          </a:p>
        </p:txBody>
      </p:sp>
      <p:cxnSp>
        <p:nvCxnSpPr>
          <p:cNvPr id="87" name="Straight Connector 86"/>
          <p:cNvCxnSpPr/>
          <p:nvPr>
            <p:custDataLst>
              <p:tags r:id="rId71"/>
            </p:custDataLst>
          </p:nvPr>
        </p:nvCxnSpPr>
        <p:spPr bwMode="gray">
          <a:xfrm>
            <a:off x="8455025" y="14843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72"/>
            </p:custDataLst>
          </p:nvPr>
        </p:nvSpPr>
        <p:spPr bwMode="gray">
          <a:xfrm>
            <a:off x="8535988" y="16208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73"/>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74"/>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75"/>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194" name="Straight Connector 193">
            <a:extLst>
              <a:ext uri="{FF2B5EF4-FFF2-40B4-BE49-F238E27FC236}">
                <a16:creationId xmlns:a16="http://schemas.microsoft.com/office/drawing/2014/main" id="{BB56814A-F45C-4E84-B84B-6713A08CA0D8}"/>
              </a:ext>
            </a:extLst>
          </p:cNvPr>
          <p:cNvCxnSpPr/>
          <p:nvPr>
            <p:custDataLst>
              <p:tags r:id="rId76"/>
            </p:custDataLst>
          </p:nvPr>
        </p:nvCxnSpPr>
        <p:spPr bwMode="auto">
          <a:xfrm>
            <a:off x="23256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77"/>
            </p:custDataLst>
          </p:nvPr>
        </p:nvCxnSpPr>
        <p:spPr bwMode="auto">
          <a:xfrm>
            <a:off x="26177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3E91722C-2D44-C647-344A-9B187DE36C94}"/>
              </a:ext>
            </a:extLst>
          </p:cNvPr>
          <p:cNvCxnSpPr/>
          <p:nvPr>
            <p:custDataLst>
              <p:tags r:id="rId78"/>
            </p:custDataLst>
          </p:nvPr>
        </p:nvCxnSpPr>
        <p:spPr bwMode="auto">
          <a:xfrm>
            <a:off x="8740775" y="4924425"/>
            <a:ext cx="107950"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8284FAC6-06A0-CD0B-64A5-8EC70412EFF2}"/>
              </a:ext>
            </a:extLst>
          </p:cNvPr>
          <p:cNvCxnSpPr/>
          <p:nvPr>
            <p:custDataLst>
              <p:tags r:id="rId79"/>
            </p:custDataLst>
          </p:nvPr>
        </p:nvCxnSpPr>
        <p:spPr bwMode="auto">
          <a:xfrm>
            <a:off x="8740775"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AE721FF5-E42E-70AC-2934-65E23F8E8B3B}"/>
              </a:ext>
            </a:extLst>
          </p:cNvPr>
          <p:cNvCxnSpPr>
            <a:cxnSpLocks/>
          </p:cNvCxnSpPr>
          <p:nvPr>
            <p:custDataLst>
              <p:tags r:id="rId80"/>
            </p:custDataLst>
          </p:nvPr>
        </p:nvCxnSpPr>
        <p:spPr bwMode="auto">
          <a:xfrm>
            <a:off x="8448675" y="5848350"/>
            <a:ext cx="10953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81"/>
            </p:custDataLst>
          </p:nvPr>
        </p:nvCxnSpPr>
        <p:spPr bwMode="auto">
          <a:xfrm>
            <a:off x="2325688" y="57642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DD28EFB7-5466-3A25-1FCC-99CDA1C95281}"/>
              </a:ext>
            </a:extLst>
          </p:cNvPr>
          <p:cNvCxnSpPr>
            <a:cxnSpLocks/>
          </p:cNvCxnSpPr>
          <p:nvPr>
            <p:custDataLst>
              <p:tags r:id="rId82"/>
            </p:custDataLst>
          </p:nvPr>
        </p:nvCxnSpPr>
        <p:spPr bwMode="auto">
          <a:xfrm>
            <a:off x="8448675" y="4905375"/>
            <a:ext cx="109538"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08D2D783-4347-AA97-51A7-87DFC598FAC7}"/>
              </a:ext>
            </a:extLst>
          </p:cNvPr>
          <p:cNvCxnSpPr/>
          <p:nvPr>
            <p:custDataLst>
              <p:tags r:id="rId83"/>
            </p:custDataLst>
          </p:nvPr>
        </p:nvCxnSpPr>
        <p:spPr bwMode="auto">
          <a:xfrm>
            <a:off x="84486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a:cxnSpLocks/>
          </p:cNvCxnSpPr>
          <p:nvPr>
            <p:custDataLst>
              <p:tags r:id="rId84"/>
            </p:custDataLst>
          </p:nvPr>
        </p:nvCxnSpPr>
        <p:spPr bwMode="auto">
          <a:xfrm>
            <a:off x="7573963" y="58340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5"/>
            </p:custDataLst>
          </p:nvPr>
        </p:nvCxnSpPr>
        <p:spPr bwMode="auto">
          <a:xfrm>
            <a:off x="2325688" y="4868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a:cxnSpLocks/>
          </p:cNvCxnSpPr>
          <p:nvPr>
            <p:custDataLst>
              <p:tags r:id="rId86"/>
            </p:custDataLst>
          </p:nvPr>
        </p:nvCxnSpPr>
        <p:spPr bwMode="auto">
          <a:xfrm>
            <a:off x="7573963" y="4887914"/>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87"/>
            </p:custDataLst>
          </p:nvPr>
        </p:nvCxnSpPr>
        <p:spPr bwMode="auto">
          <a:xfrm>
            <a:off x="75739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88"/>
            </p:custDataLst>
          </p:nvPr>
        </p:nvCxnSpPr>
        <p:spPr bwMode="auto">
          <a:xfrm>
            <a:off x="7281863" y="5830888"/>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9"/>
            </p:custDataLst>
          </p:nvPr>
        </p:nvCxnSpPr>
        <p:spPr bwMode="auto">
          <a:xfrm>
            <a:off x="1160463"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90"/>
            </p:custDataLst>
          </p:nvPr>
        </p:nvCxnSpPr>
        <p:spPr bwMode="auto">
          <a:xfrm>
            <a:off x="72818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91"/>
            </p:custDataLst>
          </p:nvPr>
        </p:nvCxnSpPr>
        <p:spPr bwMode="auto">
          <a:xfrm>
            <a:off x="6991350" y="5827714"/>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92"/>
            </p:custDataLst>
          </p:nvPr>
        </p:nvCxnSpPr>
        <p:spPr bwMode="auto">
          <a:xfrm>
            <a:off x="6991350" y="4884738"/>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3"/>
            </p:custDataLst>
          </p:nvPr>
        </p:nvCxnSpPr>
        <p:spPr bwMode="auto">
          <a:xfrm>
            <a:off x="2035175" y="5756275"/>
            <a:ext cx="107950"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94"/>
            </p:custDataLst>
          </p:nvPr>
        </p:nvCxnSpPr>
        <p:spPr bwMode="auto">
          <a:xfrm>
            <a:off x="6991350"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95"/>
            </p:custDataLst>
          </p:nvPr>
        </p:nvCxnSpPr>
        <p:spPr bwMode="auto">
          <a:xfrm>
            <a:off x="6699250" y="5821362"/>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96"/>
            </p:custDataLst>
          </p:nvPr>
        </p:nvCxnSpPr>
        <p:spPr bwMode="auto">
          <a:xfrm>
            <a:off x="6699250" y="48831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97"/>
            </p:custDataLst>
          </p:nvPr>
        </p:nvCxnSpPr>
        <p:spPr bwMode="auto">
          <a:xfrm>
            <a:off x="2035175" y="4867275"/>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98"/>
            </p:custDataLst>
          </p:nvPr>
        </p:nvCxnSpPr>
        <p:spPr bwMode="auto">
          <a:xfrm>
            <a:off x="66992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99"/>
            </p:custDataLst>
          </p:nvPr>
        </p:nvCxnSpPr>
        <p:spPr bwMode="auto">
          <a:xfrm>
            <a:off x="6407150" y="5815012"/>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00"/>
            </p:custDataLst>
          </p:nvPr>
        </p:nvCxnSpPr>
        <p:spPr bwMode="auto">
          <a:xfrm>
            <a:off x="6407150" y="48799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101"/>
            </p:custDataLst>
          </p:nvPr>
        </p:nvCxnSpPr>
        <p:spPr bwMode="auto">
          <a:xfrm>
            <a:off x="7281863" y="48863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02"/>
            </p:custDataLst>
          </p:nvPr>
        </p:nvCxnSpPr>
        <p:spPr bwMode="auto">
          <a:xfrm>
            <a:off x="64071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103"/>
            </p:custDataLst>
          </p:nvPr>
        </p:nvCxnSpPr>
        <p:spPr bwMode="auto">
          <a:xfrm>
            <a:off x="6116638" y="5810250"/>
            <a:ext cx="1079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104"/>
            </p:custDataLst>
          </p:nvPr>
        </p:nvCxnSpPr>
        <p:spPr bwMode="auto">
          <a:xfrm>
            <a:off x="6116638" y="4878388"/>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5"/>
            </p:custDataLst>
          </p:nvPr>
        </p:nvCxnSpPr>
        <p:spPr bwMode="auto">
          <a:xfrm>
            <a:off x="2035175"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06"/>
            </p:custDataLst>
          </p:nvPr>
        </p:nvCxnSpPr>
        <p:spPr bwMode="auto">
          <a:xfrm>
            <a:off x="6116638"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107"/>
            </p:custDataLst>
          </p:nvPr>
        </p:nvCxnSpPr>
        <p:spPr bwMode="auto">
          <a:xfrm>
            <a:off x="5824538" y="5803899"/>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108"/>
            </p:custDataLst>
          </p:nvPr>
        </p:nvCxnSpPr>
        <p:spPr bwMode="auto">
          <a:xfrm>
            <a:off x="5824538" y="48768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09"/>
            </p:custDataLst>
          </p:nvPr>
        </p:nvCxnSpPr>
        <p:spPr bwMode="auto">
          <a:xfrm>
            <a:off x="8683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10"/>
            </p:custDataLst>
          </p:nvPr>
        </p:nvCxnSpPr>
        <p:spPr bwMode="auto">
          <a:xfrm>
            <a:off x="58245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111"/>
            </p:custDataLst>
          </p:nvPr>
        </p:nvCxnSpPr>
        <p:spPr bwMode="auto">
          <a:xfrm>
            <a:off x="5532438" y="580390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112"/>
            </p:custDataLst>
          </p:nvPr>
        </p:nvCxnSpPr>
        <p:spPr bwMode="auto">
          <a:xfrm>
            <a:off x="5532438" y="48736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13"/>
            </p:custDataLst>
          </p:nvPr>
        </p:nvCxnSpPr>
        <p:spPr bwMode="auto">
          <a:xfrm>
            <a:off x="1743075" y="5746750"/>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14"/>
            </p:custDataLst>
          </p:nvPr>
        </p:nvCxnSpPr>
        <p:spPr bwMode="auto">
          <a:xfrm>
            <a:off x="55324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115"/>
            </p:custDataLst>
          </p:nvPr>
        </p:nvCxnSpPr>
        <p:spPr bwMode="auto">
          <a:xfrm>
            <a:off x="5241925" y="5803900"/>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16"/>
            </p:custDataLst>
          </p:nvPr>
        </p:nvCxnSpPr>
        <p:spPr bwMode="auto">
          <a:xfrm>
            <a:off x="5241925" y="4872038"/>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17"/>
            </p:custDataLst>
          </p:nvPr>
        </p:nvCxnSpPr>
        <p:spPr bwMode="auto">
          <a:xfrm>
            <a:off x="1743075" y="4867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18"/>
            </p:custDataLst>
          </p:nvPr>
        </p:nvCxnSpPr>
        <p:spPr bwMode="auto">
          <a:xfrm>
            <a:off x="5241925"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19"/>
            </p:custDataLst>
          </p:nvPr>
        </p:nvCxnSpPr>
        <p:spPr bwMode="auto">
          <a:xfrm>
            <a:off x="4949825" y="58007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20"/>
            </p:custDataLst>
          </p:nvPr>
        </p:nvCxnSpPr>
        <p:spPr bwMode="auto">
          <a:xfrm>
            <a:off x="4949825" y="48720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21"/>
            </p:custDataLst>
          </p:nvPr>
        </p:nvCxnSpPr>
        <p:spPr bwMode="auto">
          <a:xfrm>
            <a:off x="17430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22"/>
            </p:custDataLst>
          </p:nvPr>
        </p:nvCxnSpPr>
        <p:spPr bwMode="auto">
          <a:xfrm>
            <a:off x="49498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23"/>
            </p:custDataLst>
          </p:nvPr>
        </p:nvCxnSpPr>
        <p:spPr bwMode="auto">
          <a:xfrm>
            <a:off x="4659313" y="5797550"/>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24"/>
            </p:custDataLst>
          </p:nvPr>
        </p:nvCxnSpPr>
        <p:spPr bwMode="auto">
          <a:xfrm>
            <a:off x="4659313" y="4872038"/>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125"/>
            </p:custDataLst>
          </p:nvPr>
        </p:nvCxnSpPr>
        <p:spPr bwMode="auto">
          <a:xfrm>
            <a:off x="868363" y="5710237"/>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26"/>
            </p:custDataLst>
          </p:nvPr>
        </p:nvCxnSpPr>
        <p:spPr bwMode="auto">
          <a:xfrm>
            <a:off x="4659313"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27"/>
            </p:custDataLst>
          </p:nvPr>
        </p:nvCxnSpPr>
        <p:spPr bwMode="auto">
          <a:xfrm>
            <a:off x="4367213" y="57943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28"/>
            </p:custDataLst>
          </p:nvPr>
        </p:nvCxnSpPr>
        <p:spPr bwMode="auto">
          <a:xfrm>
            <a:off x="4367213" y="48704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129"/>
            </p:custDataLst>
          </p:nvPr>
        </p:nvCxnSpPr>
        <p:spPr bwMode="auto">
          <a:xfrm>
            <a:off x="1450975" y="5735638"/>
            <a:ext cx="1095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30"/>
            </p:custDataLst>
          </p:nvPr>
        </p:nvCxnSpPr>
        <p:spPr bwMode="auto">
          <a:xfrm>
            <a:off x="43672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31"/>
            </p:custDataLst>
          </p:nvPr>
        </p:nvCxnSpPr>
        <p:spPr bwMode="auto">
          <a:xfrm>
            <a:off x="4075113" y="579120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32"/>
            </p:custDataLst>
          </p:nvPr>
        </p:nvCxnSpPr>
        <p:spPr bwMode="auto">
          <a:xfrm>
            <a:off x="4075113"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133"/>
            </p:custDataLst>
          </p:nvPr>
        </p:nvCxnSpPr>
        <p:spPr bwMode="auto">
          <a:xfrm>
            <a:off x="1450975" y="48656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34"/>
            </p:custDataLst>
          </p:nvPr>
        </p:nvCxnSpPr>
        <p:spPr bwMode="auto">
          <a:xfrm>
            <a:off x="40751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35"/>
            </p:custDataLst>
          </p:nvPr>
        </p:nvCxnSpPr>
        <p:spPr bwMode="auto">
          <a:xfrm>
            <a:off x="3784600" y="5788025"/>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36"/>
            </p:custDataLst>
          </p:nvPr>
        </p:nvCxnSpPr>
        <p:spPr bwMode="auto">
          <a:xfrm>
            <a:off x="3784600" y="4870450"/>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137"/>
            </p:custDataLst>
          </p:nvPr>
        </p:nvCxnSpPr>
        <p:spPr bwMode="auto">
          <a:xfrm>
            <a:off x="14509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38"/>
            </p:custDataLst>
          </p:nvPr>
        </p:nvCxnSpPr>
        <p:spPr bwMode="auto">
          <a:xfrm>
            <a:off x="3784600"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39"/>
            </p:custDataLst>
          </p:nvPr>
        </p:nvCxnSpPr>
        <p:spPr bwMode="auto">
          <a:xfrm>
            <a:off x="3492500" y="578485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40"/>
            </p:custDataLst>
          </p:nvPr>
        </p:nvCxnSpPr>
        <p:spPr bwMode="auto">
          <a:xfrm>
            <a:off x="3492500"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41"/>
            </p:custDataLst>
          </p:nvPr>
        </p:nvCxnSpPr>
        <p:spPr bwMode="auto">
          <a:xfrm>
            <a:off x="868363" y="486410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42"/>
            </p:custDataLst>
          </p:nvPr>
        </p:nvCxnSpPr>
        <p:spPr bwMode="auto">
          <a:xfrm>
            <a:off x="34925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43"/>
            </p:custDataLst>
          </p:nvPr>
        </p:nvCxnSpPr>
        <p:spPr bwMode="auto">
          <a:xfrm>
            <a:off x="3200400" y="57816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44"/>
            </p:custDataLst>
          </p:nvPr>
        </p:nvCxnSpPr>
        <p:spPr bwMode="auto">
          <a:xfrm>
            <a:off x="3200400"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45"/>
            </p:custDataLst>
          </p:nvPr>
        </p:nvCxnSpPr>
        <p:spPr bwMode="auto">
          <a:xfrm>
            <a:off x="1160463" y="5722938"/>
            <a:ext cx="107950"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46"/>
            </p:custDataLst>
          </p:nvPr>
        </p:nvCxnSpPr>
        <p:spPr bwMode="auto">
          <a:xfrm>
            <a:off x="32004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47"/>
            </p:custDataLst>
          </p:nvPr>
        </p:nvCxnSpPr>
        <p:spPr bwMode="auto">
          <a:xfrm>
            <a:off x="2909888" y="5776913"/>
            <a:ext cx="1079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48"/>
            </p:custDataLst>
          </p:nvPr>
        </p:nvCxnSpPr>
        <p:spPr bwMode="auto">
          <a:xfrm>
            <a:off x="2909888" y="4870450"/>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149"/>
            </p:custDataLst>
          </p:nvPr>
        </p:nvCxnSpPr>
        <p:spPr bwMode="auto">
          <a:xfrm>
            <a:off x="1160463" y="4864100"/>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50"/>
            </p:custDataLst>
          </p:nvPr>
        </p:nvCxnSpPr>
        <p:spPr bwMode="auto">
          <a:xfrm>
            <a:off x="2909888"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51"/>
            </p:custDataLst>
          </p:nvPr>
        </p:nvCxnSpPr>
        <p:spPr bwMode="auto">
          <a:xfrm>
            <a:off x="2617788" y="5770562"/>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52"/>
            </p:custDataLst>
          </p:nvPr>
        </p:nvCxnSpPr>
        <p:spPr bwMode="auto">
          <a:xfrm>
            <a:off x="2617788" y="48688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20D133E5-AF16-A9BD-13D8-D949B97488F9}"/>
              </a:ext>
            </a:extLst>
          </p:cNvPr>
          <p:cNvCxnSpPr/>
          <p:nvPr>
            <p:custDataLst>
              <p:tags r:id="rId153"/>
            </p:custDataLst>
          </p:nvPr>
        </p:nvCxnSpPr>
        <p:spPr bwMode="auto">
          <a:xfrm>
            <a:off x="8740775" y="5878513"/>
            <a:ext cx="107950"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60EB949C-57B1-3B43-DCF1-D74928499A3B}"/>
              </a:ext>
            </a:extLst>
          </p:cNvPr>
          <p:cNvCxnSpPr>
            <a:cxnSpLocks/>
          </p:cNvCxnSpPr>
          <p:nvPr>
            <p:custDataLst>
              <p:tags r:id="rId154"/>
            </p:custDataLst>
          </p:nvPr>
        </p:nvCxnSpPr>
        <p:spPr bwMode="auto">
          <a:xfrm>
            <a:off x="81565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0B6EA128-908F-A2AD-A830-608BC418588C}"/>
              </a:ext>
            </a:extLst>
          </p:cNvPr>
          <p:cNvCxnSpPr>
            <a:cxnSpLocks/>
          </p:cNvCxnSpPr>
          <p:nvPr>
            <p:custDataLst>
              <p:tags r:id="rId155"/>
            </p:custDataLst>
          </p:nvPr>
        </p:nvCxnSpPr>
        <p:spPr bwMode="auto">
          <a:xfrm>
            <a:off x="8156575" y="4894264"/>
            <a:ext cx="1095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52A6BACE-274D-FC9E-0B13-B9C60841531B}"/>
              </a:ext>
            </a:extLst>
          </p:cNvPr>
          <p:cNvCxnSpPr>
            <a:cxnSpLocks/>
          </p:cNvCxnSpPr>
          <p:nvPr>
            <p:custDataLst>
              <p:tags r:id="rId156"/>
            </p:custDataLst>
          </p:nvPr>
        </p:nvCxnSpPr>
        <p:spPr bwMode="auto">
          <a:xfrm>
            <a:off x="8156575" y="584041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CC77E9D9-9426-00C1-630D-13D47F828E76}"/>
              </a:ext>
            </a:extLst>
          </p:cNvPr>
          <p:cNvCxnSpPr/>
          <p:nvPr>
            <p:custDataLst>
              <p:tags r:id="rId157"/>
            </p:custDataLst>
          </p:nvPr>
        </p:nvCxnSpPr>
        <p:spPr bwMode="auto">
          <a:xfrm>
            <a:off x="7866063"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F7F39D8E-EF9D-F8FA-1308-17A225A09934}"/>
              </a:ext>
            </a:extLst>
          </p:cNvPr>
          <p:cNvCxnSpPr/>
          <p:nvPr>
            <p:custDataLst>
              <p:tags r:id="rId158"/>
            </p:custDataLst>
          </p:nvPr>
        </p:nvCxnSpPr>
        <p:spPr bwMode="auto">
          <a:xfrm>
            <a:off x="7866063" y="4891088"/>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931B5354-D964-1D06-07AF-29BE9C82DA4A}"/>
              </a:ext>
            </a:extLst>
          </p:cNvPr>
          <p:cNvCxnSpPr/>
          <p:nvPr>
            <p:custDataLst>
              <p:tags r:id="rId159"/>
            </p:custDataLst>
          </p:nvPr>
        </p:nvCxnSpPr>
        <p:spPr bwMode="auto">
          <a:xfrm>
            <a:off x="7866063" y="5837238"/>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94" name="Chart 493">
            <a:extLst>
              <a:ext uri="{FF2B5EF4-FFF2-40B4-BE49-F238E27FC236}">
                <a16:creationId xmlns:a16="http://schemas.microsoft.com/office/drawing/2014/main" id="{C20F6EE8-5E5F-84C3-6665-67151E4BED8B}"/>
              </a:ext>
            </a:extLst>
          </p:cNvPr>
          <p:cNvGraphicFramePr/>
          <p:nvPr>
            <p:custDataLst>
              <p:tags r:id="rId160"/>
            </p:custDataLst>
            <p:extLst>
              <p:ext uri="{D42A27DB-BD31-4B8C-83A1-F6EECF244321}">
                <p14:modId xmlns:p14="http://schemas.microsoft.com/office/powerpoint/2010/main" val="1397796434"/>
              </p:ext>
            </p:extLst>
          </p:nvPr>
        </p:nvGraphicFramePr>
        <p:xfrm>
          <a:off x="85725" y="4470400"/>
          <a:ext cx="9083675" cy="1955800"/>
        </p:xfrm>
        <a:graphic>
          <a:graphicData uri="http://schemas.openxmlformats.org/drawingml/2006/chart">
            <c:chart xmlns:c="http://schemas.openxmlformats.org/drawingml/2006/chart" xmlns:r="http://schemas.openxmlformats.org/officeDocument/2006/relationships" r:id="rId285"/>
          </a:graphicData>
        </a:graphic>
      </p:graphicFrame>
      <p:cxnSp>
        <p:nvCxnSpPr>
          <p:cNvPr id="438" name="Straight Connector 437">
            <a:extLst>
              <a:ext uri="{FF2B5EF4-FFF2-40B4-BE49-F238E27FC236}">
                <a16:creationId xmlns:a16="http://schemas.microsoft.com/office/drawing/2014/main" id="{08A8D362-5011-A19F-86C9-C499564020BE}"/>
              </a:ext>
            </a:extLst>
          </p:cNvPr>
          <p:cNvCxnSpPr/>
          <p:nvPr>
            <p:custDataLst>
              <p:tags r:id="rId161"/>
            </p:custDataLst>
          </p:nvPr>
        </p:nvCxnSpPr>
        <p:spPr bwMode="auto">
          <a:xfrm>
            <a:off x="31083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58CB0EED-6C8C-5E7C-95BF-363FACFAEDE5}"/>
              </a:ext>
            </a:extLst>
          </p:cNvPr>
          <p:cNvCxnSpPr/>
          <p:nvPr>
            <p:custDataLst>
              <p:tags r:id="rId162"/>
            </p:custDataLst>
          </p:nvPr>
        </p:nvCxnSpPr>
        <p:spPr bwMode="auto">
          <a:xfrm>
            <a:off x="34004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9313F43F-28F2-7338-3E4A-8ACB1F55940F}"/>
              </a:ext>
            </a:extLst>
          </p:cNvPr>
          <p:cNvCxnSpPr/>
          <p:nvPr>
            <p:custDataLst>
              <p:tags r:id="rId163"/>
            </p:custDataLst>
          </p:nvPr>
        </p:nvCxnSpPr>
        <p:spPr bwMode="auto">
          <a:xfrm>
            <a:off x="36925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1F703BBA-270B-BD9C-180C-04D9393B98A1}"/>
              </a:ext>
            </a:extLst>
          </p:cNvPr>
          <p:cNvCxnSpPr/>
          <p:nvPr>
            <p:custDataLst>
              <p:tags r:id="rId164"/>
            </p:custDataLst>
          </p:nvPr>
        </p:nvCxnSpPr>
        <p:spPr bwMode="auto">
          <a:xfrm>
            <a:off x="39830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E5155A3A-C0D8-81F0-A89D-22505BBD1172}"/>
              </a:ext>
            </a:extLst>
          </p:cNvPr>
          <p:cNvCxnSpPr/>
          <p:nvPr>
            <p:custDataLst>
              <p:tags r:id="rId165"/>
            </p:custDataLst>
          </p:nvPr>
        </p:nvCxnSpPr>
        <p:spPr bwMode="auto">
          <a:xfrm>
            <a:off x="42751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4C81E7D3-5D4B-CE81-B7CC-FB9CF7F78A0E}"/>
              </a:ext>
            </a:extLst>
          </p:cNvPr>
          <p:cNvCxnSpPr/>
          <p:nvPr>
            <p:custDataLst>
              <p:tags r:id="rId166"/>
            </p:custDataLst>
          </p:nvPr>
        </p:nvCxnSpPr>
        <p:spPr bwMode="auto">
          <a:xfrm>
            <a:off x="45672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185AFAFC-CB52-EE99-4BE8-B7D4214628FE}"/>
              </a:ext>
            </a:extLst>
          </p:cNvPr>
          <p:cNvCxnSpPr/>
          <p:nvPr>
            <p:custDataLst>
              <p:tags r:id="rId167"/>
            </p:custDataLst>
          </p:nvPr>
        </p:nvCxnSpPr>
        <p:spPr bwMode="auto">
          <a:xfrm>
            <a:off x="485775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444">
            <a:extLst>
              <a:ext uri="{FF2B5EF4-FFF2-40B4-BE49-F238E27FC236}">
                <a16:creationId xmlns:a16="http://schemas.microsoft.com/office/drawing/2014/main" id="{14200078-7822-790C-3E74-C01B858AB893}"/>
              </a:ext>
            </a:extLst>
          </p:cNvPr>
          <p:cNvCxnSpPr/>
          <p:nvPr>
            <p:custDataLst>
              <p:tags r:id="rId168"/>
            </p:custDataLst>
          </p:nvPr>
        </p:nvCxnSpPr>
        <p:spPr bwMode="auto">
          <a:xfrm>
            <a:off x="514985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B6937EFD-A4C2-F898-375D-0C17E1A6F85C}"/>
              </a:ext>
            </a:extLst>
          </p:cNvPr>
          <p:cNvCxnSpPr/>
          <p:nvPr>
            <p:custDataLst>
              <p:tags r:id="rId169"/>
            </p:custDataLst>
          </p:nvPr>
        </p:nvCxnSpPr>
        <p:spPr bwMode="auto">
          <a:xfrm>
            <a:off x="544036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2997A4FA-E9A0-E5CF-FC8A-90CCBE2159BA}"/>
              </a:ext>
            </a:extLst>
          </p:cNvPr>
          <p:cNvCxnSpPr/>
          <p:nvPr>
            <p:custDataLst>
              <p:tags r:id="rId170"/>
            </p:custDataLst>
          </p:nvPr>
        </p:nvCxnSpPr>
        <p:spPr bwMode="auto">
          <a:xfrm>
            <a:off x="57324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D74ED830-4929-12B5-F06C-F54A1950CC71}"/>
              </a:ext>
            </a:extLst>
          </p:cNvPr>
          <p:cNvCxnSpPr/>
          <p:nvPr>
            <p:custDataLst>
              <p:tags r:id="rId171"/>
            </p:custDataLst>
          </p:nvPr>
        </p:nvCxnSpPr>
        <p:spPr bwMode="auto">
          <a:xfrm>
            <a:off x="60245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A9379F4F-64C1-A798-A254-488F4E80B23A}"/>
              </a:ext>
            </a:extLst>
          </p:cNvPr>
          <p:cNvCxnSpPr/>
          <p:nvPr>
            <p:custDataLst>
              <p:tags r:id="rId172"/>
            </p:custDataLst>
          </p:nvPr>
        </p:nvCxnSpPr>
        <p:spPr bwMode="auto">
          <a:xfrm>
            <a:off x="66071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450">
            <a:extLst>
              <a:ext uri="{FF2B5EF4-FFF2-40B4-BE49-F238E27FC236}">
                <a16:creationId xmlns:a16="http://schemas.microsoft.com/office/drawing/2014/main" id="{E545FA79-8D43-44AE-00B3-13D6554D02B5}"/>
              </a:ext>
            </a:extLst>
          </p:cNvPr>
          <p:cNvCxnSpPr/>
          <p:nvPr>
            <p:custDataLst>
              <p:tags r:id="rId173"/>
            </p:custDataLst>
          </p:nvPr>
        </p:nvCxnSpPr>
        <p:spPr bwMode="auto">
          <a:xfrm>
            <a:off x="68992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A699FBA4-0141-5703-7F97-74F7DDB45824}"/>
              </a:ext>
            </a:extLst>
          </p:cNvPr>
          <p:cNvCxnSpPr/>
          <p:nvPr>
            <p:custDataLst>
              <p:tags r:id="rId174"/>
            </p:custDataLst>
          </p:nvPr>
        </p:nvCxnSpPr>
        <p:spPr bwMode="auto">
          <a:xfrm>
            <a:off x="71897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DEB60BD6-970D-8D6B-F5D8-5C3390ED1F76}"/>
              </a:ext>
            </a:extLst>
          </p:cNvPr>
          <p:cNvCxnSpPr/>
          <p:nvPr>
            <p:custDataLst>
              <p:tags r:id="rId175"/>
            </p:custDataLst>
          </p:nvPr>
        </p:nvCxnSpPr>
        <p:spPr bwMode="auto">
          <a:xfrm>
            <a:off x="74818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275FBBE8-026B-D1E6-2EFC-5A35FF9F95C1}"/>
              </a:ext>
            </a:extLst>
          </p:cNvPr>
          <p:cNvCxnSpPr/>
          <p:nvPr>
            <p:custDataLst>
              <p:tags r:id="rId176"/>
            </p:custDataLst>
          </p:nvPr>
        </p:nvCxnSpPr>
        <p:spPr bwMode="auto">
          <a:xfrm>
            <a:off x="8356600"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5233B63A-8841-9EA0-A151-A894BF8DB51D}"/>
              </a:ext>
            </a:extLst>
          </p:cNvPr>
          <p:cNvCxnSpPr/>
          <p:nvPr>
            <p:custDataLst>
              <p:tags r:id="rId177"/>
            </p:custDataLst>
          </p:nvPr>
        </p:nvCxnSpPr>
        <p:spPr bwMode="auto">
          <a:xfrm>
            <a:off x="8648700" y="4772025"/>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CE74463B-D76B-A553-086E-7F610FEDFB0A}"/>
              </a:ext>
            </a:extLst>
          </p:cNvPr>
          <p:cNvCxnSpPr/>
          <p:nvPr>
            <p:custDataLst>
              <p:tags r:id="rId178"/>
            </p:custDataLst>
          </p:nvPr>
        </p:nvCxnSpPr>
        <p:spPr bwMode="auto">
          <a:xfrm>
            <a:off x="631507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C35C647D-C035-3111-2775-1EDFBE4A8BCC}"/>
              </a:ext>
            </a:extLst>
          </p:cNvPr>
          <p:cNvCxnSpPr>
            <a:cxnSpLocks/>
          </p:cNvCxnSpPr>
          <p:nvPr>
            <p:custDataLst>
              <p:tags r:id="rId179"/>
            </p:custDataLst>
          </p:nvPr>
        </p:nvCxnSpPr>
        <p:spPr bwMode="auto">
          <a:xfrm>
            <a:off x="8939213"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169CC6BB-3352-B21B-5194-0C8716D864DC}"/>
              </a:ext>
            </a:extLst>
          </p:cNvPr>
          <p:cNvCxnSpPr/>
          <p:nvPr>
            <p:custDataLst>
              <p:tags r:id="rId180"/>
            </p:custDataLst>
          </p:nvPr>
        </p:nvCxnSpPr>
        <p:spPr bwMode="auto">
          <a:xfrm>
            <a:off x="25257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D9B21772-DBA6-56A2-F788-4F024B99DEBD}"/>
              </a:ext>
            </a:extLst>
          </p:cNvPr>
          <p:cNvCxnSpPr/>
          <p:nvPr>
            <p:custDataLst>
              <p:tags r:id="rId181"/>
            </p:custDataLst>
          </p:nvPr>
        </p:nvCxnSpPr>
        <p:spPr bwMode="auto">
          <a:xfrm>
            <a:off x="77628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430">
            <a:extLst>
              <a:ext uri="{FF2B5EF4-FFF2-40B4-BE49-F238E27FC236}">
                <a16:creationId xmlns:a16="http://schemas.microsoft.com/office/drawing/2014/main" id="{E8DED359-B635-0218-7B04-09D01F8FF384}"/>
              </a:ext>
            </a:extLst>
          </p:cNvPr>
          <p:cNvCxnSpPr/>
          <p:nvPr>
            <p:custDataLst>
              <p:tags r:id="rId182"/>
            </p:custDataLst>
          </p:nvPr>
        </p:nvCxnSpPr>
        <p:spPr bwMode="auto">
          <a:xfrm>
            <a:off x="106838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431">
            <a:extLst>
              <a:ext uri="{FF2B5EF4-FFF2-40B4-BE49-F238E27FC236}">
                <a16:creationId xmlns:a16="http://schemas.microsoft.com/office/drawing/2014/main" id="{4DBD7E21-D2CD-43E3-FCBE-C148040B1C05}"/>
              </a:ext>
            </a:extLst>
          </p:cNvPr>
          <p:cNvCxnSpPr/>
          <p:nvPr>
            <p:custDataLst>
              <p:tags r:id="rId183"/>
            </p:custDataLst>
          </p:nvPr>
        </p:nvCxnSpPr>
        <p:spPr bwMode="auto">
          <a:xfrm>
            <a:off x="135890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432">
            <a:extLst>
              <a:ext uri="{FF2B5EF4-FFF2-40B4-BE49-F238E27FC236}">
                <a16:creationId xmlns:a16="http://schemas.microsoft.com/office/drawing/2014/main" id="{79D16569-3BC4-C98B-EFBF-F8FB3CED1EAB}"/>
              </a:ext>
            </a:extLst>
          </p:cNvPr>
          <p:cNvCxnSpPr/>
          <p:nvPr>
            <p:custDataLst>
              <p:tags r:id="rId184"/>
            </p:custDataLst>
          </p:nvPr>
        </p:nvCxnSpPr>
        <p:spPr bwMode="auto">
          <a:xfrm>
            <a:off x="16510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4" name="Straight Connector 433">
            <a:extLst>
              <a:ext uri="{FF2B5EF4-FFF2-40B4-BE49-F238E27FC236}">
                <a16:creationId xmlns:a16="http://schemas.microsoft.com/office/drawing/2014/main" id="{42950C96-5D11-3BD3-9CDC-E91E374B13ED}"/>
              </a:ext>
            </a:extLst>
          </p:cNvPr>
          <p:cNvCxnSpPr/>
          <p:nvPr>
            <p:custDataLst>
              <p:tags r:id="rId185"/>
            </p:custDataLst>
          </p:nvPr>
        </p:nvCxnSpPr>
        <p:spPr bwMode="auto">
          <a:xfrm>
            <a:off x="19431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70E86449-D1EB-3975-1C53-F69A0EC6879D}"/>
              </a:ext>
            </a:extLst>
          </p:cNvPr>
          <p:cNvCxnSpPr/>
          <p:nvPr>
            <p:custDataLst>
              <p:tags r:id="rId186"/>
            </p:custDataLst>
          </p:nvPr>
        </p:nvCxnSpPr>
        <p:spPr bwMode="auto">
          <a:xfrm>
            <a:off x="22336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6DDEA369-1714-E458-2662-2DE38F448056}"/>
              </a:ext>
            </a:extLst>
          </p:cNvPr>
          <p:cNvCxnSpPr/>
          <p:nvPr>
            <p:custDataLst>
              <p:tags r:id="rId187"/>
            </p:custDataLst>
          </p:nvPr>
        </p:nvCxnSpPr>
        <p:spPr bwMode="auto">
          <a:xfrm>
            <a:off x="777398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AAE6F483-7136-8A73-46AE-9B5696E4E222}"/>
              </a:ext>
            </a:extLst>
          </p:cNvPr>
          <p:cNvCxnSpPr/>
          <p:nvPr>
            <p:custDataLst>
              <p:tags r:id="rId188"/>
            </p:custDataLst>
          </p:nvPr>
        </p:nvCxnSpPr>
        <p:spPr bwMode="auto">
          <a:xfrm>
            <a:off x="8064500"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C0316F09-93C5-76EC-7691-BEF9D923D46A}"/>
              </a:ext>
            </a:extLst>
          </p:cNvPr>
          <p:cNvCxnSpPr/>
          <p:nvPr>
            <p:custDataLst>
              <p:tags r:id="rId189"/>
            </p:custDataLst>
          </p:nvPr>
        </p:nvCxnSpPr>
        <p:spPr bwMode="auto">
          <a:xfrm>
            <a:off x="28178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4" name="テキスト プレースホルダ 9">
            <a:extLst>
              <a:ext uri="{FF2B5EF4-FFF2-40B4-BE49-F238E27FC236}">
                <a16:creationId xmlns:a16="http://schemas.microsoft.com/office/drawing/2014/main" id="{41152CF8-F96F-5DE6-E5CC-0258E9F412D7}"/>
              </a:ext>
            </a:extLst>
          </p:cNvPr>
          <p:cNvSpPr>
            <a:spLocks noGrp="1"/>
          </p:cNvSpPr>
          <p:nvPr>
            <p:custDataLst>
              <p:tags r:id="rId190"/>
            </p:custDataLst>
          </p:nvPr>
        </p:nvSpPr>
        <p:spPr bwMode="gray">
          <a:xfrm>
            <a:off x="8216900"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476BF-0953-4E99-B5F0-E8DD3B729A2D}" type="datetime'''''''''''''''''''''6''''''''''''7.''''''''''''''''''''''1'''">
              <a:rPr lang="ja-JP" altLang="en-US" sz="1000" smtClean="0">
                <a:effectLst/>
                <a:sym typeface="+mn-lt"/>
              </a:rPr>
              <a:pPr marL="0" lvl="0" indent="0" algn="ctr">
                <a:spcBef>
                  <a:spcPct val="0"/>
                </a:spcBef>
                <a:buNone/>
              </a:pPr>
              <a:t>67.1</a:t>
            </a:fld>
            <a:endParaRPr kumimoji="1" lang="ja-JP" altLang="en-US" sz="1000" dirty="0">
              <a:sym typeface="+mn-lt"/>
            </a:endParaRPr>
          </a:p>
        </p:txBody>
      </p:sp>
      <p:sp>
        <p:nvSpPr>
          <p:cNvPr id="482" name="テキスト プレースホルダ 9">
            <a:extLst>
              <a:ext uri="{FF2B5EF4-FFF2-40B4-BE49-F238E27FC236}">
                <a16:creationId xmlns:a16="http://schemas.microsoft.com/office/drawing/2014/main" id="{FAB02594-3DAC-8F00-81E9-301FE74BEE1F}"/>
              </a:ext>
            </a:extLst>
          </p:cNvPr>
          <p:cNvSpPr>
            <a:spLocks noGrp="1"/>
          </p:cNvSpPr>
          <p:nvPr>
            <p:custDataLst>
              <p:tags r:id="rId191"/>
            </p:custDataLst>
          </p:nvPr>
        </p:nvSpPr>
        <p:spPr bwMode="auto">
          <a:xfrm>
            <a:off x="74056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B88670-A47F-454B-9956-4E83E1885495}" type="datetime'''''''''''''''''''''''2''''3'''''''''''''''''''''''''''''">
              <a:rPr lang="ja-JP" altLang="en-US" sz="1000" smtClean="0"/>
              <a:pPr/>
              <a:t>23</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5651CA14-43ED-955F-4335-E500AA78379C}"/>
              </a:ext>
            </a:extLst>
          </p:cNvPr>
          <p:cNvSpPr>
            <a:spLocks noGrp="1"/>
          </p:cNvSpPr>
          <p:nvPr>
            <p:custDataLst>
              <p:tags r:id="rId192"/>
            </p:custDataLst>
          </p:nvPr>
        </p:nvSpPr>
        <p:spPr bwMode="gray">
          <a:xfrm>
            <a:off x="7342188"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3D5B3-9A48-4A07-9D6C-A7B5AE104DA6}" type="datetime'''''''''''''''2''''''''''''6''''''''''''.''''''1'''">
              <a:rPr lang="ja-JP" altLang="en-US" sz="1000" smtClean="0">
                <a:solidFill>
                  <a:schemeClr val="bg1"/>
                </a:solidFill>
                <a:effectLst/>
                <a:sym typeface="+mn-lt"/>
              </a:rPr>
              <a:pPr marL="0" lvl="0" indent="0" algn="ctr">
                <a:spcBef>
                  <a:spcPct val="0"/>
                </a:spcBef>
                <a:buNone/>
              </a:pPr>
              <a:t>26.1</a:t>
            </a:fld>
            <a:endParaRPr kumimoji="1" lang="ja-JP" altLang="en-US" sz="1000" dirty="0">
              <a:solidFill>
                <a:schemeClr val="bg1"/>
              </a:solidFill>
              <a:sym typeface="+mn-lt"/>
            </a:endParaRPr>
          </a:p>
        </p:txBody>
      </p:sp>
      <p:sp>
        <p:nvSpPr>
          <p:cNvPr id="422" name="テキスト プレースホルダ 9">
            <a:extLst>
              <a:ext uri="{FF2B5EF4-FFF2-40B4-BE49-F238E27FC236}">
                <a16:creationId xmlns:a16="http://schemas.microsoft.com/office/drawing/2014/main" id="{36205F14-41C3-0FDA-FE79-36DE2C69997E}"/>
              </a:ext>
            </a:extLst>
          </p:cNvPr>
          <p:cNvSpPr>
            <a:spLocks noGrp="1"/>
          </p:cNvSpPr>
          <p:nvPr>
            <p:custDataLst>
              <p:tags r:id="rId193"/>
            </p:custDataLst>
          </p:nvPr>
        </p:nvSpPr>
        <p:spPr bwMode="gray">
          <a:xfrm>
            <a:off x="7342188" y="5284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CF191-EB87-4529-8058-E7F96F113C1F}" type="datetime'''''''6''''''''''7''''''.''''''''4'''''''''''''">
              <a:rPr lang="ja-JP" altLang="en-US" sz="1000" smtClean="0">
                <a:effectLst/>
                <a:sym typeface="+mn-lt"/>
              </a:rPr>
              <a:pPr marL="0" lvl="0" indent="0" algn="ctr">
                <a:spcBef>
                  <a:spcPct val="0"/>
                </a:spcBef>
                <a:buNone/>
              </a:pPr>
              <a:t>67.4</a:t>
            </a:fld>
            <a:endParaRPr kumimoji="1" lang="ja-JP" altLang="en-US" sz="1000" dirty="0">
              <a:sym typeface="+mn-lt"/>
            </a:endParaRPr>
          </a:p>
        </p:txBody>
      </p:sp>
      <p:sp>
        <p:nvSpPr>
          <p:cNvPr id="481" name="テキスト プレースホルダ 9">
            <a:extLst>
              <a:ext uri="{FF2B5EF4-FFF2-40B4-BE49-F238E27FC236}">
                <a16:creationId xmlns:a16="http://schemas.microsoft.com/office/drawing/2014/main" id="{91C8E3F9-81DF-020B-D03F-9A8540B8691B}"/>
              </a:ext>
            </a:extLst>
          </p:cNvPr>
          <p:cNvSpPr>
            <a:spLocks noGrp="1"/>
          </p:cNvSpPr>
          <p:nvPr>
            <p:custDataLst>
              <p:tags r:id="rId194"/>
            </p:custDataLst>
          </p:nvPr>
        </p:nvSpPr>
        <p:spPr bwMode="auto">
          <a:xfrm>
            <a:off x="7113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26B355-7724-438A-B486-93990C7D39A9}" type="datetime'''''''''''''''''''''''''2''''''''''''''''2'''''''">
              <a:rPr lang="ja-JP" altLang="en-US" sz="1000" smtClean="0"/>
              <a:pPr/>
              <a:t>22</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5966315E-1181-A6C7-B66F-E3C9E59691CA}"/>
              </a:ext>
            </a:extLst>
          </p:cNvPr>
          <p:cNvSpPr>
            <a:spLocks noGrp="1"/>
          </p:cNvSpPr>
          <p:nvPr>
            <p:custDataLst>
              <p:tags r:id="rId195"/>
            </p:custDataLst>
          </p:nvPr>
        </p:nvSpPr>
        <p:spPr bwMode="gray">
          <a:xfrm>
            <a:off x="7050088"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81E959-F7E6-48A4-858A-CC80960A93B9}" type="datetime'''''''''''''''2''''''''''''''''''''''6''''.''''''''3'''''">
              <a:rPr lang="ja-JP" altLang="en-US" sz="1000" smtClean="0">
                <a:solidFill>
                  <a:schemeClr val="bg1"/>
                </a:solidFill>
                <a:effectLst/>
                <a:sym typeface="+mn-lt"/>
              </a:rPr>
              <a:pPr marL="0" lvl="0" indent="0" algn="ctr">
                <a:spcBef>
                  <a:spcPct val="0"/>
                </a:spcBef>
                <a:buNone/>
              </a:pPr>
              <a:t>26.3</a:t>
            </a:fld>
            <a:endParaRPr kumimoji="1" lang="ja-JP" altLang="en-US" sz="1000" dirty="0">
              <a:solidFill>
                <a:schemeClr val="bg1"/>
              </a:solidFill>
              <a:sym typeface="+mn-lt"/>
            </a:endParaRPr>
          </a:p>
        </p:txBody>
      </p:sp>
      <p:sp>
        <p:nvSpPr>
          <p:cNvPr id="420" name="テキスト プレースホルダ 9">
            <a:extLst>
              <a:ext uri="{FF2B5EF4-FFF2-40B4-BE49-F238E27FC236}">
                <a16:creationId xmlns:a16="http://schemas.microsoft.com/office/drawing/2014/main" id="{53B9AE21-4284-BD53-E953-4F0E449115DF}"/>
              </a:ext>
            </a:extLst>
          </p:cNvPr>
          <p:cNvSpPr>
            <a:spLocks noGrp="1"/>
          </p:cNvSpPr>
          <p:nvPr>
            <p:custDataLst>
              <p:tags r:id="rId196"/>
            </p:custDataLst>
          </p:nvPr>
        </p:nvSpPr>
        <p:spPr bwMode="gray">
          <a:xfrm>
            <a:off x="7050088"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F14B32-82D2-4289-956E-009E8E2494E7}" type="datetime'''''''6''7''''''.''''''''''''''''''''3'''''''''">
              <a:rPr lang="ja-JP" altLang="en-US" sz="1000" smtClean="0">
                <a:effectLst/>
                <a:sym typeface="+mn-lt"/>
              </a:rPr>
              <a:pPr marL="0" lvl="0" indent="0" algn="ctr">
                <a:spcBef>
                  <a:spcPct val="0"/>
                </a:spcBef>
                <a:buNone/>
              </a:pPr>
              <a:t>67.3</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99665B7C-2737-FA8E-04E4-0603CB5C68EF}"/>
              </a:ext>
            </a:extLst>
          </p:cNvPr>
          <p:cNvSpPr>
            <a:spLocks noGrp="1"/>
          </p:cNvSpPr>
          <p:nvPr>
            <p:custDataLst>
              <p:tags r:id="rId197"/>
            </p:custDataLst>
          </p:nvPr>
        </p:nvSpPr>
        <p:spPr bwMode="auto">
          <a:xfrm>
            <a:off x="68230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F0592D-90B7-4363-A7BD-0F525C4A17C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048F45A4-E483-555E-FC37-77D9700648F8}"/>
              </a:ext>
            </a:extLst>
          </p:cNvPr>
          <p:cNvSpPr>
            <a:spLocks noGrp="1"/>
          </p:cNvSpPr>
          <p:nvPr>
            <p:custDataLst>
              <p:tags r:id="rId198"/>
            </p:custDataLst>
          </p:nvPr>
        </p:nvSpPr>
        <p:spPr bwMode="gray">
          <a:xfrm>
            <a:off x="6759575" y="5937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F35EE-94AD-4913-B334-11CA65F1A40B}" type="datetime'''''''''''''''''''''2''''''6.''''''''6'''''">
              <a:rPr lang="ja-JP" altLang="en-US" sz="1000" smtClean="0">
                <a:solidFill>
                  <a:schemeClr val="bg1"/>
                </a:solidFill>
                <a:effectLst/>
                <a:sym typeface="+mn-lt"/>
              </a:rPr>
              <a:pPr marL="0" lvl="0" indent="0" algn="ctr">
                <a:spcBef>
                  <a:spcPct val="0"/>
                </a:spcBef>
                <a:buNone/>
              </a:pPr>
              <a:t>26.6</a:t>
            </a:fld>
            <a:endParaRPr kumimoji="1" lang="ja-JP" altLang="en-US" sz="1000" dirty="0">
              <a:solidFill>
                <a:schemeClr val="bg1"/>
              </a:solidFill>
              <a:sym typeface="+mn-lt"/>
            </a:endParaRPr>
          </a:p>
        </p:txBody>
      </p:sp>
      <p:sp>
        <p:nvSpPr>
          <p:cNvPr id="418" name="テキスト プレースホルダ 9">
            <a:extLst>
              <a:ext uri="{FF2B5EF4-FFF2-40B4-BE49-F238E27FC236}">
                <a16:creationId xmlns:a16="http://schemas.microsoft.com/office/drawing/2014/main" id="{0955790E-39A1-26A9-0AC7-2D87CF453A81}"/>
              </a:ext>
            </a:extLst>
          </p:cNvPr>
          <p:cNvSpPr>
            <a:spLocks noGrp="1"/>
          </p:cNvSpPr>
          <p:nvPr>
            <p:custDataLst>
              <p:tags r:id="rId199"/>
            </p:custDataLst>
          </p:nvPr>
        </p:nvSpPr>
        <p:spPr bwMode="gray">
          <a:xfrm>
            <a:off x="6759575" y="5280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498A68-3884-471B-A6DD-79B1632AD685}" type="datetime'6''''''''''''''''''7''''''''''''.''''''2'''''''''''''''''''">
              <a:rPr lang="ja-JP" altLang="en-US" sz="1000" smtClean="0">
                <a:effectLst/>
                <a:sym typeface="+mn-lt"/>
              </a:rPr>
              <a:pPr marL="0" lvl="0" indent="0" algn="ctr">
                <a:spcBef>
                  <a:spcPct val="0"/>
                </a:spcBef>
                <a:buNone/>
              </a:pPr>
              <a:t>67.2</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0A820741-8610-8BAE-1464-D9109E3D2B31}"/>
              </a:ext>
            </a:extLst>
          </p:cNvPr>
          <p:cNvSpPr>
            <a:spLocks noGrp="1"/>
          </p:cNvSpPr>
          <p:nvPr>
            <p:custDataLst>
              <p:tags r:id="rId200"/>
            </p:custDataLst>
          </p:nvPr>
        </p:nvSpPr>
        <p:spPr bwMode="auto">
          <a:xfrm>
            <a:off x="65309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51C78D-21B2-45A2-AF0C-E47157DE7243}"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5056D6C5-6DDC-EC41-99C0-9F6B1487928C}"/>
              </a:ext>
            </a:extLst>
          </p:cNvPr>
          <p:cNvSpPr>
            <a:spLocks noGrp="1"/>
          </p:cNvSpPr>
          <p:nvPr>
            <p:custDataLst>
              <p:tags r:id="rId201"/>
            </p:custDataLst>
          </p:nvPr>
        </p:nvSpPr>
        <p:spPr bwMode="gray">
          <a:xfrm>
            <a:off x="6467475"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28A1E-66E3-4E67-BA8B-E0A0DEDEA4AD}" type="datetime'''''''2''''''''''''''''''7''''''.''''''''0'''''''''''''">
              <a:rPr lang="ja-JP" altLang="en-US" sz="1000" smtClean="0">
                <a:solidFill>
                  <a:schemeClr val="bg1"/>
                </a:solidFill>
                <a:effectLst/>
                <a:sym typeface="+mn-lt"/>
              </a:rPr>
              <a:pPr marL="0" lvl="0" indent="0" algn="ctr">
                <a:spcBef>
                  <a:spcPct val="0"/>
                </a:spcBef>
                <a:buNone/>
              </a:pPr>
              <a:t>27.0</a:t>
            </a:fld>
            <a:endParaRPr kumimoji="1" lang="ja-JP" altLang="en-US" sz="1000" dirty="0">
              <a:solidFill>
                <a:schemeClr val="bg1"/>
              </a:solidFill>
              <a:sym typeface="+mn-lt"/>
            </a:endParaRPr>
          </a:p>
        </p:txBody>
      </p:sp>
      <p:sp>
        <p:nvSpPr>
          <p:cNvPr id="416" name="テキスト プレースホルダ 9">
            <a:extLst>
              <a:ext uri="{FF2B5EF4-FFF2-40B4-BE49-F238E27FC236}">
                <a16:creationId xmlns:a16="http://schemas.microsoft.com/office/drawing/2014/main" id="{D30B8266-83B8-7602-6A98-1E0B6E7C3795}"/>
              </a:ext>
            </a:extLst>
          </p:cNvPr>
          <p:cNvSpPr>
            <a:spLocks noGrp="1"/>
          </p:cNvSpPr>
          <p:nvPr>
            <p:custDataLst>
              <p:tags r:id="rId202"/>
            </p:custDataLst>
          </p:nvPr>
        </p:nvSpPr>
        <p:spPr bwMode="gray">
          <a:xfrm>
            <a:off x="6467475" y="5275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B26836-073F-468B-8FBB-81DDD01B85BE}" type="datetime'''''''''''6''6.''''''''''''''''''''''''''''''''''''''''9'''''">
              <a:rPr lang="ja-JP" altLang="en-US" sz="1000" smtClean="0">
                <a:effectLst/>
                <a:sym typeface="+mn-lt"/>
              </a:rPr>
              <a:pPr marL="0" lvl="0" indent="0" algn="ctr">
                <a:spcBef>
                  <a:spcPct val="0"/>
                </a:spcBef>
                <a:buNone/>
              </a:pPr>
              <a:t>66.9</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31223BE6-83E4-AAD3-FF1E-4DDC54962D22}"/>
              </a:ext>
            </a:extLst>
          </p:cNvPr>
          <p:cNvSpPr>
            <a:spLocks noGrp="1"/>
          </p:cNvSpPr>
          <p:nvPr>
            <p:custDataLst>
              <p:tags r:id="rId203"/>
            </p:custDataLst>
          </p:nvPr>
        </p:nvSpPr>
        <p:spPr bwMode="gray">
          <a:xfrm>
            <a:off x="8509000" y="5324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561D69-1094-4188-B52E-5A4FD98AA2EE}" type="datetime'''''''''''''6''''''8''.''''''1'''''''''''''''''''''">
              <a:rPr lang="ja-JP" altLang="en-US" sz="1000" smtClean="0">
                <a:effectLst/>
                <a:sym typeface="+mn-lt"/>
              </a:rPr>
              <a:pPr marL="0" lvl="0" indent="0" algn="ctr">
                <a:spcBef>
                  <a:spcPct val="0"/>
                </a:spcBef>
                <a:buNone/>
              </a:pPr>
              <a:t>68.1</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F82B0A13-D20A-6C8C-D919-B0983FB160C8}"/>
              </a:ext>
            </a:extLst>
          </p:cNvPr>
          <p:cNvSpPr>
            <a:spLocks noGrp="1"/>
          </p:cNvSpPr>
          <p:nvPr>
            <p:custDataLst>
              <p:tags r:id="rId204"/>
            </p:custDataLst>
          </p:nvPr>
        </p:nvSpPr>
        <p:spPr bwMode="auto">
          <a:xfrm>
            <a:off x="6238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6BD61-C9E8-49DC-ABE0-5CEE81554D44}"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A694AC1E-359F-1046-5740-8E6D8B7AD8B6}"/>
              </a:ext>
            </a:extLst>
          </p:cNvPr>
          <p:cNvSpPr>
            <a:spLocks noGrp="1"/>
          </p:cNvSpPr>
          <p:nvPr>
            <p:custDataLst>
              <p:tags r:id="rId205"/>
            </p:custDataLst>
          </p:nvPr>
        </p:nvSpPr>
        <p:spPr bwMode="gray">
          <a:xfrm>
            <a:off x="6175375"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E0905-B46A-4D2D-AD8D-50BBB9966400}" type="datetime'27''''.''''''''''''''''''''''''''''4'''''''''''''''''''''''''">
              <a:rPr lang="ja-JP" altLang="en-US" sz="1000" smtClean="0">
                <a:solidFill>
                  <a:schemeClr val="bg1"/>
                </a:solidFill>
                <a:effectLst/>
                <a:sym typeface="+mn-lt"/>
              </a:rPr>
              <a:pPr marL="0" lvl="0" indent="0" algn="ctr">
                <a:spcBef>
                  <a:spcPct val="0"/>
                </a:spcBef>
                <a:buNone/>
              </a:pPr>
              <a:t>27.4</a:t>
            </a:fld>
            <a:endParaRPr kumimoji="1" lang="ja-JP" altLang="en-US" sz="1000" dirty="0">
              <a:solidFill>
                <a:schemeClr val="bg1"/>
              </a:solidFill>
              <a:sym typeface="+mn-lt"/>
            </a:endParaRPr>
          </a:p>
        </p:txBody>
      </p:sp>
      <p:sp>
        <p:nvSpPr>
          <p:cNvPr id="414" name="テキスト プレースホルダ 9">
            <a:extLst>
              <a:ext uri="{FF2B5EF4-FFF2-40B4-BE49-F238E27FC236}">
                <a16:creationId xmlns:a16="http://schemas.microsoft.com/office/drawing/2014/main" id="{505A9D89-48A0-8AC9-8F68-D2B3F088E647}"/>
              </a:ext>
            </a:extLst>
          </p:cNvPr>
          <p:cNvSpPr>
            <a:spLocks noGrp="1"/>
          </p:cNvSpPr>
          <p:nvPr>
            <p:custDataLst>
              <p:tags r:id="rId206"/>
            </p:custDataLst>
          </p:nvPr>
        </p:nvSpPr>
        <p:spPr bwMode="gray">
          <a:xfrm>
            <a:off x="6175375" y="5270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F3E5A-6F57-4EC3-B21B-A62B3A7BB1C4}" type="datetime'''''''''''''''''6''''''''''6''''.''''''''''''6'''''''''''''''">
              <a:rPr lang="ja-JP" altLang="en-US" sz="1000" smtClean="0">
                <a:effectLst/>
                <a:sym typeface="+mn-lt"/>
              </a:rPr>
              <a:pPr marL="0" lvl="0" indent="0" algn="ctr">
                <a:spcBef>
                  <a:spcPct val="0"/>
                </a:spcBef>
                <a:buNone/>
              </a:pPr>
              <a:t>66.6</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314C8389-58DE-364E-498F-21A4F710FF87}"/>
              </a:ext>
            </a:extLst>
          </p:cNvPr>
          <p:cNvSpPr>
            <a:spLocks noGrp="1"/>
          </p:cNvSpPr>
          <p:nvPr>
            <p:custDataLst>
              <p:tags r:id="rId207"/>
            </p:custDataLst>
          </p:nvPr>
        </p:nvSpPr>
        <p:spPr bwMode="auto">
          <a:xfrm>
            <a:off x="5948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8803B1-9808-4F92-986F-F68F55CEB5A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94ED79D7-755E-A233-2387-7C76413C9AD0}"/>
              </a:ext>
            </a:extLst>
          </p:cNvPr>
          <p:cNvSpPr>
            <a:spLocks noGrp="1"/>
          </p:cNvSpPr>
          <p:nvPr>
            <p:custDataLst>
              <p:tags r:id="rId208"/>
            </p:custDataLst>
          </p:nvPr>
        </p:nvSpPr>
        <p:spPr bwMode="gray">
          <a:xfrm>
            <a:off x="5884863"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C347E9-14C6-4B6B-96D4-FC17E69860AD}" type="datetime'''''''''27''''''''''.''''''''''''9'''''''''''''''''''">
              <a:rPr lang="ja-JP" altLang="en-US" sz="1000" smtClean="0">
                <a:solidFill>
                  <a:schemeClr val="bg1"/>
                </a:solidFill>
                <a:effectLst/>
                <a:sym typeface="+mn-lt"/>
              </a:rPr>
              <a:pPr marL="0" lvl="0" indent="0" algn="ctr">
                <a:spcBef>
                  <a:spcPct val="0"/>
                </a:spcBef>
                <a:buNone/>
              </a:pPr>
              <a:t>27.9</a:t>
            </a:fld>
            <a:endParaRPr kumimoji="1" lang="ja-JP" altLang="en-US" sz="1000" dirty="0">
              <a:solidFill>
                <a:schemeClr val="bg1"/>
              </a:solidFill>
              <a:sym typeface="+mn-lt"/>
            </a:endParaRPr>
          </a:p>
        </p:txBody>
      </p:sp>
      <p:sp>
        <p:nvSpPr>
          <p:cNvPr id="412" name="テキスト プレースホルダ 9">
            <a:extLst>
              <a:ext uri="{FF2B5EF4-FFF2-40B4-BE49-F238E27FC236}">
                <a16:creationId xmlns:a16="http://schemas.microsoft.com/office/drawing/2014/main" id="{5C4433CB-385A-FE3B-0362-8A5DBED9A0F8}"/>
              </a:ext>
            </a:extLst>
          </p:cNvPr>
          <p:cNvSpPr>
            <a:spLocks noGrp="1"/>
          </p:cNvSpPr>
          <p:nvPr>
            <p:custDataLst>
              <p:tags r:id="rId209"/>
            </p:custDataLst>
          </p:nvPr>
        </p:nvSpPr>
        <p:spPr bwMode="gray">
          <a:xfrm>
            <a:off x="5884863" y="5267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7DF896-79BA-402A-A03D-FE8B7F91740D}" type="datetime'''''''''6''''''6''''.''''''''''''''''4'''''''''''''''">
              <a:rPr lang="ja-JP" altLang="en-US" sz="1000" smtClean="0">
                <a:effectLst/>
                <a:sym typeface="+mn-lt"/>
              </a:rPr>
              <a:pPr marL="0" lvl="0" indent="0" algn="ctr">
                <a:spcBef>
                  <a:spcPct val="0"/>
                </a:spcBef>
                <a:buNone/>
              </a:pPr>
              <a:t>66.4</a:t>
            </a:fld>
            <a:endParaRPr kumimoji="1" lang="ja-JP" altLang="en-US" sz="1000" dirty="0">
              <a:sym typeface="+mn-lt"/>
            </a:endParaRPr>
          </a:p>
        </p:txBody>
      </p:sp>
      <p:sp>
        <p:nvSpPr>
          <p:cNvPr id="476" name="テキスト プレースホルダ 9">
            <a:extLst>
              <a:ext uri="{FF2B5EF4-FFF2-40B4-BE49-F238E27FC236}">
                <a16:creationId xmlns:a16="http://schemas.microsoft.com/office/drawing/2014/main" id="{78F4B47D-EE5B-BF2E-1D0B-B4CAE0E1FB8F}"/>
              </a:ext>
            </a:extLst>
          </p:cNvPr>
          <p:cNvSpPr>
            <a:spLocks noGrp="1"/>
          </p:cNvSpPr>
          <p:nvPr>
            <p:custDataLst>
              <p:tags r:id="rId210"/>
            </p:custDataLst>
          </p:nvPr>
        </p:nvSpPr>
        <p:spPr bwMode="auto">
          <a:xfrm>
            <a:off x="56562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3305BF-B1F6-499F-AAE1-0D057E9A079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89A4C210-3984-7D7A-5B1E-2D2F866F1F81}"/>
              </a:ext>
            </a:extLst>
          </p:cNvPr>
          <p:cNvSpPr>
            <a:spLocks noGrp="1"/>
          </p:cNvSpPr>
          <p:nvPr>
            <p:custDataLst>
              <p:tags r:id="rId211"/>
            </p:custDataLst>
          </p:nvPr>
        </p:nvSpPr>
        <p:spPr bwMode="gray">
          <a:xfrm>
            <a:off x="5592763"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D72A5-4BD9-45D8-8BD9-200EF21683F7}" type="datetime'''''''''''''''''''''''''2''''''''8''''''''''.''''''''''''3'">
              <a:rPr lang="ja-JP" altLang="en-US" sz="1000" smtClean="0">
                <a:solidFill>
                  <a:schemeClr val="bg1"/>
                </a:solidFill>
                <a:effectLst/>
                <a:sym typeface="+mn-lt"/>
              </a:rPr>
              <a:pPr marL="0" lvl="0" indent="0" algn="ctr">
                <a:spcBef>
                  <a:spcPct val="0"/>
                </a:spcBef>
                <a:buNone/>
              </a:pPr>
              <a:t>28.3</a:t>
            </a:fld>
            <a:endParaRPr kumimoji="1" lang="ja-JP" altLang="en-US" sz="1000" dirty="0">
              <a:solidFill>
                <a:schemeClr val="bg1"/>
              </a:solidFill>
              <a:sym typeface="+mn-lt"/>
            </a:endParaRPr>
          </a:p>
        </p:txBody>
      </p:sp>
      <p:sp>
        <p:nvSpPr>
          <p:cNvPr id="410" name="テキスト プレースホルダ 9">
            <a:extLst>
              <a:ext uri="{FF2B5EF4-FFF2-40B4-BE49-F238E27FC236}">
                <a16:creationId xmlns:a16="http://schemas.microsoft.com/office/drawing/2014/main" id="{D367DC13-54A9-6A38-92FC-5C89272DFF3D}"/>
              </a:ext>
            </a:extLst>
          </p:cNvPr>
          <p:cNvSpPr>
            <a:spLocks noGrp="1"/>
          </p:cNvSpPr>
          <p:nvPr>
            <p:custDataLst>
              <p:tags r:id="rId212"/>
            </p:custDataLst>
          </p:nvPr>
        </p:nvSpPr>
        <p:spPr bwMode="gray">
          <a:xfrm>
            <a:off x="5592763"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21019A-4F0F-4AEC-868A-01B0992E7907}" type="datetime'''6''''6''''''''''''''''''''''.''1'''''''''''''''''''''''''">
              <a:rPr lang="ja-JP" altLang="en-US" sz="1000" smtClean="0">
                <a:effectLst/>
                <a:sym typeface="+mn-lt"/>
              </a:rPr>
              <a:pPr marL="0" lvl="0" indent="0" algn="ctr">
                <a:spcBef>
                  <a:spcPct val="0"/>
                </a:spcBef>
                <a:buNone/>
              </a:pPr>
              <a:t>66.1</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57704971-F917-062B-7CB8-06791C77F8BF}"/>
              </a:ext>
            </a:extLst>
          </p:cNvPr>
          <p:cNvSpPr>
            <a:spLocks noGrp="1"/>
          </p:cNvSpPr>
          <p:nvPr>
            <p:custDataLst>
              <p:tags r:id="rId213"/>
            </p:custDataLst>
          </p:nvPr>
        </p:nvSpPr>
        <p:spPr bwMode="auto">
          <a:xfrm>
            <a:off x="5364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950EA7-F2EF-46CB-9A32-C60E1E765C5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317DFECC-2D33-C6F2-227E-24F5B9971BD2}"/>
              </a:ext>
            </a:extLst>
          </p:cNvPr>
          <p:cNvSpPr>
            <a:spLocks noGrp="1"/>
          </p:cNvSpPr>
          <p:nvPr>
            <p:custDataLst>
              <p:tags r:id="rId214"/>
            </p:custDataLst>
          </p:nvPr>
        </p:nvSpPr>
        <p:spPr bwMode="gray">
          <a:xfrm>
            <a:off x="5300663"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A25DDE-0F55-43A4-BC73-1F9506EC837A}" type="datetime'28''''''''''''''''''''''''''''''''''''''.''3'''">
              <a:rPr lang="ja-JP" altLang="en-US" sz="1000" smtClean="0">
                <a:solidFill>
                  <a:schemeClr val="bg1"/>
                </a:solidFill>
                <a:effectLst/>
                <a:sym typeface="+mn-lt"/>
              </a:rPr>
              <a:pPr marL="0" lvl="0" indent="0" algn="ctr">
                <a:spcBef>
                  <a:spcPct val="0"/>
                </a:spcBef>
                <a:buNone/>
              </a:pPr>
              <a:t>28.3</a:t>
            </a:fld>
            <a:endParaRPr kumimoji="1" lang="ja-JP" altLang="en-US" sz="1000" dirty="0">
              <a:solidFill>
                <a:schemeClr val="bg1"/>
              </a:solidFill>
              <a:sym typeface="+mn-lt"/>
            </a:endParaRPr>
          </a:p>
        </p:txBody>
      </p:sp>
      <p:sp>
        <p:nvSpPr>
          <p:cNvPr id="408" name="テキスト プレースホルダ 9">
            <a:extLst>
              <a:ext uri="{FF2B5EF4-FFF2-40B4-BE49-F238E27FC236}">
                <a16:creationId xmlns:a16="http://schemas.microsoft.com/office/drawing/2014/main" id="{B6E81320-A16C-CB4A-4B84-972108E82606}"/>
              </a:ext>
            </a:extLst>
          </p:cNvPr>
          <p:cNvSpPr>
            <a:spLocks noGrp="1"/>
          </p:cNvSpPr>
          <p:nvPr>
            <p:custDataLst>
              <p:tags r:id="rId215"/>
            </p:custDataLst>
          </p:nvPr>
        </p:nvSpPr>
        <p:spPr bwMode="gray">
          <a:xfrm>
            <a:off x="5300663"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FBDF5-FBCF-4DBA-A1DB-576EE343CBBD}" type="datetime'''''''''''''''''''''''66''''''.''''2'''''''''''''''">
              <a:rPr lang="ja-JP" altLang="en-US" sz="1000" smtClean="0">
                <a:effectLst/>
                <a:sym typeface="+mn-lt"/>
              </a:rPr>
              <a:pPr marL="0" lvl="0" indent="0" algn="ctr">
                <a:spcBef>
                  <a:spcPct val="0"/>
                </a:spcBef>
                <a:buNone/>
              </a:pPr>
              <a:t>66.2</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9A1D4011-D679-7026-1245-DE47C87E283C}"/>
              </a:ext>
            </a:extLst>
          </p:cNvPr>
          <p:cNvSpPr>
            <a:spLocks noGrp="1"/>
          </p:cNvSpPr>
          <p:nvPr>
            <p:custDataLst>
              <p:tags r:id="rId216"/>
            </p:custDataLst>
          </p:nvPr>
        </p:nvSpPr>
        <p:spPr bwMode="auto">
          <a:xfrm>
            <a:off x="5073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1BE61F-01FA-4A74-B697-B5D14624331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20342CB8-66BC-1349-5F8B-EA7FBBA1CA95}"/>
              </a:ext>
            </a:extLst>
          </p:cNvPr>
          <p:cNvSpPr>
            <a:spLocks noGrp="1"/>
          </p:cNvSpPr>
          <p:nvPr>
            <p:custDataLst>
              <p:tags r:id="rId217"/>
            </p:custDataLst>
          </p:nvPr>
        </p:nvSpPr>
        <p:spPr bwMode="gray">
          <a:xfrm>
            <a:off x="5010150"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4B6CE5-0097-4224-AF8D-D56D8C490B60}" type="datetime'2''''''''8''''''''''''.''''''''''3'''''''">
              <a:rPr lang="ja-JP" altLang="en-US" sz="1000" smtClean="0">
                <a:solidFill>
                  <a:schemeClr val="bg1"/>
                </a:solidFill>
                <a:effectLst/>
                <a:sym typeface="+mn-lt"/>
              </a:rPr>
              <a:pPr marL="0" lvl="0" indent="0" algn="ctr">
                <a:spcBef>
                  <a:spcPct val="0"/>
                </a:spcBef>
                <a:buNone/>
              </a:pPr>
              <a:t>28.3</a:t>
            </a:fld>
            <a:endParaRPr kumimoji="1" lang="ja-JP" altLang="en-US" sz="1000" dirty="0">
              <a:solidFill>
                <a:schemeClr val="bg1"/>
              </a:solidFill>
              <a:sym typeface="+mn-lt"/>
            </a:endParaRPr>
          </a:p>
        </p:txBody>
      </p:sp>
      <p:sp>
        <p:nvSpPr>
          <p:cNvPr id="406" name="テキスト プレースホルダ 9">
            <a:extLst>
              <a:ext uri="{FF2B5EF4-FFF2-40B4-BE49-F238E27FC236}">
                <a16:creationId xmlns:a16="http://schemas.microsoft.com/office/drawing/2014/main" id="{01008CB5-99C7-1E6E-4B59-0B744EBFF3D4}"/>
              </a:ext>
            </a:extLst>
          </p:cNvPr>
          <p:cNvSpPr>
            <a:spLocks noGrp="1"/>
          </p:cNvSpPr>
          <p:nvPr>
            <p:custDataLst>
              <p:tags r:id="rId218"/>
            </p:custDataLst>
          </p:nvPr>
        </p:nvSpPr>
        <p:spPr bwMode="gray">
          <a:xfrm>
            <a:off x="5010150"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77C525-3047-4542-AA87-E4F04BD4BBC2}" type="datetime'''''''''''''''''''66''''''''''''''''''''''''.''''''''''''3'">
              <a:rPr lang="ja-JP" altLang="en-US" sz="1000" smtClean="0">
                <a:effectLst/>
                <a:sym typeface="+mn-lt"/>
              </a:rPr>
              <a:pPr marL="0" lvl="0" indent="0" algn="ctr">
                <a:spcBef>
                  <a:spcPct val="0"/>
                </a:spcBef>
                <a:buNone/>
              </a:pPr>
              <a:t>66.3</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EF8224FC-ABFF-942D-1D0C-AFE4B3B4525D}"/>
              </a:ext>
            </a:extLst>
          </p:cNvPr>
          <p:cNvSpPr>
            <a:spLocks noGrp="1"/>
          </p:cNvSpPr>
          <p:nvPr>
            <p:custDataLst>
              <p:tags r:id="rId219"/>
            </p:custDataLst>
          </p:nvPr>
        </p:nvSpPr>
        <p:spPr bwMode="auto">
          <a:xfrm>
            <a:off x="47815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72CBF7-3C10-4C76-9A4F-BC6A60DB3DA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2B6D195C-95E0-E53B-D260-7F2F487CBF69}"/>
              </a:ext>
            </a:extLst>
          </p:cNvPr>
          <p:cNvSpPr>
            <a:spLocks noGrp="1"/>
          </p:cNvSpPr>
          <p:nvPr>
            <p:custDataLst>
              <p:tags r:id="rId220"/>
            </p:custDataLst>
          </p:nvPr>
        </p:nvSpPr>
        <p:spPr bwMode="gray">
          <a:xfrm>
            <a:off x="4718050" y="5924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61E084-A5D5-4E6B-9CC6-FBDEE2DF2646}" type="datetime'''''''2''''''''8''''''''''''''''.''''''''5'">
              <a:rPr lang="ja-JP" altLang="en-US" sz="1000" smtClean="0">
                <a:solidFill>
                  <a:schemeClr val="bg1"/>
                </a:solidFill>
                <a:effectLst/>
                <a:sym typeface="+mn-lt"/>
              </a:rPr>
              <a:pPr marL="0" lvl="0" indent="0" algn="ctr">
                <a:spcBef>
                  <a:spcPct val="0"/>
                </a:spcBef>
                <a:buNone/>
              </a:pPr>
              <a:t>28.5</a:t>
            </a:fld>
            <a:endParaRPr kumimoji="1" lang="ja-JP" altLang="en-US" sz="1000" dirty="0">
              <a:solidFill>
                <a:schemeClr val="bg1"/>
              </a:solidFill>
              <a:sym typeface="+mn-lt"/>
            </a:endParaRPr>
          </a:p>
        </p:txBody>
      </p:sp>
      <p:sp>
        <p:nvSpPr>
          <p:cNvPr id="404" name="テキスト プレースホルダ 9">
            <a:extLst>
              <a:ext uri="{FF2B5EF4-FFF2-40B4-BE49-F238E27FC236}">
                <a16:creationId xmlns:a16="http://schemas.microsoft.com/office/drawing/2014/main" id="{28539244-6331-9C27-06AE-4890BBB55B09}"/>
              </a:ext>
            </a:extLst>
          </p:cNvPr>
          <p:cNvSpPr>
            <a:spLocks noGrp="1"/>
          </p:cNvSpPr>
          <p:nvPr>
            <p:custDataLst>
              <p:tags r:id="rId221"/>
            </p:custDataLst>
          </p:nvPr>
        </p:nvSpPr>
        <p:spPr bwMode="gray">
          <a:xfrm>
            <a:off x="4718050" y="5259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E55DB-6E4F-421C-A961-1815B387BB5B}" type="datetime'''''''''''''''''6''''''6.''''''2'''''">
              <a:rPr lang="ja-JP" altLang="en-US" sz="1000" smtClean="0">
                <a:effectLst/>
                <a:sym typeface="+mn-lt"/>
              </a:rPr>
              <a:pPr marL="0" lvl="0" indent="0" algn="ctr">
                <a:spcBef>
                  <a:spcPct val="0"/>
                </a:spcBef>
                <a:buNone/>
              </a:pPr>
              <a:t>66.2</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180E46FE-4B03-BBDD-DFD8-8B2F7E7F6DEE}"/>
              </a:ext>
            </a:extLst>
          </p:cNvPr>
          <p:cNvSpPr>
            <a:spLocks noGrp="1"/>
          </p:cNvSpPr>
          <p:nvPr>
            <p:custDataLst>
              <p:tags r:id="rId222"/>
            </p:custDataLst>
          </p:nvPr>
        </p:nvSpPr>
        <p:spPr bwMode="auto">
          <a:xfrm>
            <a:off x="4491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F0D87-7A38-4741-BB3A-996F0B7C320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A00C9348-5ED9-1E64-D8DE-81E8A640CB58}"/>
              </a:ext>
            </a:extLst>
          </p:cNvPr>
          <p:cNvSpPr>
            <a:spLocks noGrp="1"/>
          </p:cNvSpPr>
          <p:nvPr>
            <p:custDataLst>
              <p:tags r:id="rId223"/>
            </p:custDataLst>
          </p:nvPr>
        </p:nvSpPr>
        <p:spPr bwMode="gray">
          <a:xfrm>
            <a:off x="44275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A7EF4E-6CCD-438E-8CE8-F6367EAECB39}" type="datetime'2''''''8''''.''''''''''''''''''''''''''''''''7'''''''''''">
              <a:rPr lang="ja-JP" altLang="en-US" sz="1000" smtClean="0">
                <a:solidFill>
                  <a:schemeClr val="bg1"/>
                </a:solidFill>
                <a:effectLst/>
                <a:sym typeface="+mn-lt"/>
              </a:rPr>
              <a:pPr marL="0" lvl="0" indent="0" algn="ctr">
                <a:spcBef>
                  <a:spcPct val="0"/>
                </a:spcBef>
                <a:buNone/>
              </a:pPr>
              <a:t>28.7</a:t>
            </a:fld>
            <a:endParaRPr kumimoji="1" lang="ja-JP" altLang="en-US" sz="1000" dirty="0">
              <a:solidFill>
                <a:schemeClr val="bg1"/>
              </a:solidFill>
              <a:sym typeface="+mn-lt"/>
            </a:endParaRPr>
          </a:p>
        </p:txBody>
      </p:sp>
      <p:sp>
        <p:nvSpPr>
          <p:cNvPr id="402" name="テキスト プレースホルダ 9">
            <a:extLst>
              <a:ext uri="{FF2B5EF4-FFF2-40B4-BE49-F238E27FC236}">
                <a16:creationId xmlns:a16="http://schemas.microsoft.com/office/drawing/2014/main" id="{E86D6D6A-26F1-7998-DC27-FE5F6C93E3C4}"/>
              </a:ext>
            </a:extLst>
          </p:cNvPr>
          <p:cNvSpPr>
            <a:spLocks noGrp="1"/>
          </p:cNvSpPr>
          <p:nvPr>
            <p:custDataLst>
              <p:tags r:id="rId224"/>
            </p:custDataLst>
          </p:nvPr>
        </p:nvSpPr>
        <p:spPr bwMode="gray">
          <a:xfrm>
            <a:off x="4427538"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3166D-6516-4495-8CD4-1BB3B5BBDC00}" type="datetime'''66''.''''''''''''''''''''''''''0'''''''''''''''''''''''''''">
              <a:rPr lang="ja-JP" altLang="en-US" sz="1000" smtClean="0">
                <a:effectLst/>
                <a:sym typeface="+mn-lt"/>
              </a:rPr>
              <a:pPr marL="0" lvl="0" indent="0" algn="ctr">
                <a:spcBef>
                  <a:spcPct val="0"/>
                </a:spcBef>
                <a:buNone/>
              </a:pPr>
              <a:t>66.0</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C83D0453-588D-F793-2407-2796BE613806}"/>
              </a:ext>
            </a:extLst>
          </p:cNvPr>
          <p:cNvSpPr>
            <a:spLocks noGrp="1"/>
          </p:cNvSpPr>
          <p:nvPr>
            <p:custDataLst>
              <p:tags r:id="rId225"/>
            </p:custDataLst>
          </p:nvPr>
        </p:nvSpPr>
        <p:spPr bwMode="auto">
          <a:xfrm>
            <a:off x="41989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765B47-4BA3-4C96-A864-355E70C68C70}"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6C6F9217-FE6E-DCD5-9D5B-7BBD7C91F8C6}"/>
              </a:ext>
            </a:extLst>
          </p:cNvPr>
          <p:cNvSpPr>
            <a:spLocks noGrp="1"/>
          </p:cNvSpPr>
          <p:nvPr>
            <p:custDataLst>
              <p:tags r:id="rId226"/>
            </p:custDataLst>
          </p:nvPr>
        </p:nvSpPr>
        <p:spPr bwMode="gray">
          <a:xfrm>
            <a:off x="4135438"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7BCC8-8436-46F4-9D7C-5738A97E95A3}" type="datetime'''''''''''''''''2''''''8''''''''''''.''''''''''''''''''''9'''">
              <a:rPr lang="ja-JP" altLang="en-US" sz="1000" smtClean="0">
                <a:solidFill>
                  <a:schemeClr val="bg1"/>
                </a:solidFill>
                <a:effectLst/>
                <a:sym typeface="+mn-lt"/>
              </a:rPr>
              <a:pPr marL="0" lvl="0" indent="0" algn="ctr">
                <a:spcBef>
                  <a:spcPct val="0"/>
                </a:spcBef>
                <a:buNone/>
              </a:pPr>
              <a:t>28.9</a:t>
            </a:fld>
            <a:endParaRPr kumimoji="1" lang="ja-JP" altLang="en-US" sz="1000" dirty="0">
              <a:solidFill>
                <a:schemeClr val="bg1"/>
              </a:solidFill>
              <a:sym typeface="+mn-lt"/>
            </a:endParaRPr>
          </a:p>
        </p:txBody>
      </p:sp>
      <p:sp>
        <p:nvSpPr>
          <p:cNvPr id="400" name="テキスト プレースホルダ 9">
            <a:extLst>
              <a:ext uri="{FF2B5EF4-FFF2-40B4-BE49-F238E27FC236}">
                <a16:creationId xmlns:a16="http://schemas.microsoft.com/office/drawing/2014/main" id="{B5064121-93CB-BAAA-9BF6-640D2BB8EC4C}"/>
              </a:ext>
            </a:extLst>
          </p:cNvPr>
          <p:cNvSpPr>
            <a:spLocks noGrp="1"/>
          </p:cNvSpPr>
          <p:nvPr>
            <p:custDataLst>
              <p:tags r:id="rId227"/>
            </p:custDataLst>
          </p:nvPr>
        </p:nvSpPr>
        <p:spPr bwMode="gray">
          <a:xfrm>
            <a:off x="4135438"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F3D220-4006-42D7-B5E3-617F9B526F8C}" type="datetime'''''''''''''''''6''''5''''''''''''''''''''''''''''''''.8'">
              <a:rPr lang="ja-JP" altLang="en-US" sz="1000" smtClean="0">
                <a:effectLst/>
                <a:sym typeface="+mn-lt"/>
              </a:rPr>
              <a:pPr marL="0" lvl="0" indent="0" algn="ctr">
                <a:spcBef>
                  <a:spcPct val="0"/>
                </a:spcBef>
                <a:buNone/>
              </a:pPr>
              <a:t>65.8</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E5B1313B-99AD-A099-65CF-4AD20E50675C}"/>
              </a:ext>
            </a:extLst>
          </p:cNvPr>
          <p:cNvSpPr>
            <a:spLocks noGrp="1"/>
          </p:cNvSpPr>
          <p:nvPr>
            <p:custDataLst>
              <p:tags r:id="rId228"/>
            </p:custDataLst>
          </p:nvPr>
        </p:nvSpPr>
        <p:spPr bwMode="auto">
          <a:xfrm>
            <a:off x="3906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1A17C2-7037-4132-AFD2-BC97311C88F2}"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B5A18D1B-214E-2772-D0B5-4E041F1B1C24}"/>
              </a:ext>
            </a:extLst>
          </p:cNvPr>
          <p:cNvSpPr>
            <a:spLocks noGrp="1"/>
          </p:cNvSpPr>
          <p:nvPr>
            <p:custDataLst>
              <p:tags r:id="rId229"/>
            </p:custDataLst>
          </p:nvPr>
        </p:nvSpPr>
        <p:spPr bwMode="gray">
          <a:xfrm>
            <a:off x="3843338" y="5919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075569-E114-4D38-8E20-D9F1412EC69A}" type="datetime'''''''2''''''''''''''''''''''''''9.''''''1'">
              <a:rPr lang="ja-JP" altLang="en-US" sz="1000" smtClean="0">
                <a:solidFill>
                  <a:schemeClr val="bg1"/>
                </a:solidFill>
                <a:effectLst/>
                <a:sym typeface="+mn-lt"/>
              </a:rPr>
              <a:pPr marL="0" lvl="0" indent="0" algn="ctr">
                <a:spcBef>
                  <a:spcPct val="0"/>
                </a:spcBef>
                <a:buNone/>
              </a:pPr>
              <a:t>29.1</a:t>
            </a:fld>
            <a:endParaRPr kumimoji="1" lang="ja-JP" altLang="en-US" sz="1000" dirty="0">
              <a:solidFill>
                <a:schemeClr val="bg1"/>
              </a:solidFill>
              <a:sym typeface="+mn-lt"/>
            </a:endParaRPr>
          </a:p>
        </p:txBody>
      </p:sp>
      <p:sp>
        <p:nvSpPr>
          <p:cNvPr id="398" name="テキスト プレースホルダ 9">
            <a:extLst>
              <a:ext uri="{FF2B5EF4-FFF2-40B4-BE49-F238E27FC236}">
                <a16:creationId xmlns:a16="http://schemas.microsoft.com/office/drawing/2014/main" id="{0EDD666C-9AAE-105B-C1B4-1256134D1507}"/>
              </a:ext>
            </a:extLst>
          </p:cNvPr>
          <p:cNvSpPr>
            <a:spLocks noGrp="1"/>
          </p:cNvSpPr>
          <p:nvPr>
            <p:custDataLst>
              <p:tags r:id="rId230"/>
            </p:custDataLst>
          </p:nvPr>
        </p:nvSpPr>
        <p:spPr bwMode="gray">
          <a:xfrm>
            <a:off x="3843338" y="5254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587D20-2E17-444C-AC52-82C488FFD86F}" type="datetime'''''''''''''''''''''65''''.''''6'''''''''''''">
              <a:rPr lang="ja-JP" altLang="en-US" sz="1000" smtClean="0">
                <a:effectLst/>
                <a:sym typeface="+mn-lt"/>
              </a:rPr>
              <a:pPr marL="0" lvl="0" indent="0" algn="ctr">
                <a:spcBef>
                  <a:spcPct val="0"/>
                </a:spcBef>
                <a:buNone/>
              </a:pPr>
              <a:t>65.6</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0C31BD10-1C4E-5B53-A328-B107F28D4605}"/>
              </a:ext>
            </a:extLst>
          </p:cNvPr>
          <p:cNvSpPr>
            <a:spLocks noGrp="1"/>
          </p:cNvSpPr>
          <p:nvPr>
            <p:custDataLst>
              <p:tags r:id="rId231"/>
            </p:custDataLst>
          </p:nvPr>
        </p:nvSpPr>
        <p:spPr bwMode="auto">
          <a:xfrm>
            <a:off x="3616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9059D-5C48-45FB-84FF-101C9FEFDFCF}"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3308DB51-2A6E-84C6-B131-FF7AC9D5B15F}"/>
              </a:ext>
            </a:extLst>
          </p:cNvPr>
          <p:cNvSpPr>
            <a:spLocks noGrp="1"/>
          </p:cNvSpPr>
          <p:nvPr>
            <p:custDataLst>
              <p:tags r:id="rId232"/>
            </p:custDataLst>
          </p:nvPr>
        </p:nvSpPr>
        <p:spPr bwMode="gray">
          <a:xfrm>
            <a:off x="3552825"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CD1193-22AB-4250-B6C5-F40EA8DC491E}" type="datetime'''''''''''''''29''''''''''''''''''.''''''''''''''''''4'''''''">
              <a:rPr lang="ja-JP" altLang="en-US" sz="1000" smtClean="0">
                <a:solidFill>
                  <a:schemeClr val="bg1"/>
                </a:solidFill>
                <a:effectLst/>
                <a:sym typeface="+mn-lt"/>
              </a:rPr>
              <a:pPr marL="0" lvl="0" indent="0" algn="ctr">
                <a:spcBef>
                  <a:spcPct val="0"/>
                </a:spcBef>
                <a:buNone/>
              </a:pPr>
              <a:t>29.4</a:t>
            </a:fld>
            <a:endParaRPr kumimoji="1" lang="ja-JP" altLang="en-US" sz="1000" dirty="0">
              <a:solidFill>
                <a:schemeClr val="bg1"/>
              </a:solidFill>
              <a:sym typeface="+mn-lt"/>
            </a:endParaRPr>
          </a:p>
        </p:txBody>
      </p:sp>
      <p:sp>
        <p:nvSpPr>
          <p:cNvPr id="396" name="テキスト プレースホルダ 9">
            <a:extLst>
              <a:ext uri="{FF2B5EF4-FFF2-40B4-BE49-F238E27FC236}">
                <a16:creationId xmlns:a16="http://schemas.microsoft.com/office/drawing/2014/main" id="{1351B688-71B2-14A9-50B8-9F7E8378F339}"/>
              </a:ext>
            </a:extLst>
          </p:cNvPr>
          <p:cNvSpPr>
            <a:spLocks noGrp="1"/>
          </p:cNvSpPr>
          <p:nvPr>
            <p:custDataLst>
              <p:tags r:id="rId233"/>
            </p:custDataLst>
          </p:nvPr>
        </p:nvSpPr>
        <p:spPr bwMode="gray">
          <a:xfrm>
            <a:off x="3552825"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5238A7-73DD-49D4-925C-A4BFE796F88A}" type="datetime'''''''''6''''''''''''''''''''''''''5''.''''3'''''''''">
              <a:rPr lang="ja-JP" altLang="en-US" sz="1000" smtClean="0">
                <a:effectLst/>
                <a:sym typeface="+mn-lt"/>
              </a:rPr>
              <a:pPr marL="0" lvl="0" indent="0" algn="ctr">
                <a:spcBef>
                  <a:spcPct val="0"/>
                </a:spcBef>
                <a:buNone/>
              </a:pPr>
              <a:t>65.3</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1998736D-BE11-CDEF-B390-8357DAD3A337}"/>
              </a:ext>
            </a:extLst>
          </p:cNvPr>
          <p:cNvSpPr>
            <a:spLocks noGrp="1"/>
          </p:cNvSpPr>
          <p:nvPr>
            <p:custDataLst>
              <p:tags r:id="rId234"/>
            </p:custDataLst>
          </p:nvPr>
        </p:nvSpPr>
        <p:spPr bwMode="auto">
          <a:xfrm>
            <a:off x="3324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A62253-90DF-4FB6-A01E-5F1FFEB0E2B5}"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F1DD92A4-0249-82B6-67A1-35E78319B237}"/>
              </a:ext>
            </a:extLst>
          </p:cNvPr>
          <p:cNvSpPr>
            <a:spLocks noGrp="1"/>
          </p:cNvSpPr>
          <p:nvPr>
            <p:custDataLst>
              <p:tags r:id="rId235"/>
            </p:custDataLst>
          </p:nvPr>
        </p:nvSpPr>
        <p:spPr bwMode="gray">
          <a:xfrm>
            <a:off x="3260725" y="59166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9487F0-11EA-4E7D-B614-8D51BF0B83E1}" type="datetime'2''9''.''''''''''''''7'''''">
              <a:rPr lang="ja-JP" altLang="en-US" sz="1000" smtClean="0">
                <a:solidFill>
                  <a:schemeClr val="bg1"/>
                </a:solidFill>
                <a:effectLst/>
                <a:sym typeface="+mn-lt"/>
              </a:rPr>
              <a:pPr marL="0" lvl="0" indent="0" algn="ctr">
                <a:spcBef>
                  <a:spcPct val="0"/>
                </a:spcBef>
                <a:buNone/>
              </a:pPr>
              <a:t>29.7</a:t>
            </a:fld>
            <a:endParaRPr kumimoji="1" lang="ja-JP" altLang="en-US" sz="1000" dirty="0">
              <a:solidFill>
                <a:schemeClr val="bg1"/>
              </a:solidFill>
              <a:sym typeface="+mn-lt"/>
            </a:endParaRPr>
          </a:p>
        </p:txBody>
      </p:sp>
      <p:sp>
        <p:nvSpPr>
          <p:cNvPr id="394" name="テキスト プレースホルダ 9">
            <a:extLst>
              <a:ext uri="{FF2B5EF4-FFF2-40B4-BE49-F238E27FC236}">
                <a16:creationId xmlns:a16="http://schemas.microsoft.com/office/drawing/2014/main" id="{FC812C62-F496-A55E-313E-7F6FAFE30E24}"/>
              </a:ext>
            </a:extLst>
          </p:cNvPr>
          <p:cNvSpPr>
            <a:spLocks noGrp="1"/>
          </p:cNvSpPr>
          <p:nvPr>
            <p:custDataLst>
              <p:tags r:id="rId236"/>
            </p:custDataLst>
          </p:nvPr>
        </p:nvSpPr>
        <p:spPr bwMode="gray">
          <a:xfrm>
            <a:off x="3260725" y="5251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A4A7E-A01C-4A9C-A019-6D0A8391DB07}" type="datetime'''''''''''''''''''''''''''6''''''''5''.''''''1'''''''''">
              <a:rPr lang="ja-JP" altLang="en-US" sz="1000" smtClean="0">
                <a:effectLst/>
                <a:sym typeface="+mn-lt"/>
              </a:rPr>
              <a:pPr marL="0" lvl="0" indent="0" algn="ctr">
                <a:spcBef>
                  <a:spcPct val="0"/>
                </a:spcBef>
                <a:buNone/>
              </a:pPr>
              <a:t>65.1</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370FC747-DA42-4CB1-7BC1-8A50F45237FC}"/>
              </a:ext>
            </a:extLst>
          </p:cNvPr>
          <p:cNvSpPr>
            <a:spLocks noGrp="1"/>
          </p:cNvSpPr>
          <p:nvPr>
            <p:custDataLst>
              <p:tags r:id="rId237"/>
            </p:custDataLst>
          </p:nvPr>
        </p:nvSpPr>
        <p:spPr bwMode="auto">
          <a:xfrm>
            <a:off x="30321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3AF16-C128-4EE1-B49D-12C08C50CB03}"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13C0814C-1943-AF65-F674-CAE57299F58A}"/>
              </a:ext>
            </a:extLst>
          </p:cNvPr>
          <p:cNvSpPr>
            <a:spLocks noGrp="1"/>
          </p:cNvSpPr>
          <p:nvPr>
            <p:custDataLst>
              <p:tags r:id="rId238"/>
            </p:custDataLst>
          </p:nvPr>
        </p:nvSpPr>
        <p:spPr bwMode="gray">
          <a:xfrm>
            <a:off x="2968625"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EF3CD8-478F-4F96-914D-4AD32C7874C0}" type="datetime'''2''''''''''''''''''''''''''''''''''''''''''''9''.9'''''''''">
              <a:rPr lang="ja-JP" altLang="en-US" sz="1000" smtClean="0">
                <a:solidFill>
                  <a:schemeClr val="bg1"/>
                </a:solidFill>
                <a:effectLst/>
                <a:sym typeface="+mn-lt"/>
              </a:rPr>
              <a:pPr marL="0" lvl="0" indent="0" algn="ctr">
                <a:spcBef>
                  <a:spcPct val="0"/>
                </a:spcBef>
                <a:buNone/>
              </a:pPr>
              <a:t>29.9</a:t>
            </a:fld>
            <a:endParaRPr kumimoji="1" lang="ja-JP" altLang="en-US" sz="1000" dirty="0">
              <a:solidFill>
                <a:schemeClr val="bg1"/>
              </a:solidFill>
              <a:sym typeface="+mn-lt"/>
            </a:endParaRPr>
          </a:p>
        </p:txBody>
      </p:sp>
      <p:sp>
        <p:nvSpPr>
          <p:cNvPr id="392" name="テキスト プレースホルダ 9">
            <a:extLst>
              <a:ext uri="{FF2B5EF4-FFF2-40B4-BE49-F238E27FC236}">
                <a16:creationId xmlns:a16="http://schemas.microsoft.com/office/drawing/2014/main" id="{FE8ED183-26BD-A176-9652-67E0CF1BA351}"/>
              </a:ext>
            </a:extLst>
          </p:cNvPr>
          <p:cNvSpPr>
            <a:spLocks noGrp="1"/>
          </p:cNvSpPr>
          <p:nvPr>
            <p:custDataLst>
              <p:tags r:id="rId239"/>
            </p:custDataLst>
          </p:nvPr>
        </p:nvSpPr>
        <p:spPr bwMode="gray">
          <a:xfrm>
            <a:off x="2968625"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7B048D-F08D-48AC-AE9F-40CB483DB900}" type="datetime'''''64''''''''''.9'''''''''''">
              <a:rPr lang="ja-JP" altLang="en-US" sz="1000" smtClean="0">
                <a:effectLst/>
                <a:sym typeface="+mn-lt"/>
              </a:rPr>
              <a:pPr marL="0" lvl="0" indent="0" algn="ctr">
                <a:spcBef>
                  <a:spcPct val="0"/>
                </a:spcBef>
                <a:buNone/>
              </a:pPr>
              <a:t>64.9</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FB5416C3-C550-290B-E8BD-AD449B9592C3}"/>
              </a:ext>
            </a:extLst>
          </p:cNvPr>
          <p:cNvSpPr>
            <a:spLocks noGrp="1"/>
          </p:cNvSpPr>
          <p:nvPr>
            <p:custDataLst>
              <p:tags r:id="rId240"/>
            </p:custDataLst>
          </p:nvPr>
        </p:nvSpPr>
        <p:spPr bwMode="auto">
          <a:xfrm>
            <a:off x="2741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34E86B-B685-41D5-9990-7B66BEFC836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D0005FE6-3CD5-6EF9-7ACE-37A01C5FB0C4}"/>
              </a:ext>
            </a:extLst>
          </p:cNvPr>
          <p:cNvSpPr>
            <a:spLocks noGrp="1"/>
          </p:cNvSpPr>
          <p:nvPr>
            <p:custDataLst>
              <p:tags r:id="rId241"/>
            </p:custDataLst>
          </p:nvPr>
        </p:nvSpPr>
        <p:spPr bwMode="gray">
          <a:xfrm>
            <a:off x="2678113" y="59118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481777-085E-42ED-957D-35EC85C317BE}" type="datetime'''''''''''''''''''''30''.''''''''''''''''''''''''''2'''''''">
              <a:rPr lang="ja-JP" altLang="en-US" sz="1000" smtClean="0">
                <a:solidFill>
                  <a:schemeClr val="bg1"/>
                </a:solidFill>
                <a:effectLst/>
                <a:sym typeface="+mn-lt"/>
              </a:rPr>
              <a:pPr marL="0" lvl="0" indent="0" algn="ctr">
                <a:spcBef>
                  <a:spcPct val="0"/>
                </a:spcBef>
                <a:buNone/>
              </a:pPr>
              <a:t>30.2</a:t>
            </a:fld>
            <a:endParaRPr kumimoji="1" lang="ja-JP" altLang="en-US" sz="1000" dirty="0">
              <a:solidFill>
                <a:schemeClr val="bg1"/>
              </a:solidFill>
              <a:sym typeface="+mn-lt"/>
            </a:endParaRPr>
          </a:p>
        </p:txBody>
      </p:sp>
      <p:sp>
        <p:nvSpPr>
          <p:cNvPr id="390" name="テキスト プレースホルダ 9">
            <a:extLst>
              <a:ext uri="{FF2B5EF4-FFF2-40B4-BE49-F238E27FC236}">
                <a16:creationId xmlns:a16="http://schemas.microsoft.com/office/drawing/2014/main" id="{ACC3228D-54F0-6D66-8CE2-9D74EED0A396}"/>
              </a:ext>
            </a:extLst>
          </p:cNvPr>
          <p:cNvSpPr>
            <a:spLocks noGrp="1"/>
          </p:cNvSpPr>
          <p:nvPr>
            <p:custDataLst>
              <p:tags r:id="rId242"/>
            </p:custDataLst>
          </p:nvPr>
        </p:nvSpPr>
        <p:spPr bwMode="gray">
          <a:xfrm>
            <a:off x="2678113" y="5246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E714C-C260-428D-B001-0DE75FC66E33}" type="datetime'''''''''''''''''''6''''''''''''''''4''.''6'''''''''''''''''">
              <a:rPr lang="ja-JP" altLang="en-US" sz="1000" smtClean="0">
                <a:effectLst/>
                <a:sym typeface="+mn-lt"/>
              </a:rPr>
              <a:pPr marL="0" lvl="0" indent="0" algn="ctr">
                <a:spcBef>
                  <a:spcPct val="0"/>
                </a:spcBef>
                <a:buNone/>
              </a:pPr>
              <a:t>64.6</a:t>
            </a:fld>
            <a:endParaRPr kumimoji="1" lang="ja-JP" altLang="en-US" sz="1000" dirty="0">
              <a:sym typeface="+mn-lt"/>
            </a:endParaRPr>
          </a:p>
        </p:txBody>
      </p:sp>
      <p:sp>
        <p:nvSpPr>
          <p:cNvPr id="465" name="テキスト プレースホルダ 9">
            <a:extLst>
              <a:ext uri="{FF2B5EF4-FFF2-40B4-BE49-F238E27FC236}">
                <a16:creationId xmlns:a16="http://schemas.microsoft.com/office/drawing/2014/main" id="{9C601FC5-2594-23A5-AB69-5DD98D626E7F}"/>
              </a:ext>
            </a:extLst>
          </p:cNvPr>
          <p:cNvSpPr>
            <a:spLocks noGrp="1"/>
          </p:cNvSpPr>
          <p:nvPr>
            <p:custDataLst>
              <p:tags r:id="rId243"/>
            </p:custDataLst>
          </p:nvPr>
        </p:nvSpPr>
        <p:spPr bwMode="auto">
          <a:xfrm>
            <a:off x="24495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3299F-517D-4DF0-BAA2-25EFBA5CB3C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1740CD9D-7C18-CA45-908C-7D994B7CD6D6}"/>
              </a:ext>
            </a:extLst>
          </p:cNvPr>
          <p:cNvSpPr>
            <a:spLocks noGrp="1"/>
          </p:cNvSpPr>
          <p:nvPr>
            <p:custDataLst>
              <p:tags r:id="rId244"/>
            </p:custDataLst>
          </p:nvPr>
        </p:nvSpPr>
        <p:spPr bwMode="gray">
          <a:xfrm>
            <a:off x="2386013"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EE1705-19C3-4799-96DF-BF61A5211670}" type="datetime'''''''''''''''''''''''''''''3''0''''''''''.''''''''''6'''''''">
              <a:rPr lang="ja-JP" altLang="en-US" sz="1000" smtClean="0">
                <a:solidFill>
                  <a:schemeClr val="bg1"/>
                </a:solidFill>
                <a:effectLst/>
                <a:sym typeface="+mn-lt"/>
              </a:rPr>
              <a:pPr marL="0" lvl="0" indent="0" algn="ctr">
                <a:spcBef>
                  <a:spcPct val="0"/>
                </a:spcBef>
                <a:buNone/>
              </a:pPr>
              <a:t>30.6</a:t>
            </a:fld>
            <a:endParaRPr kumimoji="1" lang="ja-JP" altLang="en-US" sz="1000" dirty="0">
              <a:solidFill>
                <a:schemeClr val="bg1"/>
              </a:solidFill>
              <a:sym typeface="+mn-lt"/>
            </a:endParaRPr>
          </a:p>
        </p:txBody>
      </p:sp>
      <p:sp>
        <p:nvSpPr>
          <p:cNvPr id="388" name="テキスト プレースホルダ 9">
            <a:extLst>
              <a:ext uri="{FF2B5EF4-FFF2-40B4-BE49-F238E27FC236}">
                <a16:creationId xmlns:a16="http://schemas.microsoft.com/office/drawing/2014/main" id="{D54960BC-728E-E0CB-EE36-32850D7306AF}"/>
              </a:ext>
            </a:extLst>
          </p:cNvPr>
          <p:cNvSpPr>
            <a:spLocks noGrp="1"/>
          </p:cNvSpPr>
          <p:nvPr>
            <p:custDataLst>
              <p:tags r:id="rId245"/>
            </p:custDataLst>
          </p:nvPr>
        </p:nvSpPr>
        <p:spPr bwMode="gray">
          <a:xfrm>
            <a:off x="2386013" y="5243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2A308E-0E4F-449C-93E5-549DF21EFEF5}" type="datetime'''''6''4''''''''.''''''''''''''''''''2'''''''''''''''''''''">
              <a:rPr lang="ja-JP" altLang="en-US" sz="1000" smtClean="0">
                <a:effectLst/>
                <a:sym typeface="+mn-lt"/>
              </a:rPr>
              <a:pPr marL="0" lvl="0" indent="0" algn="ctr">
                <a:spcBef>
                  <a:spcPct val="0"/>
                </a:spcBef>
                <a:buNone/>
              </a:pPr>
              <a:t>64.2</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603B180E-87C3-2DAA-60C5-DB93D93A6DC9}"/>
              </a:ext>
            </a:extLst>
          </p:cNvPr>
          <p:cNvSpPr>
            <a:spLocks noGrp="1"/>
          </p:cNvSpPr>
          <p:nvPr>
            <p:custDataLst>
              <p:tags r:id="rId246"/>
            </p:custDataLst>
          </p:nvPr>
        </p:nvSpPr>
        <p:spPr bwMode="auto">
          <a:xfrm>
            <a:off x="2157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821B9-3EFD-4099-B467-F277C1D4D01D}"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78F3D746-CE99-8630-B60D-A02BD1732CA2}"/>
              </a:ext>
            </a:extLst>
          </p:cNvPr>
          <p:cNvSpPr>
            <a:spLocks noGrp="1"/>
          </p:cNvSpPr>
          <p:nvPr>
            <p:custDataLst>
              <p:tags r:id="rId247"/>
            </p:custDataLst>
          </p:nvPr>
        </p:nvSpPr>
        <p:spPr bwMode="gray">
          <a:xfrm>
            <a:off x="2093913" y="59055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1E660-AF88-4576-86E6-87DA534E0E05}" type="datetime'''''''''''3''''''''''''''''''''''''''1.''''''''''1'''">
              <a:rPr lang="ja-JP" altLang="en-US" sz="1000" smtClean="0">
                <a:solidFill>
                  <a:schemeClr val="bg1"/>
                </a:solidFill>
                <a:effectLst/>
                <a:sym typeface="+mn-lt"/>
              </a:rPr>
              <a:pPr marL="0" lvl="0" indent="0" algn="ctr">
                <a:spcBef>
                  <a:spcPct val="0"/>
                </a:spcBef>
                <a:buNone/>
              </a:pPr>
              <a:t>31.1</a:t>
            </a:fld>
            <a:endParaRPr kumimoji="1" lang="ja-JP" altLang="en-US" sz="1000" dirty="0">
              <a:solidFill>
                <a:schemeClr val="bg1"/>
              </a:solidFill>
              <a:sym typeface="+mn-lt"/>
            </a:endParaRPr>
          </a:p>
        </p:txBody>
      </p:sp>
      <p:sp>
        <p:nvSpPr>
          <p:cNvPr id="386" name="テキスト プレースホルダ 9">
            <a:extLst>
              <a:ext uri="{FF2B5EF4-FFF2-40B4-BE49-F238E27FC236}">
                <a16:creationId xmlns:a16="http://schemas.microsoft.com/office/drawing/2014/main" id="{4FAED516-7710-A40A-CCEE-4C774F337C4C}"/>
              </a:ext>
            </a:extLst>
          </p:cNvPr>
          <p:cNvSpPr>
            <a:spLocks noGrp="1"/>
          </p:cNvSpPr>
          <p:nvPr>
            <p:custDataLst>
              <p:tags r:id="rId248"/>
            </p:custDataLst>
          </p:nvPr>
        </p:nvSpPr>
        <p:spPr bwMode="gray">
          <a:xfrm>
            <a:off x="2093913" y="5240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12D0BF-9292-4D55-BDD2-51B7854372ED}" type="datetime'''''''63''''''.''''''''''''''''''''''8'''''''''">
              <a:rPr lang="ja-JP" altLang="en-US" sz="1000" smtClean="0">
                <a:effectLst/>
                <a:sym typeface="+mn-lt"/>
              </a:rPr>
              <a:pPr marL="0" lvl="0" indent="0" algn="ctr">
                <a:spcBef>
                  <a:spcPct val="0"/>
                </a:spcBef>
                <a:buNone/>
              </a:pPr>
              <a:t>63.8</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25EEA2CA-D882-B26F-7A57-5D6C01CDF8F0}"/>
              </a:ext>
            </a:extLst>
          </p:cNvPr>
          <p:cNvSpPr>
            <a:spLocks noGrp="1"/>
          </p:cNvSpPr>
          <p:nvPr>
            <p:custDataLst>
              <p:tags r:id="rId249"/>
            </p:custDataLst>
          </p:nvPr>
        </p:nvSpPr>
        <p:spPr bwMode="auto">
          <a:xfrm>
            <a:off x="1866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1895B0-F6AE-43EE-8E69-DC17DC1AA3AA}"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814BC8E1-24E7-CC4E-F786-A281688F3249}"/>
              </a:ext>
            </a:extLst>
          </p:cNvPr>
          <p:cNvSpPr>
            <a:spLocks noGrp="1"/>
          </p:cNvSpPr>
          <p:nvPr>
            <p:custDataLst>
              <p:tags r:id="rId250"/>
            </p:custDataLst>
          </p:nvPr>
        </p:nvSpPr>
        <p:spPr bwMode="gray">
          <a:xfrm>
            <a:off x="1803400" y="59023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D1577F-392B-424C-8EBB-93CC9FDEFB98}" type="datetime'''''''''''''3''''1''''''.''''''''''''''''6'''">
              <a:rPr lang="ja-JP" altLang="en-US" sz="1000" smtClean="0">
                <a:solidFill>
                  <a:schemeClr val="bg1"/>
                </a:solidFill>
                <a:effectLst/>
                <a:sym typeface="+mn-lt"/>
              </a:rPr>
              <a:pPr marL="0" lvl="0" indent="0" algn="ctr">
                <a:spcBef>
                  <a:spcPct val="0"/>
                </a:spcBef>
                <a:buNone/>
              </a:pPr>
              <a:t>31.6</a:t>
            </a:fld>
            <a:endParaRPr kumimoji="1" lang="ja-JP" altLang="en-US" sz="1000" dirty="0">
              <a:solidFill>
                <a:schemeClr val="bg1"/>
              </a:solidFill>
              <a:sym typeface="+mn-lt"/>
            </a:endParaRPr>
          </a:p>
        </p:txBody>
      </p:sp>
      <p:sp>
        <p:nvSpPr>
          <p:cNvPr id="384" name="テキスト プレースホルダ 9">
            <a:extLst>
              <a:ext uri="{FF2B5EF4-FFF2-40B4-BE49-F238E27FC236}">
                <a16:creationId xmlns:a16="http://schemas.microsoft.com/office/drawing/2014/main" id="{272CF47A-3EB5-67E4-BC92-D82C8D5AD252}"/>
              </a:ext>
            </a:extLst>
          </p:cNvPr>
          <p:cNvSpPr>
            <a:spLocks noGrp="1"/>
          </p:cNvSpPr>
          <p:nvPr>
            <p:custDataLst>
              <p:tags r:id="rId251"/>
            </p:custDataLst>
          </p:nvPr>
        </p:nvSpPr>
        <p:spPr bwMode="gray">
          <a:xfrm>
            <a:off x="1803400" y="5235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3280F0-A27A-47D0-8530-8E9516E70888}" type="datetime'63''''''''''''''''.''''''''''3'''''''''''''''''''">
              <a:rPr lang="ja-JP" altLang="en-US" sz="1000" smtClean="0">
                <a:effectLst/>
                <a:sym typeface="+mn-lt"/>
              </a:rPr>
              <a:pPr marL="0" lvl="0" indent="0" algn="ctr">
                <a:spcBef>
                  <a:spcPct val="0"/>
                </a:spcBef>
                <a:buNone/>
              </a:pPr>
              <a:t>63.3</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2EDF7800-410D-E847-76DE-FD4DD2942019}"/>
              </a:ext>
            </a:extLst>
          </p:cNvPr>
          <p:cNvSpPr>
            <a:spLocks noGrp="1"/>
          </p:cNvSpPr>
          <p:nvPr>
            <p:custDataLst>
              <p:tags r:id="rId252"/>
            </p:custDataLst>
          </p:nvPr>
        </p:nvSpPr>
        <p:spPr bwMode="auto">
          <a:xfrm>
            <a:off x="1574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E40341-18BA-4784-A242-175BF3F283D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DD89342D-BB78-660E-855D-965EB1DF76C9}"/>
              </a:ext>
            </a:extLst>
          </p:cNvPr>
          <p:cNvSpPr>
            <a:spLocks noGrp="1"/>
          </p:cNvSpPr>
          <p:nvPr>
            <p:custDataLst>
              <p:tags r:id="rId253"/>
            </p:custDataLst>
          </p:nvPr>
        </p:nvSpPr>
        <p:spPr bwMode="gray">
          <a:xfrm>
            <a:off x="1511300" y="58975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EBBA05-F697-4089-8E57-FFB47969508D}" type="datetime'''''''''3''''''2''''''''''''''.''''''''''''''''''''''''''''3'">
              <a:rPr lang="ja-JP" altLang="en-US" sz="1000" smtClean="0">
                <a:solidFill>
                  <a:schemeClr val="bg1"/>
                </a:solidFill>
                <a:effectLst/>
                <a:sym typeface="+mn-lt"/>
              </a:rPr>
              <a:pPr marL="0" lvl="0" indent="0" algn="ctr">
                <a:spcBef>
                  <a:spcPct val="0"/>
                </a:spcBef>
                <a:buNone/>
              </a:pPr>
              <a:t>32.3</a:t>
            </a:fld>
            <a:endParaRPr kumimoji="1" lang="ja-JP" altLang="en-US" sz="1000" dirty="0">
              <a:solidFill>
                <a:schemeClr val="bg1"/>
              </a:solidFill>
              <a:sym typeface="+mn-lt"/>
            </a:endParaRPr>
          </a:p>
        </p:txBody>
      </p:sp>
      <p:sp>
        <p:nvSpPr>
          <p:cNvPr id="382" name="テキスト プレースホルダ 9">
            <a:extLst>
              <a:ext uri="{FF2B5EF4-FFF2-40B4-BE49-F238E27FC236}">
                <a16:creationId xmlns:a16="http://schemas.microsoft.com/office/drawing/2014/main" id="{C3127920-66F2-0AAE-FF84-DA505DE02064}"/>
              </a:ext>
            </a:extLst>
          </p:cNvPr>
          <p:cNvSpPr>
            <a:spLocks noGrp="1"/>
          </p:cNvSpPr>
          <p:nvPr>
            <p:custDataLst>
              <p:tags r:id="rId254"/>
            </p:custDataLst>
          </p:nvPr>
        </p:nvSpPr>
        <p:spPr bwMode="gray">
          <a:xfrm>
            <a:off x="1511300" y="5230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F6511F-8089-40D6-AEB4-61BF18B11825}" type="datetime'''''''''''''''''''''''6''2''''''''''.''''''7'''">
              <a:rPr lang="ja-JP" altLang="en-US" sz="1000" smtClean="0">
                <a:effectLst/>
                <a:sym typeface="+mn-lt"/>
              </a:rPr>
              <a:pPr marL="0" lvl="0" indent="0" algn="ctr">
                <a:spcBef>
                  <a:spcPct val="0"/>
                </a:spcBef>
                <a:buNone/>
              </a:pPr>
              <a:t>62.7</a:t>
            </a:fld>
            <a:endParaRPr kumimoji="1" lang="ja-JP" altLang="en-US" sz="1000" dirty="0">
              <a:sym typeface="+mn-lt"/>
            </a:endParaRPr>
          </a:p>
        </p:txBody>
      </p:sp>
      <p:sp>
        <p:nvSpPr>
          <p:cNvPr id="103" name="Text Placeholder 12"/>
          <p:cNvSpPr>
            <a:spLocks noGrp="1"/>
          </p:cNvSpPr>
          <p:nvPr>
            <p:custDataLst>
              <p:tags r:id="rId25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461" name="テキスト プレースホルダ 9">
            <a:extLst>
              <a:ext uri="{FF2B5EF4-FFF2-40B4-BE49-F238E27FC236}">
                <a16:creationId xmlns:a16="http://schemas.microsoft.com/office/drawing/2014/main" id="{9171D064-000F-EC86-0503-BC99C0E6A677}"/>
              </a:ext>
            </a:extLst>
          </p:cNvPr>
          <p:cNvSpPr>
            <a:spLocks noGrp="1"/>
          </p:cNvSpPr>
          <p:nvPr>
            <p:custDataLst>
              <p:tags r:id="rId256"/>
            </p:custDataLst>
          </p:nvPr>
        </p:nvSpPr>
        <p:spPr bwMode="auto">
          <a:xfrm>
            <a:off x="12827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40739D-2591-4DE6-B514-BFD8742D150C}"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B24EF2D9-4AF3-66DA-93FB-73381C1953AF}"/>
              </a:ext>
            </a:extLst>
          </p:cNvPr>
          <p:cNvSpPr>
            <a:spLocks noGrp="1"/>
          </p:cNvSpPr>
          <p:nvPr>
            <p:custDataLst>
              <p:tags r:id="rId257"/>
            </p:custDataLst>
          </p:nvPr>
        </p:nvSpPr>
        <p:spPr bwMode="gray">
          <a:xfrm>
            <a:off x="1219200"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CB28B-4E96-41F3-82C2-239118C4B474}" type="datetime'''''3''''''''''''''''''''3''''''''.''''''''''''''2'''''''''''">
              <a:rPr lang="ja-JP" altLang="en-US" sz="1000" smtClean="0">
                <a:solidFill>
                  <a:schemeClr val="bg1"/>
                </a:solidFill>
                <a:effectLst/>
                <a:sym typeface="+mn-lt"/>
              </a:rPr>
              <a:pPr marL="0" lvl="0" indent="0" algn="ctr">
                <a:spcBef>
                  <a:spcPct val="0"/>
                </a:spcBef>
                <a:buNone/>
              </a:pPr>
              <a:t>33.2</a:t>
            </a:fld>
            <a:endParaRPr kumimoji="1" lang="ja-JP" altLang="en-US" sz="1000" dirty="0">
              <a:solidFill>
                <a:schemeClr val="bg1"/>
              </a:solidFill>
              <a:sym typeface="+mn-lt"/>
            </a:endParaRPr>
          </a:p>
        </p:txBody>
      </p:sp>
      <p:sp>
        <p:nvSpPr>
          <p:cNvPr id="380" name="テキスト プレースホルダ 9">
            <a:extLst>
              <a:ext uri="{FF2B5EF4-FFF2-40B4-BE49-F238E27FC236}">
                <a16:creationId xmlns:a16="http://schemas.microsoft.com/office/drawing/2014/main" id="{9F37394E-9F39-55FF-48FB-6332AC8FBC4A}"/>
              </a:ext>
            </a:extLst>
          </p:cNvPr>
          <p:cNvSpPr>
            <a:spLocks noGrp="1"/>
          </p:cNvSpPr>
          <p:nvPr>
            <p:custDataLst>
              <p:tags r:id="rId258"/>
            </p:custDataLst>
          </p:nvPr>
        </p:nvSpPr>
        <p:spPr bwMode="gray">
          <a:xfrm>
            <a:off x="1219200" y="5224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ED44C-3AEB-4386-8B9D-9957FE07218A}" type="datetime'''''62''''''''''''''.''''''''''''''0'''''''">
              <a:rPr lang="ja-JP" altLang="en-US" sz="1000" smtClean="0">
                <a:effectLst/>
                <a:sym typeface="+mn-lt"/>
              </a:rPr>
              <a:pPr marL="0" lvl="0" indent="0" algn="ctr">
                <a:spcBef>
                  <a:spcPct val="0"/>
                </a:spcBef>
                <a:buNone/>
              </a:pPr>
              <a:t>62.0</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B00C2C10-CCAA-CB77-6A97-827908898747}"/>
              </a:ext>
            </a:extLst>
          </p:cNvPr>
          <p:cNvSpPr>
            <a:spLocks noGrp="1"/>
          </p:cNvSpPr>
          <p:nvPr>
            <p:custDataLst>
              <p:tags r:id="rId259"/>
            </p:custDataLst>
          </p:nvPr>
        </p:nvSpPr>
        <p:spPr bwMode="auto">
          <a:xfrm>
            <a:off x="9921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9E4E4E-EA58-4A3E-8A6D-DAF9B50A60D4}"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825AFFF0-CC1D-59EB-9DC2-94C56AD36F81}"/>
              </a:ext>
            </a:extLst>
          </p:cNvPr>
          <p:cNvSpPr>
            <a:spLocks noGrp="1"/>
          </p:cNvSpPr>
          <p:nvPr>
            <p:custDataLst>
              <p:tags r:id="rId260"/>
            </p:custDataLst>
          </p:nvPr>
        </p:nvSpPr>
        <p:spPr bwMode="gray">
          <a:xfrm>
            <a:off x="928688"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4139BB-F8A4-4AF1-8F2B-60797C831CC5}" type="datetime'''''34''''''''''''''''''''''''''''.''0'">
              <a:rPr lang="ja-JP" altLang="en-US" sz="1000" smtClean="0">
                <a:solidFill>
                  <a:schemeClr val="bg1"/>
                </a:solidFill>
                <a:effectLst/>
                <a:sym typeface="+mn-lt"/>
              </a:rPr>
              <a:pPr marL="0" lvl="0" indent="0" algn="ctr">
                <a:spcBef>
                  <a:spcPct val="0"/>
                </a:spcBef>
                <a:buNone/>
              </a:pPr>
              <a:t>34.0</a:t>
            </a:fld>
            <a:endParaRPr kumimoji="1" lang="ja-JP" altLang="en-US" sz="1000" dirty="0">
              <a:solidFill>
                <a:schemeClr val="bg1"/>
              </a:solidFill>
              <a:sym typeface="+mn-lt"/>
            </a:endParaRPr>
          </a:p>
        </p:txBody>
      </p:sp>
      <p:sp>
        <p:nvSpPr>
          <p:cNvPr id="378" name="テキスト プレースホルダ 9">
            <a:extLst>
              <a:ext uri="{FF2B5EF4-FFF2-40B4-BE49-F238E27FC236}">
                <a16:creationId xmlns:a16="http://schemas.microsoft.com/office/drawing/2014/main" id="{34101FF1-90FE-268B-E892-599C3AE31D32}"/>
              </a:ext>
            </a:extLst>
          </p:cNvPr>
          <p:cNvSpPr>
            <a:spLocks noGrp="1"/>
          </p:cNvSpPr>
          <p:nvPr>
            <p:custDataLst>
              <p:tags r:id="rId261"/>
            </p:custDataLst>
          </p:nvPr>
        </p:nvSpPr>
        <p:spPr bwMode="gray">
          <a:xfrm>
            <a:off x="928688" y="5216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81B9B1-570C-4BC6-B391-5A5B96038C00}" type="datetime'6''''''''1''''''''''.''1'''''''''''''''''''''''''''''''">
              <a:rPr lang="ja-JP" altLang="en-US" sz="1000" smtClean="0">
                <a:effectLst/>
                <a:sym typeface="+mn-lt"/>
              </a:rPr>
              <a:pPr marL="0" lvl="0" indent="0" algn="ctr">
                <a:spcBef>
                  <a:spcPct val="0"/>
                </a:spcBef>
                <a:buNone/>
              </a:pPr>
              <a:t>61.1</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0F55497B-5A69-5E36-7722-C6999DFACB16}"/>
              </a:ext>
            </a:extLst>
          </p:cNvPr>
          <p:cNvSpPr>
            <a:spLocks noGrp="1"/>
          </p:cNvSpPr>
          <p:nvPr>
            <p:custDataLst>
              <p:tags r:id="rId262"/>
            </p:custDataLst>
          </p:nvPr>
        </p:nvSpPr>
        <p:spPr bwMode="auto">
          <a:xfrm>
            <a:off x="630238"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85AE1-B3F2-4FDC-95ED-EA0727E23D1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793BDE39-1921-CC96-2B0E-7A8B13F847D1}"/>
              </a:ext>
            </a:extLst>
          </p:cNvPr>
          <p:cNvSpPr>
            <a:spLocks noGrp="1"/>
          </p:cNvSpPr>
          <p:nvPr>
            <p:custDataLst>
              <p:tags r:id="rId263"/>
            </p:custDataLst>
          </p:nvPr>
        </p:nvSpPr>
        <p:spPr bwMode="gray">
          <a:xfrm>
            <a:off x="636588" y="5878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6CB89D-C2E1-470E-A08B-8689CFB0FEF6}" type="datetime'3''''4''''''''''.''''''''''''9'''''''''''''''''''">
              <a:rPr lang="ja-JP" altLang="en-US" sz="1000" smtClean="0">
                <a:solidFill>
                  <a:schemeClr val="bg1"/>
                </a:solidFill>
                <a:effectLst/>
                <a:sym typeface="+mn-lt"/>
              </a:rPr>
              <a:pPr marL="0" lvl="0" indent="0" algn="ctr">
                <a:spcBef>
                  <a:spcPct val="0"/>
                </a:spcBef>
                <a:buNone/>
              </a:pPr>
              <a:t>34.9</a:t>
            </a:fld>
            <a:endParaRPr kumimoji="1" lang="ja-JP" altLang="en-US" sz="1000" dirty="0">
              <a:solidFill>
                <a:schemeClr val="bg1"/>
              </a:solidFill>
              <a:sym typeface="+mn-lt"/>
            </a:endParaRPr>
          </a:p>
        </p:txBody>
      </p:sp>
      <p:sp>
        <p:nvSpPr>
          <p:cNvPr id="376" name="テキスト プレースホルダ 9">
            <a:extLst>
              <a:ext uri="{FF2B5EF4-FFF2-40B4-BE49-F238E27FC236}">
                <a16:creationId xmlns:a16="http://schemas.microsoft.com/office/drawing/2014/main" id="{915DDA7C-9D03-ED46-6AB6-C51409C95C39}"/>
              </a:ext>
            </a:extLst>
          </p:cNvPr>
          <p:cNvSpPr>
            <a:spLocks noGrp="1"/>
          </p:cNvSpPr>
          <p:nvPr>
            <p:custDataLst>
              <p:tags r:id="rId264"/>
            </p:custDataLst>
          </p:nvPr>
        </p:nvSpPr>
        <p:spPr bwMode="gray">
          <a:xfrm>
            <a:off x="636588"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AAB9AD-298E-4D99-9FFA-9AB86959BA9D}" type="datetime'''''60''''''''''''.''''''''''''''''''''''''''''''''''''''3'">
              <a:rPr lang="ja-JP" altLang="en-US" sz="1000" smtClean="0">
                <a:effectLst/>
                <a:sym typeface="+mn-lt"/>
              </a:rPr>
              <a:pPr marL="0" lvl="0" indent="0" algn="ctr">
                <a:spcBef>
                  <a:spcPct val="0"/>
                </a:spcBef>
                <a:buNone/>
              </a:pPr>
              <a:t>60.3</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B56BCE20-1047-A2D9-3778-E0EC884B1845}"/>
              </a:ext>
            </a:extLst>
          </p:cNvPr>
          <p:cNvSpPr>
            <a:spLocks noGrp="1"/>
          </p:cNvSpPr>
          <p:nvPr>
            <p:custDataLst>
              <p:tags r:id="rId265"/>
            </p:custDataLst>
          </p:nvPr>
        </p:nvSpPr>
        <p:spPr bwMode="auto">
          <a:xfrm>
            <a:off x="85725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BCB52-A2FD-477B-916E-38A40CE902DF}" type="datetime'''''4''''''''''''''''''''''''''0'''''''''''''''''''''''">
              <a:rPr lang="ja-JP" altLang="en-US" sz="1000" smtClean="0"/>
              <a:pPr/>
              <a:t>40</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5DBFB3BC-B932-4E0B-4D37-1425CCA9FA4B}"/>
              </a:ext>
            </a:extLst>
          </p:cNvPr>
          <p:cNvSpPr>
            <a:spLocks noGrp="1"/>
          </p:cNvSpPr>
          <p:nvPr>
            <p:custDataLst>
              <p:tags r:id="rId266"/>
            </p:custDataLst>
          </p:nvPr>
        </p:nvSpPr>
        <p:spPr bwMode="gray">
          <a:xfrm>
            <a:off x="8509000" y="5962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248717-5612-4F07-B02D-BAAA098C6796}" type="datetime'''2''2''''''''.''''9'''''''''''''''''''''''''''''''''''''''''">
              <a:rPr lang="ja-JP" altLang="en-US" sz="1000" smtClean="0">
                <a:solidFill>
                  <a:schemeClr val="bg1"/>
                </a:solidFill>
                <a:effectLst/>
                <a:sym typeface="+mn-lt"/>
              </a:rPr>
              <a:pPr marL="0" lvl="0" indent="0" algn="ctr">
                <a:spcBef>
                  <a:spcPct val="0"/>
                </a:spcBef>
                <a:buNone/>
              </a:pPr>
              <a:t>22.9</a:t>
            </a:fld>
            <a:endParaRPr kumimoji="1" lang="ja-JP" altLang="en-US" sz="1000" dirty="0">
              <a:solidFill>
                <a:schemeClr val="bg1"/>
              </a:solidFill>
              <a:sym typeface="+mn-lt"/>
            </a:endParaRPr>
          </a:p>
        </p:txBody>
      </p:sp>
      <p:sp>
        <p:nvSpPr>
          <p:cNvPr id="428" name="テキスト プレースホルダ 9">
            <a:extLst>
              <a:ext uri="{FF2B5EF4-FFF2-40B4-BE49-F238E27FC236}">
                <a16:creationId xmlns:a16="http://schemas.microsoft.com/office/drawing/2014/main" id="{0D01DDEA-EFF2-96DF-F6F7-43F1D3B057E4}"/>
              </a:ext>
            </a:extLst>
          </p:cNvPr>
          <p:cNvSpPr>
            <a:spLocks noGrp="1"/>
          </p:cNvSpPr>
          <p:nvPr>
            <p:custDataLst>
              <p:tags r:id="rId267"/>
            </p:custDataLst>
          </p:nvPr>
        </p:nvSpPr>
        <p:spPr bwMode="gray">
          <a:xfrm>
            <a:off x="8799513"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337FA7-E403-453A-94C0-B0E40818F4C4}" type="datetime'''''''6''''7''.''''''''''''''''''''''''''''''''''''''''''''2'">
              <a:rPr lang="ja-JP" altLang="en-US" sz="1000" smtClean="0">
                <a:effectLst/>
                <a:sym typeface="+mn-lt"/>
              </a:rPr>
              <a:pPr marL="0" lvl="0" indent="0" algn="ctr">
                <a:spcBef>
                  <a:spcPct val="0"/>
                </a:spcBef>
                <a:buNone/>
              </a:pPr>
              <a:t>67.2</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F27E8D04-6EC9-8A1E-C395-260294DFC9CF}"/>
              </a:ext>
            </a:extLst>
          </p:cNvPr>
          <p:cNvSpPr>
            <a:spLocks noGrp="1"/>
          </p:cNvSpPr>
          <p:nvPr>
            <p:custDataLst>
              <p:tags r:id="rId268"/>
            </p:custDataLst>
          </p:nvPr>
        </p:nvSpPr>
        <p:spPr bwMode="gray">
          <a:xfrm>
            <a:off x="8799513"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FA017-2CAA-49ED-8FE9-938437FAD387}" type="datetime'''''''''2''''''''''''''''''1.''''''''''''''''''5'">
              <a:rPr lang="ja-JP" altLang="en-US" sz="1000" smtClean="0">
                <a:solidFill>
                  <a:schemeClr val="bg1"/>
                </a:solidFill>
                <a:effectLst/>
                <a:sym typeface="+mn-lt"/>
              </a:rPr>
              <a:pPr marL="0" lvl="0" indent="0" algn="ctr">
                <a:spcBef>
                  <a:spcPct val="0"/>
                </a:spcBef>
                <a:buNone/>
              </a:pPr>
              <a:t>21.5</a:t>
            </a:fld>
            <a:endParaRPr kumimoji="1" lang="ja-JP" altLang="en-US" sz="1000" dirty="0">
              <a:solidFill>
                <a:schemeClr val="bg1"/>
              </a:solidFill>
              <a:sym typeface="+mn-lt"/>
            </a:endParaRPr>
          </a:p>
        </p:txBody>
      </p:sp>
      <p:sp>
        <p:nvSpPr>
          <p:cNvPr id="40" name="テキスト プレースホルダ 9">
            <a:extLst>
              <a:ext uri="{FF2B5EF4-FFF2-40B4-BE49-F238E27FC236}">
                <a16:creationId xmlns:a16="http://schemas.microsoft.com/office/drawing/2014/main" id="{3EAEE3D2-43D2-9068-AEBB-76FF9CB67BE8}"/>
              </a:ext>
            </a:extLst>
          </p:cNvPr>
          <p:cNvSpPr>
            <a:spLocks noGrp="1"/>
          </p:cNvSpPr>
          <p:nvPr>
            <p:custDataLst>
              <p:tags r:id="rId269"/>
            </p:custDataLst>
          </p:nvPr>
        </p:nvSpPr>
        <p:spPr bwMode="auto">
          <a:xfrm>
            <a:off x="76977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570C3-6FE0-450A-AD38-42B3B5569041}" type="datetime'''''''''''''''''''''''''''''''24'''''''''''''''''''''''''">
              <a:rPr lang="ja-JP" altLang="en-US" sz="1000" smtClean="0"/>
              <a:pPr/>
              <a:t>24</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18AD0BD0-7E5B-CAD8-DE56-ECB076778F0A}"/>
              </a:ext>
            </a:extLst>
          </p:cNvPr>
          <p:cNvSpPr>
            <a:spLocks noGrp="1"/>
          </p:cNvSpPr>
          <p:nvPr>
            <p:custDataLst>
              <p:tags r:id="rId270"/>
            </p:custDataLst>
          </p:nvPr>
        </p:nvSpPr>
        <p:spPr bwMode="auto">
          <a:xfrm>
            <a:off x="7988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39C518-E152-4BC9-BA63-E094F884CFC4}" type="datetime'''''''''2''5'''''''''''''''''''''''''''''''''">
              <a:rPr lang="ja-JP" altLang="en-US" sz="1000" smtClean="0"/>
              <a:pPr/>
              <a:t>25</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A80AFD71-6B82-13AF-5E9E-26FEA1C59009}"/>
              </a:ext>
            </a:extLst>
          </p:cNvPr>
          <p:cNvSpPr>
            <a:spLocks noGrp="1"/>
          </p:cNvSpPr>
          <p:nvPr>
            <p:custDataLst>
              <p:tags r:id="rId271"/>
            </p:custDataLst>
          </p:nvPr>
        </p:nvSpPr>
        <p:spPr bwMode="gray">
          <a:xfrm>
            <a:off x="7634288" y="5942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EEA31C-CDD7-4DF0-B299-B8D390CBEAE3}" type="datetime'''''''''25''''''''''''''''''''''''''''.''''''9'''''''''''">
              <a:rPr lang="ja-JP" altLang="en-US" sz="1000" smtClean="0">
                <a:solidFill>
                  <a:schemeClr val="bg1"/>
                </a:solidFill>
                <a:effectLst/>
              </a:rPr>
              <a:pPr/>
              <a:t>25.9</a:t>
            </a:fld>
            <a:endParaRPr kumimoji="1" lang="ja-JP" altLang="en-US" sz="1000" dirty="0">
              <a:solidFill>
                <a:schemeClr val="bg1"/>
              </a:solidFill>
              <a:sym typeface="+mn-lt"/>
            </a:endParaRPr>
          </a:p>
        </p:txBody>
      </p:sp>
      <p:sp>
        <p:nvSpPr>
          <p:cNvPr id="485" name="テキスト プレースホルダ 9">
            <a:extLst>
              <a:ext uri="{FF2B5EF4-FFF2-40B4-BE49-F238E27FC236}">
                <a16:creationId xmlns:a16="http://schemas.microsoft.com/office/drawing/2014/main" id="{69832530-B7EB-1A86-F729-9E492EB251F0}"/>
              </a:ext>
            </a:extLst>
          </p:cNvPr>
          <p:cNvSpPr>
            <a:spLocks noGrp="1"/>
          </p:cNvSpPr>
          <p:nvPr>
            <p:custDataLst>
              <p:tags r:id="rId272"/>
            </p:custDataLst>
          </p:nvPr>
        </p:nvSpPr>
        <p:spPr bwMode="auto">
          <a:xfrm>
            <a:off x="8863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D059D-8B6D-40EC-B6B1-327F076FA362}" type="datetime'50'''''''''''">
              <a:rPr lang="ja-JP" altLang="en-US" sz="1000" smtClean="0"/>
              <a:pPr/>
              <a:t>50</a:t>
            </a:fld>
            <a:endParaRPr kumimoji="1" lang="ja-JP" altLang="en-US" sz="1000" dirty="0">
              <a:sym typeface="+mn-lt"/>
            </a:endParaRPr>
          </a:p>
        </p:txBody>
      </p:sp>
      <p:sp>
        <p:nvSpPr>
          <p:cNvPr id="125" name="Text Placeholder 12"/>
          <p:cNvSpPr>
            <a:spLocks noGrp="1"/>
          </p:cNvSpPr>
          <p:nvPr>
            <p:custDataLst>
              <p:tags r:id="rId273"/>
            </p:custDataLst>
          </p:nvPr>
        </p:nvSpPr>
        <p:spPr bwMode="auto">
          <a:xfrm>
            <a:off x="9132888" y="47990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274"/>
            </p:custDataLst>
          </p:nvPr>
        </p:nvSpPr>
        <p:spPr bwMode="auto">
          <a:xfrm>
            <a:off x="9132888" y="53498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57" name="テキスト プレースホルダ 9">
            <a:extLst>
              <a:ext uri="{FF2B5EF4-FFF2-40B4-BE49-F238E27FC236}">
                <a16:creationId xmlns:a16="http://schemas.microsoft.com/office/drawing/2014/main" id="{1A844223-5BA3-8FB7-4D97-D4AF4437ECDC}"/>
              </a:ext>
            </a:extLst>
          </p:cNvPr>
          <p:cNvSpPr>
            <a:spLocks noGrp="1"/>
          </p:cNvSpPr>
          <p:nvPr>
            <p:custDataLst>
              <p:tags r:id="rId275"/>
            </p:custDataLst>
          </p:nvPr>
        </p:nvSpPr>
        <p:spPr bwMode="gray">
          <a:xfrm>
            <a:off x="7924800"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1522FE-CF1F-4342-80DF-D7D1D7853702}" type="datetime'''2''''''''''''5''''''''''''''''''''''''''''''''''''''.''7'''">
              <a:rPr lang="ja-JP" altLang="en-US" sz="1000" smtClean="0">
                <a:solidFill>
                  <a:schemeClr val="bg1"/>
                </a:solidFill>
                <a:effectLst/>
              </a:rPr>
              <a:pPr/>
              <a:t>25.7</a:t>
            </a:fld>
            <a:endParaRPr kumimoji="1" lang="ja-JP" altLang="en-US" sz="1000" dirty="0">
              <a:solidFill>
                <a:schemeClr val="bg1"/>
              </a:solidFill>
              <a:sym typeface="+mn-lt"/>
            </a:endParaRPr>
          </a:p>
        </p:txBody>
      </p:sp>
      <p:sp>
        <p:nvSpPr>
          <p:cNvPr id="458" name="テキスト プレースホルダ 9">
            <a:extLst>
              <a:ext uri="{FF2B5EF4-FFF2-40B4-BE49-F238E27FC236}">
                <a16:creationId xmlns:a16="http://schemas.microsoft.com/office/drawing/2014/main" id="{53EF0DE5-2961-09B1-DB34-28E39551E98F}"/>
              </a:ext>
            </a:extLst>
          </p:cNvPr>
          <p:cNvSpPr>
            <a:spLocks noGrp="1"/>
          </p:cNvSpPr>
          <p:nvPr>
            <p:custDataLst>
              <p:tags r:id="rId276"/>
            </p:custDataLst>
          </p:nvPr>
        </p:nvSpPr>
        <p:spPr bwMode="gray">
          <a:xfrm>
            <a:off x="7634288" y="5287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1A325-4FEC-4963-9463-D6C3A6E436C8}" type="datetime'''''''''''''''''''''''''''''6''''''''7.''''4'''''''''''''''">
              <a:rPr lang="ja-JP" altLang="en-US" sz="1000" smtClean="0">
                <a:effectLst/>
              </a:rPr>
              <a:pPr/>
              <a:t>67.4</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C9DCCF14-4BA5-EABF-4CA5-486D2DB61B1B}"/>
              </a:ext>
            </a:extLst>
          </p:cNvPr>
          <p:cNvSpPr>
            <a:spLocks noGrp="1"/>
          </p:cNvSpPr>
          <p:nvPr>
            <p:custDataLst>
              <p:tags r:id="rId277"/>
            </p:custDataLst>
          </p:nvPr>
        </p:nvSpPr>
        <p:spPr bwMode="gray">
          <a:xfrm>
            <a:off x="7924800" y="5291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5D935-43E4-44F2-9F6C-2BE1519BC0A8}" type="datetime'''''''''''6''''7''''''.4'">
              <a:rPr lang="ja-JP" altLang="en-US" sz="1000" smtClean="0">
                <a:effectLst/>
              </a:rPr>
              <a:pPr/>
              <a:t>67.4</a:t>
            </a:fld>
            <a:endParaRPr kumimoji="1" lang="ja-JP" altLang="en-US" sz="1000" dirty="0">
              <a:sym typeface="+mn-lt"/>
            </a:endParaRPr>
          </a:p>
        </p:txBody>
      </p:sp>
      <p:sp>
        <p:nvSpPr>
          <p:cNvPr id="127" name="Text Placeholder 12"/>
          <p:cNvSpPr>
            <a:spLocks noGrp="1"/>
          </p:cNvSpPr>
          <p:nvPr>
            <p:custDataLst>
              <p:tags r:id="rId278"/>
            </p:custDataLst>
          </p:nvPr>
        </p:nvSpPr>
        <p:spPr bwMode="auto">
          <a:xfrm>
            <a:off x="9132888" y="59737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483" name="テキスト プレースホルダ 9">
            <a:extLst>
              <a:ext uri="{FF2B5EF4-FFF2-40B4-BE49-F238E27FC236}">
                <a16:creationId xmlns:a16="http://schemas.microsoft.com/office/drawing/2014/main" id="{83CCFCEE-8865-8799-5C1F-8CA9E903B136}"/>
              </a:ext>
            </a:extLst>
          </p:cNvPr>
          <p:cNvSpPr>
            <a:spLocks noGrp="1"/>
          </p:cNvSpPr>
          <p:nvPr>
            <p:custDataLst>
              <p:tags r:id="rId279"/>
            </p:custDataLst>
          </p:nvPr>
        </p:nvSpPr>
        <p:spPr bwMode="auto">
          <a:xfrm>
            <a:off x="8280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A01C21-72C6-47D3-BB4A-6824B5350789}" type="datetime'''''''30'''">
              <a:rPr lang="ja-JP" altLang="en-US" sz="1000" smtClean="0"/>
              <a:pPr/>
              <a:t>30</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C9C3F3E2-C32E-880D-4D3E-B03E9D9C0AA1}"/>
              </a:ext>
            </a:extLst>
          </p:cNvPr>
          <p:cNvSpPr>
            <a:spLocks noGrp="1"/>
          </p:cNvSpPr>
          <p:nvPr>
            <p:custDataLst>
              <p:tags r:id="rId280"/>
            </p:custDataLst>
          </p:nvPr>
        </p:nvSpPr>
        <p:spPr bwMode="gray">
          <a:xfrm>
            <a:off x="8216900"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A35044-8D87-4FDB-86FD-FA2AF8766F82}" type="datetime'2''''''''5''''.2'''''''''''''''''''''''''''''">
              <a:rPr lang="ja-JP" altLang="en-US" sz="1000" smtClean="0">
                <a:solidFill>
                  <a:schemeClr val="bg1"/>
                </a:solidFill>
                <a:effectLst/>
                <a:sym typeface="+mn-lt"/>
              </a:rPr>
              <a:pPr marL="0" lvl="0" indent="0" algn="ctr">
                <a:spcBef>
                  <a:spcPct val="0"/>
                </a:spcBef>
                <a:buNone/>
              </a:pPr>
              <a:t>25.2</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extLst>
              <p:ext uri="{D42A27DB-BD31-4B8C-83A1-F6EECF244321}">
                <p14:modId xmlns:p14="http://schemas.microsoft.com/office/powerpoint/2010/main" val="228070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目標に国民皆保険の導入を目指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南アフリカ政府の医療関連の政策と目標について下記に列記する。</a:t>
            </a:r>
          </a:p>
        </p:txBody>
      </p:sp>
      <p:sp>
        <p:nvSpPr>
          <p:cNvPr id="12" name="テキスト ボックス 11"/>
          <p:cNvSpPr txBox="1"/>
          <p:nvPr/>
        </p:nvSpPr>
        <p:spPr>
          <a:xfrm>
            <a:off x="200472" y="6597118"/>
            <a:ext cx="8784976" cy="144016"/>
          </a:xfrm>
          <a:prstGeom prst="rect">
            <a:avLst/>
          </a:prstGeom>
          <a:noFill/>
        </p:spPr>
        <p:txBody>
          <a:bodyPr wrap="square" lIns="0" tIns="0" rIns="0" bIns="0" rtlCol="0">
            <a:noAutofit/>
          </a:bodyPr>
          <a:lstStyle/>
          <a:p>
            <a:pPr marL="355600" indent="-355600"/>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static.pmg.org.za/National_Department_of_Health_APP_2022-23.pdf</a:t>
            </a:r>
            <a:endParaRPr lang="ja-JP" altLang="en-US" sz="800" dirty="0"/>
          </a:p>
        </p:txBody>
      </p:sp>
      <p:sp>
        <p:nvSpPr>
          <p:cNvPr id="9" name="TextBox 8">
            <a:extLst>
              <a:ext uri="{FF2B5EF4-FFF2-40B4-BE49-F238E27FC236}">
                <a16:creationId xmlns:a16="http://schemas.microsoft.com/office/drawing/2014/main" id="{03AED809-247D-4D7A-B2D2-4BD83B8769E9}"/>
              </a:ext>
            </a:extLst>
          </p:cNvPr>
          <p:cNvSpPr txBox="1"/>
          <p:nvPr/>
        </p:nvSpPr>
        <p:spPr>
          <a:xfrm>
            <a:off x="2048756" y="2425507"/>
            <a:ext cx="4896544" cy="21975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健康に影響を与える社会的決定要因に対処するを解決する。</a:t>
            </a:r>
          </a:p>
          <a:p>
            <a:r>
              <a:rPr lang="en-US" altLang="ja-JP" sz="1200" dirty="0"/>
              <a:t> </a:t>
            </a:r>
            <a:r>
              <a:rPr lang="ja-JP" altLang="en-US" sz="1200" dirty="0"/>
              <a:t>保健システムを強化する。</a:t>
            </a:r>
          </a:p>
          <a:p>
            <a:r>
              <a:rPr lang="en-US" altLang="ja-JP" sz="1200" dirty="0"/>
              <a:t> </a:t>
            </a:r>
            <a:r>
              <a:rPr lang="ja-JP" altLang="en-US" sz="1200" dirty="0"/>
              <a:t>健康情報システムを改善する。</a:t>
            </a:r>
          </a:p>
          <a:p>
            <a:r>
              <a:rPr lang="en-US" altLang="ja-JP" sz="1200" dirty="0"/>
              <a:t> </a:t>
            </a:r>
            <a:r>
              <a:rPr lang="ja-JP" altLang="en-US" sz="1200" dirty="0"/>
              <a:t>疾病負担を予防・軽減し健康増進に寄与する。</a:t>
            </a:r>
          </a:p>
          <a:p>
            <a:r>
              <a:rPr lang="ja-JP" altLang="en-US" sz="1200" dirty="0"/>
              <a:t> 国民皆保険の財源を確保する。</a:t>
            </a:r>
          </a:p>
          <a:p>
            <a:r>
              <a:rPr lang="ja-JP" altLang="en-US" sz="1200" dirty="0"/>
              <a:t>保健分野の人的資源を改善する。</a:t>
            </a:r>
          </a:p>
          <a:p>
            <a:r>
              <a:rPr lang="ja-JP" altLang="en-US" sz="1200" dirty="0"/>
              <a:t>管理職の地位と任命を見直し、説明責任メカニズムを強化する</a:t>
            </a:r>
          </a:p>
          <a:p>
            <a:r>
              <a:rPr lang="ja-JP" altLang="en-US" sz="1200" dirty="0"/>
              <a:t>エビデンスを活用し、質を向上させる。</a:t>
            </a:r>
          </a:p>
          <a:p>
            <a:r>
              <a:rPr lang="ja-JP" altLang="en-US" sz="1200" dirty="0"/>
              <a:t>有意義な官民パートナーシップを確立する。</a:t>
            </a:r>
            <a:endParaRPr lang="en-US" sz="1200" dirty="0"/>
          </a:p>
        </p:txBody>
      </p:sp>
      <p:sp>
        <p:nvSpPr>
          <p:cNvPr id="10" name="Rectangle 9">
            <a:extLst>
              <a:ext uri="{FF2B5EF4-FFF2-40B4-BE49-F238E27FC236}">
                <a16:creationId xmlns:a16="http://schemas.microsoft.com/office/drawing/2014/main" id="{418F865A-E45E-44E8-8D2F-3180B45C8A0A}"/>
              </a:ext>
            </a:extLst>
          </p:cNvPr>
          <p:cNvSpPr>
            <a:spLocks noChangeArrowheads="1"/>
          </p:cNvSpPr>
          <p:nvPr/>
        </p:nvSpPr>
        <p:spPr bwMode="auto">
          <a:xfrm>
            <a:off x="2144688" y="2028610"/>
            <a:ext cx="4608512" cy="3678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開発計画</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に含まれる医療・保健関連の政策と目標</a:t>
            </a:r>
            <a:endParaRPr lang="en-US" altLang="ja-JP" sz="1400" dirty="0">
              <a:solidFill>
                <a:srgbClr val="000000"/>
              </a:solidFill>
              <a:latin typeface="Arial Black" pitchFamily="34" charset="0"/>
              <a:ea typeface="HGP創英角ｺﾞｼｯｸUB" pitchFamily="50" charset="-128"/>
            </a:endParaRPr>
          </a:p>
        </p:txBody>
      </p:sp>
      <p:sp>
        <p:nvSpPr>
          <p:cNvPr id="14" name="TextBox 13">
            <a:extLst>
              <a:ext uri="{FF2B5EF4-FFF2-40B4-BE49-F238E27FC236}">
                <a16:creationId xmlns:a16="http://schemas.microsoft.com/office/drawing/2014/main" id="{08322435-1635-4F2B-B4DF-BD68543E43AE}"/>
              </a:ext>
            </a:extLst>
          </p:cNvPr>
          <p:cNvSpPr txBox="1"/>
          <p:nvPr/>
        </p:nvSpPr>
        <p:spPr>
          <a:xfrm>
            <a:off x="2094528" y="5315356"/>
            <a:ext cx="4298632" cy="7017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t>20</a:t>
            </a:r>
            <a:r>
              <a:rPr lang="en-US" altLang="ja-JP" sz="1200" dirty="0"/>
              <a:t>24</a:t>
            </a:r>
            <a:r>
              <a:rPr lang="ja-JP" altLang="en-US" sz="1200" dirty="0"/>
              <a:t>年に平均寿命を</a:t>
            </a:r>
            <a:r>
              <a:rPr lang="en-US" altLang="ja-JP" sz="1200" dirty="0"/>
              <a:t>66.6</a:t>
            </a:r>
            <a:r>
              <a:rPr lang="ja-JP" altLang="en-US" sz="1200" dirty="0"/>
              <a:t>歳、</a:t>
            </a:r>
            <a:r>
              <a:rPr lang="en-US" altLang="ja-JP" sz="1200" dirty="0"/>
              <a:t>2030</a:t>
            </a:r>
            <a:r>
              <a:rPr lang="ja-JP" altLang="en-US" sz="1200" dirty="0"/>
              <a:t>年には</a:t>
            </a:r>
            <a:r>
              <a:rPr lang="en-US" altLang="ja-JP" sz="1200" dirty="0"/>
              <a:t>70</a:t>
            </a:r>
            <a:r>
              <a:rPr lang="ja-JP" altLang="en-US" sz="1200" dirty="0"/>
              <a:t>歳に延ばす。</a:t>
            </a:r>
          </a:p>
          <a:p>
            <a:pPr marL="0" indent="0">
              <a:buNone/>
            </a:pPr>
            <a:r>
              <a:rPr lang="ja-JP" altLang="en-US" sz="1200" dirty="0"/>
              <a:t>国民皆保険制度が段階的な達成され、全ての国民が医療を受けることによる壊滅的な経済的影響を受けないように保護する。</a:t>
            </a:r>
            <a:endParaRPr lang="en-US" sz="1200" dirty="0"/>
          </a:p>
        </p:txBody>
      </p:sp>
      <p:sp>
        <p:nvSpPr>
          <p:cNvPr id="6" name="Isosceles Triangle 5">
            <a:extLst>
              <a:ext uri="{FF2B5EF4-FFF2-40B4-BE49-F238E27FC236}">
                <a16:creationId xmlns:a16="http://schemas.microsoft.com/office/drawing/2014/main" id="{AE0FC31D-97BC-4FE2-AAD0-45FA077E4FA8}"/>
              </a:ext>
            </a:extLst>
          </p:cNvPr>
          <p:cNvSpPr/>
          <p:nvPr/>
        </p:nvSpPr>
        <p:spPr>
          <a:xfrm flipV="1">
            <a:off x="2720752" y="4941168"/>
            <a:ext cx="2952328" cy="2308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1666645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p:cNvGraphicFramePr>
          <p:nvPr>
            <p:custDataLst>
              <p:tags r:id="rId1"/>
            </p:custDataLst>
            <p:extLst>
              <p:ext uri="{D42A27DB-BD31-4B8C-83A1-F6EECF244321}">
                <p14:modId xmlns:p14="http://schemas.microsoft.com/office/powerpoint/2010/main" val="90535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noProof="1"/>
              <a:t>南アフリカ</a:t>
            </a:r>
            <a:r>
              <a:rPr lang="ja-JP" altLang="en-US" dirty="0"/>
              <a:t>／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南アフリカの医療課題に対処するための主要政策とプログラムのリスト (1/2)</a:t>
            </a:r>
            <a:endParaRPr lang="en-US" altLang="ja-JP"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南アフリカの医療政策の枠組みでは、医療制度強化、プライマリケアの拡大、デジタル統合に支えられ、国民健康保険を通じたユニバーサル・ヘルス・カバレッジが優先されている。</a:t>
            </a:r>
            <a:endParaRPr lang="ja-JP" altLang="en-US" sz="1400" dirty="0">
              <a:latin typeface="MS PGothic (Headings)"/>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extLst>
              <p:ext uri="{D42A27DB-BD31-4B8C-83A1-F6EECF244321}">
                <p14:modId xmlns:p14="http://schemas.microsoft.com/office/powerpoint/2010/main" val="892748643"/>
              </p:ext>
            </p:extLst>
          </p:nvPr>
        </p:nvGraphicFramePr>
        <p:xfrm>
          <a:off x="200472" y="1739997"/>
          <a:ext cx="9505054" cy="46523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JP" altLang="en-US" sz="1100" noProof="1">
                          <a:latin typeface="+mj-ea"/>
                          <a:ea typeface="+mj-ea"/>
                        </a:rPr>
                        <a:t>政策</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936000">
                <a:tc>
                  <a:txBody>
                    <a:bodyPr/>
                    <a:lstStyle/>
                    <a:p>
                      <a:pPr algn="ctr"/>
                      <a:r>
                        <a:rPr kumimoji="1" lang="en-IN" altLang="ja-JP" sz="1000" b="1" noProof="1">
                          <a:latin typeface="+mj-ea"/>
                          <a:ea typeface="+mj-ea"/>
                        </a:rPr>
                        <a:t>国民健康保険法 (National Health Insurance Ac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立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4年、国民健康保険法案は、同国の医療保障を強化するための法律として署名され、第一段階から2026年までと第二段階から2028年までの2段階で実施される予定で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憲法第27条に従い、質の高い医療サービスへの普遍的アクセスを実現することを目指していま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同法の下で、国民健康保険基金が設立され、その権限、機能、ガバナンスを定義し、利用者に代わって基金による医療サービスの戦略的購入を可能にし、国民の健康ニーズを満たすために資源の公平かつ効率的な使用を確保し、基金とその利用者に関連する非倫理的または違法な行為を防止し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044000">
                <a:tc>
                  <a:txBody>
                    <a:bodyPr/>
                    <a:lstStyle/>
                    <a:p>
                      <a:pPr algn="ctr"/>
                      <a:r>
                        <a:rPr kumimoji="1" lang="en-IN" altLang="ja-JP" sz="1000" b="1" noProof="1">
                          <a:latin typeface="+mj-ea"/>
                          <a:ea typeface="+mj-ea"/>
                        </a:rPr>
                        <a:t>保健戦略計画</a:t>
                      </a:r>
                    </a:p>
                    <a:p>
                      <a:pPr algn="ctr"/>
                      <a:r>
                        <a:rPr kumimoji="1" lang="en-IN" altLang="ja-JP" sz="1000" b="1" noProof="1">
                          <a:latin typeface="+mj-ea"/>
                          <a:ea typeface="+mj-ea"/>
                        </a:rPr>
                        <a:t>(Health Strategic Plan)</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203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保健部門を改革するための中期的な省の焦点を反映した戦略計画で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人的資源と医療インフラを最適化することによる保健部門改革の強化、すべてのケアレベルで患者の転帰モニタリングを改善するための統合電子医療記録システムの実施、および国民健康保険の実施を支援するためのプライマリーヘルスケアの強化に焦点を当てていま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疾病、疾病の予防、健康的なライフスタイルの促進を通じて健康状態を改善し、アクセス、効率、質および持続可能性に焦点を当てて医療提供システムを一貫して改善することを目指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r h="1249200">
                <a:tc>
                  <a:txBody>
                    <a:bodyPr/>
                    <a:lstStyle/>
                    <a:p>
                      <a:pPr algn="ctr"/>
                      <a:r>
                        <a:rPr kumimoji="1" lang="en-US" altLang="ja-JP" sz="1000" b="1" dirty="0">
                          <a:latin typeface="+mj-ea"/>
                          <a:ea typeface="+mj-ea"/>
                        </a:rPr>
                        <a:t> </a:t>
                      </a:r>
                      <a:r>
                        <a:rPr kumimoji="1" lang="en-US" altLang="ja-JP" sz="1000" b="1" noProof="1">
                          <a:latin typeface="+mj-ea"/>
                          <a:ea typeface="+mj-ea"/>
                        </a:rPr>
                        <a:t>中期開発計画</a:t>
                      </a:r>
                    </a:p>
                    <a:p>
                      <a:pPr algn="ctr"/>
                      <a:r>
                        <a:rPr kumimoji="1" lang="en-US" altLang="ja-JP" sz="1000" b="1" noProof="1">
                          <a:latin typeface="+mj-ea"/>
                          <a:ea typeface="+mj-ea"/>
                        </a:rPr>
                        <a:t>(Medium Term Development Plan)</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000" noProof="1">
                          <a:latin typeface="+mj-ea"/>
                          <a:ea typeface="+mj-ea"/>
                        </a:rPr>
                        <a:t>2024:-2029</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開発計画は、NDPおよび国民統合政府の優先プログラムの目標と目的に沿って、保健改革と国家開発計画の実施を導くもの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開発の成果に焦点を当て、既存の社会経済的課題に対処するための経済計画として機能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3つの戦略的優先事項を設定している。すなわち、インクルーシブな成長と雇用創出、貧困の削減、高い生活費への対処、および有能で倫理的で発展的な国家である。</a:t>
                      </a:r>
                      <a:r>
                        <a:rPr kumimoji="1" lang="en-US" altLang="ja-JP" sz="1000" dirty="0">
                          <a:latin typeface="+mj-ea"/>
                          <a:ea typeface="+mj-ea"/>
                        </a:rPr>
                        <a:t> </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の目標:</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NHIの実施を通じてUHCを達成し、質の高い医療への公平なアクセスを確保し、市民の財政的困難を軽減す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総合的な医療を提供するために診療所、地域保健センター、在宅サービスの人員と資源を改善することにより、一次医療 (PHC) を強化す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公的医療施設と民間医療施設の両方で基準と患者の安全性を向上させ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労働力管理の改善、インフラの改善、単一の電子医療記録システムの導入を通じて、医療システムの効率性を強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09716228"/>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南アフリカ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p:cNvGraphicFramePr>
          <p:nvPr>
            <p:custDataLst>
              <p:tags r:id="rId1"/>
            </p:custDataLst>
            <p:extLst>
              <p:ext uri="{D42A27DB-BD31-4B8C-83A1-F6EECF244321}">
                <p14:modId xmlns:p14="http://schemas.microsoft.com/office/powerpoint/2010/main" val="427143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ja-JP" altLang="en-US" noProof="1"/>
              <a:t>南アフリカ</a:t>
            </a:r>
            <a:r>
              <a:rPr lang="ja-JP" altLang="en-US" dirty="0"/>
              <a:t>／政策動向</a:t>
            </a:r>
            <a:endParaRPr kumimoji="1" lang="ja-JP" altLang="en-US"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noProof="1"/>
              <a:t>南アフリカの医療課題に対処するための主要政策とプログラムのリスト (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1621848764"/>
              </p:ext>
            </p:extLst>
          </p:nvPr>
        </p:nvGraphicFramePr>
        <p:xfrm>
          <a:off x="200025" y="1646223"/>
          <a:ext cx="9505054" cy="4662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JP" altLang="en-US" sz="1100" noProof="1">
                          <a:latin typeface="+mj-ea"/>
                          <a:ea typeface="+mj-ea"/>
                        </a:rPr>
                        <a:t>政策</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dirty="0">
                          <a:latin typeface="+mj-ea"/>
                          <a:ea typeface="+mj-ea"/>
                        </a:rPr>
                        <a:t> </a:t>
                      </a:r>
                      <a:r>
                        <a:rPr kumimoji="1" lang="en-IN" altLang="ja-JP" sz="1000" b="1" noProof="1">
                          <a:latin typeface="+mj-ea"/>
                          <a:ea typeface="+mj-ea"/>
                        </a:rPr>
                        <a:t>大統領健康</a:t>
                      </a:r>
                    </a:p>
                    <a:p>
                      <a:pPr algn="ctr"/>
                      <a:r>
                        <a:rPr kumimoji="1" lang="en-IN" altLang="ja-JP" sz="1000" b="1" noProof="1">
                          <a:latin typeface="+mj-ea"/>
                          <a:ea typeface="+mj-ea"/>
                        </a:rPr>
                        <a:t>コンパクト</a:t>
                      </a:r>
                    </a:p>
                    <a:p>
                      <a:pPr algn="ctr"/>
                      <a:r>
                        <a:rPr kumimoji="1" lang="en-IN" altLang="ja-JP" sz="1000" b="1" noProof="1">
                          <a:latin typeface="+mj-ea"/>
                          <a:ea typeface="+mj-ea"/>
                        </a:rPr>
                        <a:t>(Presidential Health Compac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000" noProof="1">
                          <a:latin typeface="+mj-ea"/>
                          <a:ea typeface="+mj-ea"/>
                        </a:rPr>
                        <a:t>2024-2029</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南アフリカ大統領と国家保健省 (NDo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統一され、統合され、迅速な保健システムを構築するために、優先分野を特定し、9本柱の行動計画を実施するための主要な利害関係者による合意とコミットメント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協定は、医療サービスを強化し、国民の健康成果を向上させるために、政府と労働者、民間部門、市民社会、コミュニティを含む利害関係者との間の協調的な取り組みを促進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協定の柱は以下のとおりである。</a:t>
                      </a:r>
                      <a:r>
                        <a:rPr kumimoji="1" lang="en-US" altLang="ja-JP" sz="1000" dirty="0">
                          <a:latin typeface="+mj-ea"/>
                          <a:ea typeface="+mj-ea"/>
                        </a:rPr>
                        <a:t> </a:t>
                      </a:r>
                      <a:r>
                        <a:rPr kumimoji="1" lang="en-US" altLang="ja-JP" sz="1000" noProof="1">
                          <a:latin typeface="+mj-ea"/>
                          <a:ea typeface="+mj-ea"/>
                        </a:rPr>
                        <a:t>1.保健業務計画のための人的資源の強化2。</a:t>
                      </a:r>
                      <a:r>
                        <a:rPr kumimoji="1" lang="en-US" altLang="ja-JP" sz="1000" dirty="0">
                          <a:latin typeface="+mj-ea"/>
                          <a:ea typeface="+mj-ea"/>
                        </a:rPr>
                        <a:t> </a:t>
                      </a:r>
                      <a:r>
                        <a:rPr kumimoji="1" lang="en-US" altLang="ja-JP" sz="1000" noProof="1">
                          <a:latin typeface="+mj-ea"/>
                          <a:ea typeface="+mj-ea"/>
                        </a:rPr>
                        <a:t>必須医薬品、ワクチン、医療製品へのより良いアクセスを確保するために、サプライチェーン、設備、機械管理を改善する3。</a:t>
                      </a:r>
                      <a:r>
                        <a:rPr kumimoji="1" lang="en-US" altLang="ja-JP" sz="1000" dirty="0">
                          <a:latin typeface="+mj-ea"/>
                          <a:ea typeface="+mj-ea"/>
                        </a:rPr>
                        <a:t> </a:t>
                      </a:r>
                      <a:r>
                        <a:rPr kumimoji="1" lang="en-US" altLang="ja-JP" sz="1000" noProof="1">
                          <a:latin typeface="+mj-ea"/>
                          <a:ea typeface="+mj-ea"/>
                        </a:rPr>
                        <a:t>十分かつ適切に配分され、十分に維持された医療施設を確保するためのインフラ計画を実施する4。</a:t>
                      </a:r>
                      <a:r>
                        <a:rPr kumimoji="1" lang="en-US" altLang="ja-JP" sz="1000" dirty="0">
                          <a:latin typeface="+mj-ea"/>
                          <a:ea typeface="+mj-ea"/>
                        </a:rPr>
                        <a:t> </a:t>
                      </a:r>
                      <a:r>
                        <a:rPr kumimoji="1" lang="en-US" altLang="ja-JP" sz="1000" noProof="1">
                          <a:latin typeface="+mj-ea"/>
                          <a:ea typeface="+mj-ea"/>
                        </a:rPr>
                        <a:t>保健サービスへのアクセス、適用範囲、質を改善するために民間部門を関与させる5。</a:t>
                      </a:r>
                      <a:r>
                        <a:rPr kumimoji="1" lang="en-US" altLang="ja-JP" sz="1000" dirty="0">
                          <a:latin typeface="+mj-ea"/>
                          <a:ea typeface="+mj-ea"/>
                        </a:rPr>
                        <a:t> </a:t>
                      </a:r>
                      <a:r>
                        <a:rPr kumimoji="1" lang="en-US" altLang="ja-JP" sz="1000" noProof="1">
                          <a:latin typeface="+mj-ea"/>
                          <a:ea typeface="+mj-ea"/>
                        </a:rPr>
                        <a:t>一次医療に焦点を当てて、保健サービスの質、安全性、量を改善する6。</a:t>
                      </a:r>
                      <a:r>
                        <a:rPr kumimoji="1" lang="en-US" altLang="ja-JP" sz="1000" dirty="0">
                          <a:latin typeface="+mj-ea"/>
                          <a:ea typeface="+mj-ea"/>
                        </a:rPr>
                        <a:t> </a:t>
                      </a:r>
                      <a:r>
                        <a:rPr kumimoji="1" lang="en-US" altLang="ja-JP" sz="1000" noProof="1">
                          <a:latin typeface="+mj-ea"/>
                          <a:ea typeface="+mj-ea"/>
                        </a:rPr>
                        <a:t>公共部門の財務管理システムとプロセスの効率性を改善する7。</a:t>
                      </a:r>
                      <a:r>
                        <a:rPr kumimoji="1" lang="en-US" altLang="ja-JP" sz="1000" dirty="0">
                          <a:latin typeface="+mj-ea"/>
                          <a:ea typeface="+mj-ea"/>
                        </a:rPr>
                        <a:t> </a:t>
                      </a:r>
                      <a:r>
                        <a:rPr kumimoji="1" lang="en-US" altLang="ja-JP" sz="1000" noProof="1">
                          <a:latin typeface="+mj-ea"/>
                          <a:ea typeface="+mj-ea"/>
                        </a:rPr>
                        <a:t>あらゆるレベルで監視、説明責任、保健システムのパフォーマンスを向上させるために、ガバナンスとリーダーシップを強化する8。</a:t>
                      </a:r>
                      <a:r>
                        <a:rPr kumimoji="1" lang="en-US" altLang="ja-JP" sz="1000" dirty="0">
                          <a:latin typeface="+mj-ea"/>
                          <a:ea typeface="+mj-ea"/>
                        </a:rPr>
                        <a:t> </a:t>
                      </a:r>
                      <a:r>
                        <a:rPr kumimoji="1" lang="en-US" altLang="ja-JP" sz="1000" noProof="1">
                          <a:latin typeface="+mj-ea"/>
                          <a:ea typeface="+mj-ea"/>
                        </a:rPr>
                        <a:t>十分かつ適切なコミュニティベースのケアを確保するために、コミュニティを関与させ、権限を与える9。</a:t>
                      </a:r>
                      <a:r>
                        <a:rPr kumimoji="1" lang="en-US" altLang="ja-JP" sz="1000" dirty="0">
                          <a:latin typeface="+mj-ea"/>
                          <a:ea typeface="+mj-ea"/>
                        </a:rPr>
                        <a:t> </a:t>
                      </a:r>
                      <a:r>
                        <a:rPr kumimoji="1" lang="en-US" altLang="ja-JP" sz="1000" noProof="1">
                          <a:latin typeface="+mj-ea"/>
                          <a:ea typeface="+mj-ea"/>
                        </a:rPr>
                        <a:t>保健システムの政策、戦略、投資の指針となる情報システムの開発10。</a:t>
                      </a:r>
                      <a:r>
                        <a:rPr kumimoji="1" lang="en-US" altLang="ja-JP" sz="1000" dirty="0">
                          <a:latin typeface="+mj-ea"/>
                          <a:ea typeface="+mj-ea"/>
                        </a:rPr>
                        <a:t> </a:t>
                      </a:r>
                      <a:r>
                        <a:rPr kumimoji="1" lang="en-US" altLang="ja-JP" sz="1000" noProof="1">
                          <a:latin typeface="+mj-ea"/>
                          <a:ea typeface="+mj-ea"/>
                        </a:rPr>
                        <a:t>パンデミックへの準備と対応を強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en-US" altLang="ja-JP" sz="1000" b="1" noProof="1">
                          <a:latin typeface="+mj-ea"/>
                          <a:ea typeface="+mj-ea"/>
                        </a:rPr>
                        <a:t>非感染性疾患の</a:t>
                      </a:r>
                    </a:p>
                    <a:p>
                      <a:pPr algn="ctr"/>
                      <a:r>
                        <a:rPr kumimoji="1" lang="en-US" altLang="ja-JP" sz="1000" b="1" noProof="1">
                          <a:latin typeface="+mj-ea"/>
                          <a:ea typeface="+mj-ea"/>
                        </a:rPr>
                        <a:t>予防と管理のための国家戦略計画</a:t>
                      </a:r>
                    </a:p>
                    <a:p>
                      <a:pPr algn="ctr"/>
                      <a:r>
                        <a:rPr kumimoji="1" lang="en-US" altLang="ja-JP" sz="1000" b="1" noProof="1">
                          <a:latin typeface="+mj-ea"/>
                          <a:ea typeface="+mj-ea"/>
                        </a:rPr>
                        <a:t>(National Strategic Plan for the Prevention and Control of Non-Communicable Diseases</a:t>
                      </a:r>
                      <a:r>
                        <a:rPr kumimoji="1" lang="en-IN" altLang="ja-JP" sz="1000" b="1" noProof="1">
                          <a:latin typeface="+mj-ea"/>
                          <a:ea typeface="+mj-ea"/>
                        </a:rPr>
                        <a:t>)</a:t>
                      </a:r>
                      <a:endParaRPr kumimoji="1" lang="en-US" altLang="ja-JP" sz="1000" b="1"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2-2027</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計画は、持続可能な開発目標 (SDGs) に沿って、南アフリカにおける予防可能で早期の非感染性疾患 (NCD) の罹患率、障害、死亡率を低下させるために、健康とウェルネスを促進し、予防と管理措置を強化する、人々を中心とした統合的な介入を提供すること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5つの主要なNCDグループ (心血管疾患、がん、慢性呼吸器疾患、糖尿病、メンタルヘルス) に焦点を当てている一方で、医療システムを強化し、公平で権利に基づく統合された個人中心のケアを促進して、国のNCDの負担を軽減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の目標は次のとおりであ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NCDの予防と管理の優先順位付け+</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生涯にわたる健康とウェルネスの促進と実現</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非感染性疾患+ (PLWNCDs+) と共に生きる人々が、非感染性疾患+の予防と管理のために、人々を中心とした統合された保健サービスを確実に受けられるように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非感染性疾患+の予防と管理のための質の高い研究開発のための国家能力を促進し、支援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非感染性疾患+の戦略的傾向と決定要因を監視し、予防と管理の進捗を評価する</a:t>
                      </a:r>
                      <a:endParaRPr kumimoji="1" lang="en-US" altLang="ja-JP" sz="1000" noProof="1">
                        <a:highlight>
                          <a:srgbClr val="FFFF00"/>
                        </a:highlight>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南アフリカ政府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南アフリカの保健政策は、マルチステークホルダーの協力、保健システム強化、非感染性疾患予防に重点を置いて</a:t>
            </a:r>
            <a:r>
              <a:rPr lang="ja-JP" altLang="en-US" sz="1400" noProof="1">
                <a:latin typeface="MS PGothic (Headings)"/>
                <a:ea typeface="ＭＳ Ｐゴシック" panose="020B0600070205080204" pitchFamily="50" charset="-128"/>
                <a:cs typeface="Arial" panose="020B0604020202020204" pitchFamily="34" charset="0"/>
              </a:rPr>
              <a:t>いる。</a:t>
            </a:r>
            <a:endParaRPr lang="en-US" altLang="ja-JP" sz="1400" noProof="1">
              <a:latin typeface="MS PGothic (Headings)"/>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5527409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3</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370179"/>
            <a:ext cx="4392488" cy="28803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370179"/>
            <a:ext cx="4392488" cy="28803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062411394"/>
              </p:ext>
            </p:extLst>
          </p:nvPr>
        </p:nvGraphicFramePr>
        <p:xfrm>
          <a:off x="200025" y="1658527"/>
          <a:ext cx="9505054" cy="4451192"/>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38843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キゼ・クワズールー・ナタール州首相，ファン・スカルクヴェイク観光相，デービス貿易産業相，マルレカ国民議会公共企業委員長，ゴーダン財務相，マブダファシ水・環境副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下忠洋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孝弘衆議院議長，</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宮勲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1855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ボゴパネ＝ズールー女性・子供・身障者副大臣，シャバング鉱物資源相，ズマ大統領，ヌコアナ＝マシャバネ国際関係・協力相，チャバネ大統領府大臣，デービス貿易産業相，ファン・スカルクヴェイク観光相，ムキゼ経済開発副相，ネネ財務副大臣，チクンガ運輸副大臣，シングワナ女性・子供・障害者相，ハネコム科学・技術相，リチケン公共企業大臣顧問，マーティンズ・エネルギー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菅原一秀経済産業副大臣，松山政司外務副大臣，山田宏衆議院議員，松下新平国土交通大臣政務官，桜田義孝文部科学副大臣，皇太子殿下，福田康夫政府特派大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セ北西州首相，スルティ基礎教育副大臣，パンドール科学・技術相，モチェハ基礎教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磯崎仁彦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山信一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ツ矢憲生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稔防衛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ダン協調統治・伝統業務相，ラマポーザ副大統領，パンドール科学・技術相，モツォアレディ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宇都隆史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448">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ワネ鉱物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村経夫経済産業大臣政務官，経団連訪南部アフリカ経済ミッション，</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克行内閣総理大臣補佐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ヒム大統領顧問，ジレ西ケープ州首相，カーサ観光相，パンドール科学技術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議院</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井原巧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健太郎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5705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議会科学技術委員会調査団，ムベキ元大統領，ランダース国際関係・協力副相，マグワニシェ貿易産業副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串正樹経済産業大臣政務官，世耕弘成経済産業大臣，岡本三成外務大臣政務官，高橋克法国土交通大臣政務官，逢沢一郎衆議院議員および黄川田仁志衆議院議員，山田賢司外務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61855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ヌダベニ＝アブラハムス通信相，パテル貿易産業相，ラマポーザ大統領，ムボウェニ財務相，ムキゼ保健相，パンドール国際関係・協力相，パテル貿易産業相，，ヌジマンデ高等教育・科学技術相，ムテトワ・スポーツ・芸術・文化相，マシェホ＝ドラミニ国際関係・協力副大臣，ヌグバネ観光相，モディセ国民議会（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2752800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3</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370179"/>
            <a:ext cx="4392488" cy="28803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370179"/>
            <a:ext cx="4392488" cy="28803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240388694"/>
              </p:ext>
            </p:extLst>
          </p:nvPr>
        </p:nvGraphicFramePr>
        <p:xfrm>
          <a:off x="200025" y="1658527"/>
          <a:ext cx="9505054" cy="1132941"/>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15830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敏充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882590948"/>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89239020"/>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ル観光大臣、ンジマンデ高等教育科学イノベーション相、パンドール国際関係・協力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岩田和親経済産業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21318572"/>
                  </a:ext>
                </a:extLst>
              </a:tr>
              <a:tr h="158306">
                <a:tc>
                  <a:txBody>
                    <a:bodyPr/>
                    <a:lstStyle/>
                    <a:p>
                      <a:pPr marL="0" algn="ctr" defTabSz="914400" rtl="0" eaLnBrk="1" fontAlgn="ctr" latinLnBrk="0" hangingPunct="0"/>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里見隆治経済産業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636288612"/>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0895952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3/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合が行われたドイツにおいて岸田内閣総理大臣ラマポーザ大統領の首脳会談が行わ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visit/index.html</a:t>
            </a:r>
            <a:r>
              <a:rPr lang="ja-JP" altLang="en-US" sz="800" dirty="0"/>
              <a:t>）</a:t>
            </a:r>
          </a:p>
        </p:txBody>
      </p:sp>
      <p:grpSp>
        <p:nvGrpSpPr>
          <p:cNvPr id="12" name="グループ化 11"/>
          <p:cNvGrpSpPr/>
          <p:nvPr/>
        </p:nvGrpSpPr>
        <p:grpSpPr>
          <a:xfrm>
            <a:off x="1640632" y="1920300"/>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nvGraphicFramePr>
        <p:xfrm>
          <a:off x="1640632" y="2293404"/>
          <a:ext cx="6624736" cy="20298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728384">
                  <a:extLst>
                    <a:ext uri="{9D8B030D-6E8A-4147-A177-3AD203B41FA5}">
                      <a16:colId xmlns:a16="http://schemas.microsoft.com/office/drawing/2014/main" val="20002"/>
                    </a:ext>
                  </a:extLst>
                </a:gridCol>
                <a:gridCol w="3168352">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ブリスベ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金融世界経済に関する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V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3439073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アフリカ地域を対象とする初めての官民ミッションが実施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31586"/>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1010667">
                  <a:extLst>
                    <a:ext uri="{9D8B030D-6E8A-4147-A177-3AD203B41FA5}">
                      <a16:colId xmlns:a16="http://schemas.microsoft.com/office/drawing/2014/main" val="20003"/>
                    </a:ext>
                  </a:extLst>
                </a:gridCol>
                <a:gridCol w="2950131">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005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solidFill>
                            <a:srgbClr val="000000"/>
                          </a:solidFill>
                        </a:rPr>
                        <a:t>アフリカ官民ミッション</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fr-FR" sz="1000" dirty="0"/>
                        <a:t>一般社団法人</a:t>
                      </a:r>
                      <a:r>
                        <a:rPr lang="fr-FR" altLang="ja-JP" sz="1000" dirty="0" err="1"/>
                        <a:t>Medical</a:t>
                      </a:r>
                      <a:r>
                        <a:rPr lang="fr-FR" altLang="ja-JP" sz="1000" dirty="0"/>
                        <a:t> Excellence JAPAN</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ブサハラ・アフリカ地域に おける日本の医療関連製品・サービスのプレ ゼンスの向上と相互理解の促進を目的に、 南アフリカ共和国、タンザニア連合共和国、 南アフリカ共和国の</a:t>
                      </a:r>
                      <a:r>
                        <a:rPr lang="en-US" altLang="ja-JP" sz="1000" dirty="0"/>
                        <a:t>3</a:t>
                      </a:r>
                      <a:r>
                        <a:rPr lang="ja-JP" altLang="en-US" sz="1000" dirty="0"/>
                        <a:t>カ国より、公的・民間のそれ ぞれの代表者の日本への招へいを実施</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UHC</a:t>
                      </a:r>
                      <a:r>
                        <a:rPr lang="ja-JP" altLang="en-US" sz="1000" dirty="0"/>
                        <a:t>等をテーマにしたシンポジウムでは各国・各セクターの取組と課題が共有され、質疑応答や活発な議論が行われ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医療機器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とのネットワーキング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の日本の施設見学では早期発見・早期治療の重要性の啓発や医療システムのキャパシティビルディング（能力開発）に関し活発に議論</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B3FE62-1E64-4BA4-8202-1E261BEB991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61B3FE62-1E64-4BA4-8202-1E261BEB9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2910006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280607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すでに人口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都市部に居住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向けて都市化がさらに加速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t> </a:t>
            </a:r>
            <a:r>
              <a:rPr lang="en-US" altLang="ja-JP" sz="800" dirty="0"/>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圏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2" name="Chart 11">
            <a:extLst>
              <a:ext uri="{FF2B5EF4-FFF2-40B4-BE49-F238E27FC236}">
                <a16:creationId xmlns:a16="http://schemas.microsoft.com/office/drawing/2014/main" id="{C5B0C780-8F31-1EEB-B9F3-D101F7C29EDA}"/>
              </a:ext>
            </a:extLst>
          </p:cNvPr>
          <p:cNvGraphicFramePr/>
          <p:nvPr>
            <p:custDataLst>
              <p:tags r:id="rId3"/>
            </p:custDataLst>
            <p:extLst>
              <p:ext uri="{D42A27DB-BD31-4B8C-83A1-F6EECF244321}">
                <p14:modId xmlns:p14="http://schemas.microsoft.com/office/powerpoint/2010/main" val="1861818221"/>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43"/>
          </a:graphicData>
        </a:graphic>
      </p:graphicFrame>
      <p:cxnSp>
        <p:nvCxnSpPr>
          <p:cNvPr id="4" name="Straight Connector 3">
            <a:extLst>
              <a:ext uri="{FF2B5EF4-FFF2-40B4-BE49-F238E27FC236}">
                <a16:creationId xmlns:a16="http://schemas.microsoft.com/office/drawing/2014/main" id="{68006B85-45C0-42E2-B916-D6D1B73EE6C6}"/>
              </a:ext>
            </a:extLst>
          </p:cNvPr>
          <p:cNvCxnSpPr/>
          <p:nvPr>
            <p:custDataLst>
              <p:tags r:id="rId4"/>
            </p:custDataLst>
          </p:nvPr>
        </p:nvCxnSpPr>
        <p:spPr bwMode="auto">
          <a:xfrm flipH="1">
            <a:off x="725488" y="3898900"/>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noGrp="1"/>
          </p:cNvSpPr>
          <p:nvPr>
            <p:custDataLst>
              <p:tags r:id="rId5"/>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9" name="Text Placeholder 12"/>
          <p:cNvSpPr>
            <a:spLocks noGrp="1"/>
          </p:cNvSpPr>
          <p:nvPr>
            <p:custDataLst>
              <p:tags r:id="rId6"/>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noGrp="1"/>
          </p:cNvSpPr>
          <p:nvPr>
            <p:custDataLst>
              <p:tags r:id="rId7"/>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noGrp="1"/>
          </p:cNvSpPr>
          <p:nvPr>
            <p:custDataLst>
              <p:tags r:id="rId8"/>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9"/>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10"/>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11"/>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2"/>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5"/>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6"/>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7"/>
            </p:custDataLst>
          </p:nvPr>
        </p:nvCxnSpPr>
        <p:spPr bwMode="gray">
          <a:xfrm>
            <a:off x="1355725" y="26511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8"/>
            </p:custDataLst>
          </p:nvPr>
        </p:nvCxnSpPr>
        <p:spPr bwMode="gray">
          <a:xfrm>
            <a:off x="1355725" y="285432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19"/>
            </p:custDataLst>
          </p:nvPr>
        </p:nvSpPr>
        <p:spPr bwMode="gray">
          <a:xfrm>
            <a:off x="1444624"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Rectangle 35"/>
          <p:cNvSpPr/>
          <p:nvPr>
            <p:custDataLst>
              <p:tags r:id="rId20"/>
            </p:custDataLst>
          </p:nvPr>
        </p:nvSpPr>
        <p:spPr bwMode="gray">
          <a:xfrm>
            <a:off x="1444624"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1"/>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noGrp="1"/>
          </p:cNvSpPr>
          <p:nvPr>
            <p:custDataLst>
              <p:tags r:id="rId22"/>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186" name="Chart 185">
            <a:extLst>
              <a:ext uri="{FF2B5EF4-FFF2-40B4-BE49-F238E27FC236}">
                <a16:creationId xmlns:a16="http://schemas.microsoft.com/office/drawing/2014/main" id="{3DC6C85E-542D-5B5C-8FC3-6C8A3C4565C9}"/>
              </a:ext>
            </a:extLst>
          </p:cNvPr>
          <p:cNvGraphicFramePr/>
          <p:nvPr>
            <p:custDataLst>
              <p:tags r:id="rId23"/>
            </p:custDataLst>
            <p:extLst>
              <p:ext uri="{D42A27DB-BD31-4B8C-83A1-F6EECF244321}">
                <p14:modId xmlns:p14="http://schemas.microsoft.com/office/powerpoint/2010/main" val="55375141"/>
              </p:ext>
            </p:extLst>
          </p:nvPr>
        </p:nvGraphicFramePr>
        <p:xfrm>
          <a:off x="5230813" y="2760663"/>
          <a:ext cx="4268787" cy="3341687"/>
        </p:xfrm>
        <a:graphic>
          <a:graphicData uri="http://schemas.openxmlformats.org/drawingml/2006/chart">
            <c:chart xmlns:c="http://schemas.openxmlformats.org/drawingml/2006/chart" xmlns:r="http://schemas.openxmlformats.org/officeDocument/2006/relationships" r:id="rId44"/>
          </a:graphicData>
        </a:graphic>
      </p:graphicFrame>
      <p:sp>
        <p:nvSpPr>
          <p:cNvPr id="135" name="テキスト プレースホルダ 9">
            <a:extLst>
              <a:ext uri="{FF2B5EF4-FFF2-40B4-BE49-F238E27FC236}">
                <a16:creationId xmlns:a16="http://schemas.microsoft.com/office/drawing/2014/main" id="{1F23D313-1615-00E1-D405-32DB9C719981}"/>
              </a:ext>
            </a:extLst>
          </p:cNvPr>
          <p:cNvSpPr>
            <a:spLocks/>
          </p:cNvSpPr>
          <p:nvPr>
            <p:custDataLst>
              <p:tags r:id="rId24"/>
            </p:custDataLst>
          </p:nvPr>
        </p:nvSpPr>
        <p:spPr bwMode="gray">
          <a:xfrm>
            <a:off x="5561013" y="4578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4A2AA9-B850-4361-9DF9-BE1C9A3BFF77}" type="datetime'''''''''7''''''''''''''''''''''''''0''''4'''''''''">
              <a:rPr lang="en-US" altLang="en-US" sz="1000" smtClean="0">
                <a:effectLst/>
              </a:rPr>
              <a:pPr marL="0" lvl="0" indent="0" algn="ctr">
                <a:spcBef>
                  <a:spcPct val="0"/>
                </a:spcBef>
                <a:buNone/>
              </a:pPr>
              <a:t>704</a:t>
            </a:fld>
            <a:endParaRPr kumimoji="1" lang="en-US" altLang="ja-JP" sz="1000" dirty="0"/>
          </a:p>
        </p:txBody>
      </p:sp>
      <p:sp>
        <p:nvSpPr>
          <p:cNvPr id="155" name="テキスト プレースホルダ 9">
            <a:extLst>
              <a:ext uri="{FF2B5EF4-FFF2-40B4-BE49-F238E27FC236}">
                <a16:creationId xmlns:a16="http://schemas.microsoft.com/office/drawing/2014/main" id="{31BA91E8-BD53-294C-62B9-A75859F30C06}"/>
              </a:ext>
            </a:extLst>
          </p:cNvPr>
          <p:cNvSpPr>
            <a:spLocks/>
          </p:cNvSpPr>
          <p:nvPr>
            <p:custDataLst>
              <p:tags r:id="rId25"/>
            </p:custDataLst>
          </p:nvPr>
        </p:nvSpPr>
        <p:spPr bwMode="auto">
          <a:xfrm>
            <a:off x="5649913"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ACF9C9-7E61-4EE9-AB92-AE36AD02D702}" type="datetime'2''''00''''''''''''''0'''''''''''''''''''">
              <a:rPr lang="en-US" altLang="en-US" sz="1200" smtClean="0">
                <a:effectLst/>
              </a:rPr>
              <a:pPr marL="0" lvl="0" indent="0" algn="ctr">
                <a:spcBef>
                  <a:spcPct val="0"/>
                </a:spcBef>
                <a:buNone/>
              </a:pPr>
              <a:t>2000</a:t>
            </a:fld>
            <a:endParaRPr kumimoji="1" lang="en-US" altLang="ja-JP" sz="1200" dirty="0"/>
          </a:p>
        </p:txBody>
      </p:sp>
      <p:sp>
        <p:nvSpPr>
          <p:cNvPr id="157" name="テキスト プレースホルダ 9">
            <a:extLst>
              <a:ext uri="{FF2B5EF4-FFF2-40B4-BE49-F238E27FC236}">
                <a16:creationId xmlns:a16="http://schemas.microsoft.com/office/drawing/2014/main" id="{F723C543-2744-E224-3F00-220B85376A64}"/>
              </a:ext>
            </a:extLst>
          </p:cNvPr>
          <p:cNvSpPr>
            <a:spLocks/>
          </p:cNvSpPr>
          <p:nvPr>
            <p:custDataLst>
              <p:tags r:id="rId26"/>
            </p:custDataLst>
          </p:nvPr>
        </p:nvSpPr>
        <p:spPr bwMode="auto">
          <a:xfrm>
            <a:off x="6677025"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747EBB-F6D2-40F4-8CFC-5C1701A7341A}" type="datetime'''''''''''''20''''1''''''''''''''''''''''''''''''''''''0'''''">
              <a:rPr lang="en-US" altLang="en-US" sz="1200" smtClean="0">
                <a:effectLst/>
              </a:rPr>
              <a:pPr marL="0" lvl="0" indent="0" algn="ctr">
                <a:spcBef>
                  <a:spcPct val="0"/>
                </a:spcBef>
                <a:buNone/>
              </a:pPr>
              <a:t>2010</a:t>
            </a:fld>
            <a:endParaRPr kumimoji="1" lang="en-US" altLang="ja-JP" sz="1200" dirty="0"/>
          </a:p>
        </p:txBody>
      </p:sp>
      <p:sp>
        <p:nvSpPr>
          <p:cNvPr id="158" name="テキスト プレースホルダ 9">
            <a:extLst>
              <a:ext uri="{FF2B5EF4-FFF2-40B4-BE49-F238E27FC236}">
                <a16:creationId xmlns:a16="http://schemas.microsoft.com/office/drawing/2014/main" id="{5E5DDF77-BBCC-6124-6B0D-0CA0CAD88FB0}"/>
              </a:ext>
            </a:extLst>
          </p:cNvPr>
          <p:cNvSpPr>
            <a:spLocks/>
          </p:cNvSpPr>
          <p:nvPr>
            <p:custDataLst>
              <p:tags r:id="rId27"/>
            </p:custDataLst>
          </p:nvPr>
        </p:nvSpPr>
        <p:spPr bwMode="auto">
          <a:xfrm>
            <a:off x="7702550"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30263B-C1AD-4E52-8CAE-88D6D6B5D8BA}" type="datetime'''''2''''''''''''''''''''0''''''''''''''''''''''''''''''25'''">
              <a:rPr lang="en-US" altLang="en-US" sz="1200" smtClean="0">
                <a:effectLst/>
              </a:rPr>
              <a:pPr marL="0" lvl="0" indent="0" algn="ctr">
                <a:spcBef>
                  <a:spcPct val="0"/>
                </a:spcBef>
                <a:buNone/>
              </a:pPr>
              <a:t>2025</a:t>
            </a:fld>
            <a:endParaRPr kumimoji="1" lang="en-US" altLang="ja-JP" sz="1200" dirty="0"/>
          </a:p>
        </p:txBody>
      </p:sp>
      <p:sp>
        <p:nvSpPr>
          <p:cNvPr id="159" name="テキスト プレースホルダ 9">
            <a:extLst>
              <a:ext uri="{FF2B5EF4-FFF2-40B4-BE49-F238E27FC236}">
                <a16:creationId xmlns:a16="http://schemas.microsoft.com/office/drawing/2014/main" id="{E3B41B1D-21A3-00AC-6A53-DC6409814650}"/>
              </a:ext>
            </a:extLst>
          </p:cNvPr>
          <p:cNvSpPr>
            <a:spLocks/>
          </p:cNvSpPr>
          <p:nvPr>
            <p:custDataLst>
              <p:tags r:id="rId28"/>
            </p:custDataLst>
          </p:nvPr>
        </p:nvSpPr>
        <p:spPr bwMode="auto">
          <a:xfrm>
            <a:off x="8728075"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AC790-D2E2-4061-BEE0-473DF141BCD9}" type="datetime'''203''''''''''0'''">
              <a:rPr lang="en-US" altLang="en-US" sz="1200" smtClean="0">
                <a:effectLst/>
              </a:rPr>
              <a:pPr marL="0" lvl="0" indent="0" algn="ctr">
                <a:spcBef>
                  <a:spcPct val="0"/>
                </a:spcBef>
                <a:buNone/>
              </a:pPr>
              <a:t>2030</a:t>
            </a:fld>
            <a:endParaRPr kumimoji="1" lang="en-US" altLang="ja-JP" sz="1200" dirty="0"/>
          </a:p>
        </p:txBody>
      </p:sp>
      <p:sp>
        <p:nvSpPr>
          <p:cNvPr id="165" name="テキスト プレースホルダ 9">
            <a:extLst>
              <a:ext uri="{FF2B5EF4-FFF2-40B4-BE49-F238E27FC236}">
                <a16:creationId xmlns:a16="http://schemas.microsoft.com/office/drawing/2014/main" id="{8218F7B3-912B-D819-2D6E-1BB12A229BAB}"/>
              </a:ext>
            </a:extLst>
          </p:cNvPr>
          <p:cNvSpPr>
            <a:spLocks/>
          </p:cNvSpPr>
          <p:nvPr>
            <p:custDataLst>
              <p:tags r:id="rId29"/>
            </p:custDataLst>
          </p:nvPr>
        </p:nvSpPr>
        <p:spPr bwMode="gray">
          <a:xfrm>
            <a:off x="5845175" y="44783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8D14F1-3D4B-4B3E-93F1-BB7D50D95209}" type="datetime'5''''''''''''''''''''''''''''''''''''''9''''''''''''0'''''''">
              <a:rPr lang="en-US" altLang="en-US" sz="1000" smtClean="0">
                <a:effectLst/>
              </a:rPr>
              <a:pPr marL="0" lvl="0" indent="0" algn="ctr">
                <a:spcBef>
                  <a:spcPct val="0"/>
                </a:spcBef>
                <a:buNone/>
              </a:pPr>
              <a:t>590</a:t>
            </a:fld>
            <a:endParaRPr kumimoji="1" lang="en-US" altLang="ja-JP" sz="1000" dirty="0"/>
          </a:p>
        </p:txBody>
      </p:sp>
      <p:sp>
        <p:nvSpPr>
          <p:cNvPr id="205" name="TextBox 204">
            <a:extLst>
              <a:ext uri="{FF2B5EF4-FFF2-40B4-BE49-F238E27FC236}">
                <a16:creationId xmlns:a16="http://schemas.microsoft.com/office/drawing/2014/main" id="{B95710CD-C034-4F4B-BCEE-B8B16951104D}"/>
              </a:ext>
            </a:extLst>
          </p:cNvPr>
          <p:cNvSpPr txBox="1"/>
          <p:nvPr/>
        </p:nvSpPr>
        <p:spPr>
          <a:xfrm>
            <a:off x="5097016" y="2149303"/>
            <a:ext cx="52799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a:t>
            </a:r>
            <a:r>
              <a:rPr lang="ja-JP" altLang="en-US" sz="1000" dirty="0"/>
              <a:t>千人</a:t>
            </a:r>
            <a:r>
              <a:rPr lang="en-US" altLang="ja-JP" sz="1000" dirty="0"/>
              <a:t>)</a:t>
            </a:r>
            <a:endParaRPr lang="en-CA" sz="1000" dirty="0"/>
          </a:p>
        </p:txBody>
      </p:sp>
      <p:sp>
        <p:nvSpPr>
          <p:cNvPr id="175" name="Rectangle 174">
            <a:extLst>
              <a:ext uri="{FF2B5EF4-FFF2-40B4-BE49-F238E27FC236}">
                <a16:creationId xmlns:a16="http://schemas.microsoft.com/office/drawing/2014/main" id="{2B84566D-4D5A-7130-B9E1-5888AE3D3E3B}"/>
              </a:ext>
            </a:extLst>
          </p:cNvPr>
          <p:cNvSpPr/>
          <p:nvPr>
            <p:custDataLst>
              <p:tags r:id="rId30"/>
            </p:custDataLst>
          </p:nvPr>
        </p:nvSpPr>
        <p:spPr bwMode="auto">
          <a:xfrm>
            <a:off x="5291138" y="254793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6" name="Rectangle 175">
            <a:extLst>
              <a:ext uri="{FF2B5EF4-FFF2-40B4-BE49-F238E27FC236}">
                <a16:creationId xmlns:a16="http://schemas.microsoft.com/office/drawing/2014/main" id="{A8662353-DAD8-AFBD-CF60-2AC8262A265F}"/>
              </a:ext>
            </a:extLst>
          </p:cNvPr>
          <p:cNvSpPr/>
          <p:nvPr>
            <p:custDataLst>
              <p:tags r:id="rId31"/>
            </p:custDataLst>
          </p:nvPr>
        </p:nvSpPr>
        <p:spPr bwMode="auto">
          <a:xfrm>
            <a:off x="5291138" y="275113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7" name="Rectangle 176">
            <a:extLst>
              <a:ext uri="{FF2B5EF4-FFF2-40B4-BE49-F238E27FC236}">
                <a16:creationId xmlns:a16="http://schemas.microsoft.com/office/drawing/2014/main" id="{98CE02BD-B55F-D63C-D7CF-DF9549808B05}"/>
              </a:ext>
            </a:extLst>
          </p:cNvPr>
          <p:cNvSpPr/>
          <p:nvPr>
            <p:custDataLst>
              <p:tags r:id="rId32"/>
            </p:custDataLst>
          </p:nvPr>
        </p:nvSpPr>
        <p:spPr bwMode="auto">
          <a:xfrm>
            <a:off x="5291138" y="2954338"/>
            <a:ext cx="179388" cy="133350"/>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8" name="Rectangle 177">
            <a:extLst>
              <a:ext uri="{FF2B5EF4-FFF2-40B4-BE49-F238E27FC236}">
                <a16:creationId xmlns:a16="http://schemas.microsoft.com/office/drawing/2014/main" id="{8192C8EC-123C-49C8-614A-265C062E89C5}"/>
              </a:ext>
            </a:extLst>
          </p:cNvPr>
          <p:cNvSpPr/>
          <p:nvPr>
            <p:custDataLst>
              <p:tags r:id="rId33"/>
            </p:custDataLst>
          </p:nvPr>
        </p:nvSpPr>
        <p:spPr bwMode="auto">
          <a:xfrm>
            <a:off x="5291138" y="3157538"/>
            <a:ext cx="179388" cy="133350"/>
          </a:xfrm>
          <a:prstGeom prst="rect">
            <a:avLst/>
          </a:prstGeom>
          <a:solidFill>
            <a:srgbClr val="80CCE8"/>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9" name="Rectangle 178">
            <a:extLst>
              <a:ext uri="{FF2B5EF4-FFF2-40B4-BE49-F238E27FC236}">
                <a16:creationId xmlns:a16="http://schemas.microsoft.com/office/drawing/2014/main" id="{7E3F1AD0-D151-EA34-CD59-0E97E001A864}"/>
              </a:ext>
            </a:extLst>
          </p:cNvPr>
          <p:cNvSpPr/>
          <p:nvPr>
            <p:custDataLst>
              <p:tags r:id="rId34"/>
            </p:custDataLst>
          </p:nvPr>
        </p:nvSpPr>
        <p:spPr bwMode="auto">
          <a:xfrm>
            <a:off x="5291138" y="3360738"/>
            <a:ext cx="179388" cy="133350"/>
          </a:xfrm>
          <a:prstGeom prst="rect">
            <a:avLst/>
          </a:prstGeom>
          <a:solidFill>
            <a:srgbClr val="C0E6F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68" name="テキスト プレースホルダ 9">
            <a:extLst>
              <a:ext uri="{FF2B5EF4-FFF2-40B4-BE49-F238E27FC236}">
                <a16:creationId xmlns:a16="http://schemas.microsoft.com/office/drawing/2014/main" id="{31155C67-C454-A3DF-9B5C-3C6E0B5DA8CC}"/>
              </a:ext>
            </a:extLst>
          </p:cNvPr>
          <p:cNvSpPr>
            <a:spLocks/>
          </p:cNvSpPr>
          <p:nvPr>
            <p:custDataLst>
              <p:tags r:id="rId35"/>
            </p:custDataLst>
          </p:nvPr>
        </p:nvSpPr>
        <p:spPr bwMode="auto">
          <a:xfrm>
            <a:off x="5521325" y="2543175"/>
            <a:ext cx="809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9FE16C-523B-4A03-90EE-B06911EC8F4A}" type="datetime'ヨ''''''''''''''''''''ハ''''ネ''スブ''''''''ル''''''''''グ'''">
              <a:rPr lang="ja-JP" altLang="en-US" sz="1000" smtClean="0">
                <a:effectLst/>
              </a:rPr>
              <a:pPr marL="0" lvl="0" indent="0">
                <a:spcBef>
                  <a:spcPct val="0"/>
                </a:spcBef>
                <a:buNone/>
              </a:pPr>
              <a:t>ヨハネスブルグ</a:t>
            </a:fld>
            <a:endParaRPr kumimoji="1" lang="en-US" altLang="ja-JP" sz="1000" dirty="0"/>
          </a:p>
        </p:txBody>
      </p:sp>
      <p:sp>
        <p:nvSpPr>
          <p:cNvPr id="170" name="テキスト プレースホルダ 9">
            <a:extLst>
              <a:ext uri="{FF2B5EF4-FFF2-40B4-BE49-F238E27FC236}">
                <a16:creationId xmlns:a16="http://schemas.microsoft.com/office/drawing/2014/main" id="{41C385EA-0850-A038-A4D6-CA2F4EA777D4}"/>
              </a:ext>
            </a:extLst>
          </p:cNvPr>
          <p:cNvSpPr>
            <a:spLocks/>
          </p:cNvSpPr>
          <p:nvPr>
            <p:custDataLst>
              <p:tags r:id="rId36"/>
            </p:custDataLst>
          </p:nvPr>
        </p:nvSpPr>
        <p:spPr bwMode="auto">
          <a:xfrm>
            <a:off x="5521325" y="2746375"/>
            <a:ext cx="677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371C3DA-2B0E-4B8E-BDA6-1BE300E95DA1}" type="datetime'ケ''ー''''''プ''''タ''''''''''ウ''''''''''''''''''''''ン'''">
              <a:rPr lang="ja-JP" altLang="en-US" sz="1000" smtClean="0">
                <a:effectLst/>
              </a:rPr>
              <a:pPr marL="0" lvl="0" indent="0">
                <a:spcBef>
                  <a:spcPct val="0"/>
                </a:spcBef>
                <a:buNone/>
              </a:pPr>
              <a:t>ケープタウン</a:t>
            </a:fld>
            <a:endParaRPr kumimoji="1" lang="en-US" altLang="ja-JP" sz="1000" dirty="0"/>
          </a:p>
        </p:txBody>
      </p:sp>
      <p:sp>
        <p:nvSpPr>
          <p:cNvPr id="171" name="テキスト プレースホルダ 9">
            <a:extLst>
              <a:ext uri="{FF2B5EF4-FFF2-40B4-BE49-F238E27FC236}">
                <a16:creationId xmlns:a16="http://schemas.microsoft.com/office/drawing/2014/main" id="{32DD84BF-8A70-0253-5B8A-27D3368BDCAE}"/>
              </a:ext>
            </a:extLst>
          </p:cNvPr>
          <p:cNvSpPr>
            <a:spLocks/>
          </p:cNvSpPr>
          <p:nvPr>
            <p:custDataLst>
              <p:tags r:id="rId37"/>
            </p:custDataLst>
          </p:nvPr>
        </p:nvSpPr>
        <p:spPr bwMode="auto">
          <a:xfrm>
            <a:off x="5521325" y="2949575"/>
            <a:ext cx="476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F4C6E6-4D00-4CB3-B255-B63E320E7DD9}" type="datetime'''''''''''''''''''''ダ''''''''''''''''''''''''ー''''''''バ''ン'">
              <a:rPr lang="ja-JP" altLang="en-US" sz="1000" smtClean="0">
                <a:effectLst/>
              </a:rPr>
              <a:pPr marL="0" lvl="0" indent="0">
                <a:spcBef>
                  <a:spcPct val="0"/>
                </a:spcBef>
                <a:buNone/>
              </a:pPr>
              <a:t>ダーバン</a:t>
            </a:fld>
            <a:endParaRPr kumimoji="1" lang="en-US" altLang="ja-JP" sz="1000" dirty="0"/>
          </a:p>
        </p:txBody>
      </p:sp>
      <p:sp>
        <p:nvSpPr>
          <p:cNvPr id="172" name="テキスト プレースホルダ 9">
            <a:extLst>
              <a:ext uri="{FF2B5EF4-FFF2-40B4-BE49-F238E27FC236}">
                <a16:creationId xmlns:a16="http://schemas.microsoft.com/office/drawing/2014/main" id="{67A592AD-088A-3CAD-F9F4-719CB7EC2B3A}"/>
              </a:ext>
            </a:extLst>
          </p:cNvPr>
          <p:cNvSpPr>
            <a:spLocks/>
          </p:cNvSpPr>
          <p:nvPr>
            <p:custDataLst>
              <p:tags r:id="rId38"/>
            </p:custDataLst>
          </p:nvPr>
        </p:nvSpPr>
        <p:spPr bwMode="auto">
          <a:xfrm>
            <a:off x="5521325" y="3152775"/>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465A782-AC9F-4CFA-A28B-72DD8AF0A935}" type="datetime'''''''''''''''''''''''''''プ''''レ''''''''''''''''''ト''リ''''ア'">
              <a:rPr lang="ja-JP" altLang="en-US" sz="1000" smtClean="0">
                <a:effectLst/>
              </a:rPr>
              <a:pPr marL="0" lvl="0" indent="0">
                <a:spcBef>
                  <a:spcPct val="0"/>
                </a:spcBef>
                <a:buNone/>
              </a:pPr>
              <a:t>プレトリア</a:t>
            </a:fld>
            <a:endParaRPr kumimoji="1" lang="en-US" altLang="ja-JP" sz="1000" dirty="0"/>
          </a:p>
        </p:txBody>
      </p:sp>
      <p:sp>
        <p:nvSpPr>
          <p:cNvPr id="173" name="テキスト プレースホルダ 9">
            <a:extLst>
              <a:ext uri="{FF2B5EF4-FFF2-40B4-BE49-F238E27FC236}">
                <a16:creationId xmlns:a16="http://schemas.microsoft.com/office/drawing/2014/main" id="{E7B527FB-06FD-26F6-EEDD-8A43A3BC4BD1}"/>
              </a:ext>
            </a:extLst>
          </p:cNvPr>
          <p:cNvSpPr>
            <a:spLocks/>
          </p:cNvSpPr>
          <p:nvPr>
            <p:custDataLst>
              <p:tags r:id="rId39"/>
            </p:custDataLst>
          </p:nvPr>
        </p:nvSpPr>
        <p:spPr bwMode="auto">
          <a:xfrm>
            <a:off x="5521325" y="335597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0371984-23BC-4591-825C-DBB1409BD90B}" type="datetime'''''''''K''''l''ip''g''''a''''''''''''''t'''''''''''''''''">
              <a:rPr lang="en-US" altLang="en-US" sz="1000" smtClean="0">
                <a:effectLst/>
              </a:rPr>
              <a:pPr marL="0" lvl="0" indent="0">
                <a:spcBef>
                  <a:spcPct val="0"/>
                </a:spcBef>
                <a:buNone/>
              </a:pPr>
              <a:t>Klipgat</a:t>
            </a:fld>
            <a:endParaRPr kumimoji="1" lang="en-US" altLang="ja-JP" sz="1000" dirty="0"/>
          </a:p>
        </p:txBody>
      </p:sp>
    </p:spTree>
    <p:extLst>
      <p:ext uri="{BB962C8B-B14F-4D97-AF65-F5344CB8AC3E}">
        <p14:creationId xmlns:p14="http://schemas.microsoft.com/office/powerpoint/2010/main" val="36640852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875A60-B46E-4013-9F8A-46AD8A7A2CD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D875A60-B46E-4013-9F8A-46AD8A7A2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a:t>
            </a:r>
            <a:r>
              <a:rPr lang="ja-JP" altLang="en-US" sz="2000" dirty="0"/>
              <a:t>南アフリカ保健省</a:t>
            </a:r>
            <a:r>
              <a:rPr lang="ja-JP" altLang="en-US" dirty="0"/>
              <a:t>の協力覚書（</a:t>
            </a:r>
            <a:r>
              <a:rPr lang="en-US" altLang="ja-JP" dirty="0"/>
              <a:t>MOC</a:t>
            </a:r>
            <a:r>
              <a:rPr lang="ja-JP" altLang="en-US" dirty="0"/>
              <a:t>）締結状況</a:t>
            </a:r>
          </a:p>
        </p:txBody>
      </p:sp>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厚生労働省と南アフリカ保健省は</a:t>
            </a:r>
            <a:r>
              <a:rPr lang="en-US" altLang="ja-JP" sz="1400" dirty="0"/>
              <a:t>MOC</a:t>
            </a:r>
            <a:r>
              <a:rPr lang="ja-JP" altLang="en-US" sz="1400" dirty="0"/>
              <a:t>を締結していな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 </a:t>
            </a:r>
            <a:r>
              <a:rPr lang="en-US" altLang="ja-JP" sz="1400" dirty="0"/>
              <a:t>2021</a:t>
            </a:r>
            <a:r>
              <a:rPr lang="ja-JP" altLang="en-US" sz="1400" dirty="0"/>
              <a:t>年に内閣官房により行われたアフリカにおける新規 </a:t>
            </a:r>
            <a:r>
              <a:rPr lang="en-US" altLang="ja-JP" sz="1400" dirty="0"/>
              <a:t>MOC </a:t>
            </a:r>
            <a:r>
              <a:rPr lang="ja-JP" altLang="en-US" sz="1400" dirty="0"/>
              <a:t>締結候補国選定に向けた調査では、南アフリカは今後の</a:t>
            </a:r>
            <a:r>
              <a:rPr lang="en-US" altLang="ja-JP" sz="1400" dirty="0"/>
              <a:t>MOC</a:t>
            </a:r>
            <a:r>
              <a:rPr lang="ja-JP" altLang="en-US" sz="1400" dirty="0"/>
              <a:t>締結候補国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12616910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C29CDF-644D-41F2-88C6-32B9B204DAD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C5C29CDF-644D-41F2-88C6-32B9B204D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南アフリカを</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39" y="2091863"/>
            <a:ext cx="18755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0</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22878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07402E-4262-4442-951E-9EA4E08C85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307402E-4262-4442-951E-9EA4E08C8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861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623907416"/>
              </p:ext>
            </p:extLst>
          </p:nvPr>
        </p:nvGraphicFramePr>
        <p:xfrm>
          <a:off x="231561" y="1099558"/>
          <a:ext cx="9473967" cy="5249831"/>
        </p:xfrm>
        <a:graphic>
          <a:graphicData uri="http://schemas.openxmlformats.org/drawingml/2006/table">
            <a:tbl>
              <a:tblPr firstRow="1" bandRow="1">
                <a:tableStyleId>{5C22544A-7EE6-4342-B048-85BDC9FD1C3A}</a:tableStyleId>
              </a:tblPr>
              <a:tblGrid>
                <a:gridCol w="360834">
                  <a:extLst>
                    <a:ext uri="{9D8B030D-6E8A-4147-A177-3AD203B41FA5}">
                      <a16:colId xmlns:a16="http://schemas.microsoft.com/office/drawing/2014/main" val="20000"/>
                    </a:ext>
                  </a:extLst>
                </a:gridCol>
                <a:gridCol w="850511">
                  <a:extLst>
                    <a:ext uri="{9D8B030D-6E8A-4147-A177-3AD203B41FA5}">
                      <a16:colId xmlns:a16="http://schemas.microsoft.com/office/drawing/2014/main" val="20001"/>
                    </a:ext>
                  </a:extLst>
                </a:gridCol>
                <a:gridCol w="2496903">
                  <a:extLst>
                    <a:ext uri="{9D8B030D-6E8A-4147-A177-3AD203B41FA5}">
                      <a16:colId xmlns:a16="http://schemas.microsoft.com/office/drawing/2014/main" val="20002"/>
                    </a:ext>
                  </a:extLst>
                </a:gridCol>
                <a:gridCol w="637195">
                  <a:extLst>
                    <a:ext uri="{9D8B030D-6E8A-4147-A177-3AD203B41FA5}">
                      <a16:colId xmlns:a16="http://schemas.microsoft.com/office/drawing/2014/main" val="20003"/>
                    </a:ext>
                  </a:extLst>
                </a:gridCol>
                <a:gridCol w="997213">
                  <a:extLst>
                    <a:ext uri="{9D8B030D-6E8A-4147-A177-3AD203B41FA5}">
                      <a16:colId xmlns:a16="http://schemas.microsoft.com/office/drawing/2014/main" val="20004"/>
                    </a:ext>
                  </a:extLst>
                </a:gridCol>
                <a:gridCol w="1709508">
                  <a:extLst>
                    <a:ext uri="{9D8B030D-6E8A-4147-A177-3AD203B41FA5}">
                      <a16:colId xmlns:a16="http://schemas.microsoft.com/office/drawing/2014/main" val="20005"/>
                    </a:ext>
                  </a:extLst>
                </a:gridCol>
                <a:gridCol w="2421803">
                  <a:extLst>
                    <a:ext uri="{9D8B030D-6E8A-4147-A177-3AD203B41FA5}">
                      <a16:colId xmlns:a16="http://schemas.microsoft.com/office/drawing/2014/main" val="20006"/>
                    </a:ext>
                  </a:extLst>
                </a:gridCol>
              </a:tblGrid>
              <a:tr h="274649">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費</a:t>
                      </a:r>
                      <a:endParaRPr kumimoji="1" lang="en-US" altLang="zh-TW"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関係者</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38185">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南アフリカ側</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5323">
                <a:tc>
                  <a:txBody>
                    <a:bodyPr/>
                    <a:lstStyle/>
                    <a:p>
                      <a:pPr algn="ctr" fontAlgn="ctr"/>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1</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2</a:t>
                      </a:r>
                      <a:endParaRPr kumimoji="1" lang="zh-TW" altLang="en-US" sz="1000" b="0"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ワズール・ナタール州医療施設向上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4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dirty="0"/>
                        <a:t>株式会社ティーエーネットワーキング 、</a:t>
                      </a:r>
                      <a:r>
                        <a:rPr lang="zh-CN" altLang="en-US" sz="1000" dirty="0"/>
                        <a:t>大分大学医学部</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ワズール・ナタール州保健省</a:t>
                      </a:r>
                      <a:endPar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093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2</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ンポポ州医療施設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4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三井住友建設株式会社、株式会社シリウス、共同企業体 アイテック株式会社、 株式会社山下設計</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リンポポ州厚生省</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7236890"/>
                  </a:ext>
                </a:extLst>
              </a:tr>
              <a:tr h="77093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3</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東ケープ州基礎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3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dirty="0"/>
                        <a:t>双実株式会社</a:t>
                      </a:r>
                      <a:r>
                        <a:rPr lang="ja-JP" altLang="en-US" sz="1000" dirty="0"/>
                        <a:t>、オガワ精機株式会社、</a:t>
                      </a:r>
                      <a:r>
                        <a:rPr lang="zh-CN" altLang="en-US" sz="1000" dirty="0"/>
                        <a:t>三菱商事株式会社</a:t>
                      </a:r>
                      <a:r>
                        <a:rPr lang="ja-JP" altLang="en-US" sz="1000" dirty="0"/>
                        <a:t>、ビンコー株式会社</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dirty="0"/>
                        <a:t>東ケープ州 保健</a:t>
                      </a:r>
                      <a:endPar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86283313"/>
                  </a:ext>
                </a:extLst>
              </a:tr>
              <a:tr h="51395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4</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9~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部アフリカ医療機器保守管理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3.47</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中央保健省、中央財務省、東ケープ州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5866325"/>
                  </a:ext>
                </a:extLst>
              </a:tr>
              <a:tr h="77093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5</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3~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生産指導と経営指導研修を通じた小規模野菜農家のインキュベーション事業準備調査</a:t>
                      </a:r>
                      <a:r>
                        <a:rPr lang="en-US" altLang="ja-JP"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BOP</a:t>
                      </a:r>
                      <a:r>
                        <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ビジネス連携促進</a:t>
                      </a:r>
                      <a:r>
                        <a:rPr lang="en-US" altLang="ja-JP"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株式会社サカタのタネ、特定非営利活動法人プラネットファイナンスジャパン 共同企業体</a:t>
                      </a:r>
                      <a:endParaRPr kumimoji="1" lang="en-US" altLang="ja-JP"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607815764"/>
                  </a:ext>
                </a:extLst>
              </a:tr>
              <a:tr h="77093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6</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的廃棄物管理に向けた廃プラスチック燃料化技術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FP</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カネミヤ 共同企業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8755965"/>
                  </a:ext>
                </a:extLst>
              </a:tr>
              <a:tr h="51395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7</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ーバン市における省エネ海水淡水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36504524"/>
                  </a:ext>
                </a:extLst>
              </a:tr>
            </a:tbl>
          </a:graphicData>
        </a:graphic>
      </p:graphicFrame>
      <p:sp>
        <p:nvSpPr>
          <p:cNvPr id="7" name="テキスト ボックス 6">
            <a:extLst>
              <a:ext uri="{FF2B5EF4-FFF2-40B4-BE49-F238E27FC236}">
                <a16:creationId xmlns:a16="http://schemas.microsoft.com/office/drawing/2014/main" id="{94A28901-F080-8803-B311-E23DD43A105D}"/>
              </a:ext>
            </a:extLst>
          </p:cNvPr>
          <p:cNvSpPr txBox="1"/>
          <p:nvPr/>
        </p:nvSpPr>
        <p:spPr>
          <a:xfrm>
            <a:off x="200472" y="6381328"/>
            <a:ext cx="8640960" cy="288032"/>
          </a:xfrm>
          <a:prstGeom prst="rect">
            <a:avLst/>
          </a:prstGeom>
          <a:noFill/>
        </p:spPr>
        <p:txBody>
          <a:bodyPr wrap="square" lIns="0" tIns="0" rIns="0" bIns="0" rtlCol="0" anchor="b" anchorCtr="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28051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C9740D18-3219-109C-09C4-A8CC04AB9558}"/>
              </a:ext>
            </a:extLst>
          </p:cNvPr>
          <p:cNvGraphicFramePr>
            <a:graphicFrameLocks noGrp="1"/>
          </p:cNvGraphicFramePr>
          <p:nvPr>
            <p:extLst>
              <p:ext uri="{D42A27DB-BD31-4B8C-83A1-F6EECF244321}">
                <p14:modId xmlns:p14="http://schemas.microsoft.com/office/powerpoint/2010/main" val="2422455888"/>
              </p:ext>
            </p:extLst>
          </p:nvPr>
        </p:nvGraphicFramePr>
        <p:xfrm>
          <a:off x="219937" y="1123989"/>
          <a:ext cx="9485589" cy="5337922"/>
        </p:xfrm>
        <a:graphic>
          <a:graphicData uri="http://schemas.openxmlformats.org/drawingml/2006/table">
            <a:tbl>
              <a:tblPr firstRow="1" bandRow="1">
                <a:tableStyleId>{5C22544A-7EE6-4342-B048-85BDC9FD1C3A}</a:tableStyleId>
              </a:tblPr>
              <a:tblGrid>
                <a:gridCol w="361277">
                  <a:extLst>
                    <a:ext uri="{9D8B030D-6E8A-4147-A177-3AD203B41FA5}">
                      <a16:colId xmlns:a16="http://schemas.microsoft.com/office/drawing/2014/main" val="20000"/>
                    </a:ext>
                  </a:extLst>
                </a:gridCol>
                <a:gridCol w="851555">
                  <a:extLst>
                    <a:ext uri="{9D8B030D-6E8A-4147-A177-3AD203B41FA5}">
                      <a16:colId xmlns:a16="http://schemas.microsoft.com/office/drawing/2014/main" val="20001"/>
                    </a:ext>
                  </a:extLst>
                </a:gridCol>
                <a:gridCol w="2499966">
                  <a:extLst>
                    <a:ext uri="{9D8B030D-6E8A-4147-A177-3AD203B41FA5}">
                      <a16:colId xmlns:a16="http://schemas.microsoft.com/office/drawing/2014/main" val="20002"/>
                    </a:ext>
                  </a:extLst>
                </a:gridCol>
                <a:gridCol w="637976">
                  <a:extLst>
                    <a:ext uri="{9D8B030D-6E8A-4147-A177-3AD203B41FA5}">
                      <a16:colId xmlns:a16="http://schemas.microsoft.com/office/drawing/2014/main" val="20003"/>
                    </a:ext>
                  </a:extLst>
                </a:gridCol>
                <a:gridCol w="998436">
                  <a:extLst>
                    <a:ext uri="{9D8B030D-6E8A-4147-A177-3AD203B41FA5}">
                      <a16:colId xmlns:a16="http://schemas.microsoft.com/office/drawing/2014/main" val="20004"/>
                    </a:ext>
                  </a:extLst>
                </a:gridCol>
                <a:gridCol w="1711605">
                  <a:extLst>
                    <a:ext uri="{9D8B030D-6E8A-4147-A177-3AD203B41FA5}">
                      <a16:colId xmlns:a16="http://schemas.microsoft.com/office/drawing/2014/main" val="20005"/>
                    </a:ext>
                  </a:extLst>
                </a:gridCol>
                <a:gridCol w="2424774">
                  <a:extLst>
                    <a:ext uri="{9D8B030D-6E8A-4147-A177-3AD203B41FA5}">
                      <a16:colId xmlns:a16="http://schemas.microsoft.com/office/drawing/2014/main" val="20006"/>
                    </a:ext>
                  </a:extLst>
                </a:gridCol>
              </a:tblGrid>
              <a:tr h="171172">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費</a:t>
                      </a:r>
                      <a:endParaRPr kumimoji="1" lang="en-US" altLang="zh-TW"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関係者</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18928">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南アフリカ側</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620550">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8</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1">
                        <a:spcBef>
                          <a:spcPts val="0"/>
                        </a:spcBef>
                        <a:buClr>
                          <a:srgbClr val="83A4D1"/>
                        </a:buClr>
                        <a:buSzPct val="80000"/>
                        <a:buFont typeface="Wingdings" panose="05000000000000000000" pitchFamily="2" charset="2"/>
                        <a:buNone/>
                      </a:pP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14~2019</a:t>
                      </a:r>
                      <a:endParaRPr kumimoji="1" lang="zh-TW" altLang="en-US" sz="1000" b="0"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1">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部アフリカにおける気候予測モデルをもとにした感染症流行の早期警戒システムの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2.5</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9525" marR="9525" marT="7167"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長崎大学熱帯医学研究所（熱研）、国立研究開発法人 海洋研究開発機構（</a:t>
                      </a:r>
                      <a:r>
                        <a:rPr kumimoji="1" lang="en-US" altLang="zh-TW"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JAMSTEC</a:t>
                      </a:r>
                      <a:r>
                        <a:rPr kumimoji="1" lang="zh-TW"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科学技術省（</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DST</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国家保健省（</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NDOH</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気候地球システム科学応用センター（</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CCESS</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a:t>
                      </a:r>
                    </a:p>
                    <a:p>
                      <a:pPr marL="0" algn="l"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カ医学研究評議会（</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SAMRC</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カ科学・工学研究評議会（</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CSIR</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国立伝染病研究所（</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NICD</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カ気象サービス（</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SAWS</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州保健局（</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LDOH</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州保健局・マラリア予防対策センター（</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LDOH-Malaria</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ケープタウン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CT</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L</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プレトリア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P</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ヴェンダ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V</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西ケープ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WC</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80533210"/>
                  </a:ext>
                </a:extLst>
              </a:tr>
              <a:tr h="294645">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9</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5~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圧直流送電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08643886"/>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0</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5~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妊産婦ケアにおける遠隔医療システム導入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ミトラ</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9443414"/>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1</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6~2018</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座屈防止板導入による鉄道施設</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軌道</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効率的な維持管理の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8787893"/>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2</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8~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海洋監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ジェットサービス、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 </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共同企業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2778270"/>
                  </a:ext>
                </a:extLst>
              </a:tr>
              <a:tr h="58929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3</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9~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星データを活用した農作物生産性向上のための農業情報サービスビジネス</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途上国の課題解決型ビジネス（</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財団法人リモート・センシング技術センター</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60860420"/>
                  </a:ext>
                </a:extLst>
              </a:tr>
              <a:tr h="589291">
                <a:tc>
                  <a:txBody>
                    <a:bodyPr/>
                    <a:lstStyle/>
                    <a:p>
                      <a:pPr algn="ctr" fontAlgn="ctr"/>
                      <a:r>
                        <a:rPr lang="en-US" altLang="ja-JP" sz="1000" b="1" dirty="0">
                          <a:latin typeface="+mj-lt"/>
                          <a:ea typeface="ＭＳ Ｐゴシック" panose="020B0600070205080204" pitchFamily="50" charset="-128"/>
                          <a:cs typeface="Arial" panose="020B0604020202020204" pitchFamily="34" charset="0"/>
                        </a:rPr>
                        <a:t>14</a:t>
                      </a:r>
                      <a:endParaRPr lang="ja-JP" altLang="en-US" sz="1000" b="1" dirty="0">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mj-lt"/>
                          <a:ea typeface="ＭＳ Ｐゴシック" panose="020B0600070205080204" pitchFamily="50" charset="-128"/>
                          <a:cs typeface="Arial" panose="020B0604020202020204" pitchFamily="34" charset="0"/>
                        </a:rPr>
                        <a:t>2022~2024</a:t>
                      </a:r>
                      <a:endParaRPr kumimoji="1" lang="zh-TW" altLang="en-US" sz="1000" b="0" i="0" u="none" strike="noStrike" kern="1200" baseline="0" dirty="0">
                        <a:solidFill>
                          <a:schemeClr val="dk1"/>
                        </a:solidFill>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進的軌道保全技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座屈防止板</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導入による脱線等の軌道事故を防止するため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92445188"/>
                  </a:ext>
                </a:extLst>
              </a:tr>
            </a:tbl>
          </a:graphicData>
        </a:graphic>
      </p:graphicFrame>
      <p:sp>
        <p:nvSpPr>
          <p:cNvPr id="8" name="テキスト ボックス 7">
            <a:extLst>
              <a:ext uri="{FF2B5EF4-FFF2-40B4-BE49-F238E27FC236}">
                <a16:creationId xmlns:a16="http://schemas.microsoft.com/office/drawing/2014/main" id="{19D55A2D-42D2-8567-781D-812A33CC843E}"/>
              </a:ext>
            </a:extLst>
          </p:cNvPr>
          <p:cNvSpPr txBox="1"/>
          <p:nvPr/>
        </p:nvSpPr>
        <p:spPr>
          <a:xfrm>
            <a:off x="200472" y="6381328"/>
            <a:ext cx="8640960" cy="288032"/>
          </a:xfrm>
          <a:prstGeom prst="rect">
            <a:avLst/>
          </a:prstGeom>
          <a:noFill/>
        </p:spPr>
        <p:txBody>
          <a:bodyPr wrap="square" lIns="0" tIns="0" rIns="0" bIns="0" rtlCol="0" anchor="b" anchorCtr="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893666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nvGraphicFramePr>
        <p:xfrm>
          <a:off x="200025" y="1412776"/>
          <a:ext cx="9504000" cy="1500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t>国立研究開発法人海洋研究開発機構</a:t>
                      </a:r>
                      <a:r>
                        <a:rPr lang="ja-JP" altLang="en-US" sz="1000" dirty="0"/>
                        <a:t>、</a:t>
                      </a:r>
                      <a:r>
                        <a:rPr lang="zh-CN" altLang="en-US" sz="1000" dirty="0"/>
                        <a:t>国立大学法人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本プロジェクトは、</a:t>
                      </a:r>
                      <a:r>
                        <a:rPr lang="en-US" altLang="ja-JP" sz="1000" dirty="0"/>
                        <a:t>JICA</a:t>
                      </a:r>
                      <a:r>
                        <a:rPr lang="ja-JP" altLang="en-US" sz="1000" dirty="0"/>
                        <a:t>の技術協力として実施され、</a:t>
                      </a:r>
                      <a:r>
                        <a:rPr lang="en-US" altLang="ja-JP" sz="1000" dirty="0"/>
                        <a:t>AMED</a:t>
                      </a:r>
                      <a:r>
                        <a:rPr lang="ja-JP" altLang="en-US" sz="1000" dirty="0"/>
                        <a:t>が共同研究全体の評価を行った</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みられる気候変動現象の関係を調べ、熱帯太平洋や南インド洋の気候変動によりもたらされる南アフリカの降水量や気温の変動が、その数ヶ月後に生じるマラリアの発生率に影響を及ぼす可能性があることを示し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3576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856639963"/>
              </p:ext>
            </p:extLst>
          </p:nvPr>
        </p:nvGraphicFramePr>
        <p:xfrm>
          <a:off x="200025" y="1124744"/>
          <a:ext cx="9504000" cy="519217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施年</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開発課題</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代表研究機関</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概要</a:t>
                      </a: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海洋研究開発機構</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プロジェクト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技術協力として実施さ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E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共同研究全体の評価を行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見られる気候変動現象の関係を調べ、熱帯太平洋や南インド洋の気候変動によりもたらされる南アフリカの降水量や気温の変動が、その数カ月後に生じるマラリアの発生率に影響を及ぼす可能性があることを示した</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菌感染における宿主マクロファージ遺伝子の保護的・破壊的作用の解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理化学研究所</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菌感染における宿主であるマクロファージ細胞の遺伝子発現変動を捕らえ、サイトカイン刺激によるマクロファージ活性化等との比較解析により、感染に対して保護的・破壊的作用を持 つ宿主遺伝子を同定して解析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647509"/>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endParaRPr kumimoji="1" lang="en-US" altLang="ja-JP"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0">
                        <a:lnSpc>
                          <a:spcPct val="100000"/>
                        </a:lnSpc>
                        <a:spcBef>
                          <a:spcPts val="0"/>
                        </a:spcBef>
                        <a:spcAft>
                          <a:spcPts val="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癇前症（妊娠高血圧腎症）におけ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の影響</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福井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共和国で高頻度に起こる特徴的な高血圧症の一種である子癇前症で、ＨＩ Ｖ感染とレニン－アンジオテンシン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遺伝子多型の及ぼす影響を明らかに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07076008"/>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0">
                        <a:lnSpc>
                          <a:spcPct val="100000"/>
                        </a:lnSpc>
                        <a:spcBef>
                          <a:spcPts val="0"/>
                        </a:spcBef>
                        <a:spcAft>
                          <a:spcPts val="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植物病原細菌</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antoe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anat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遺伝子型と病原性の多様性に関する研究</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静岡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および南アフリカの研究者が協力してイネ、トウモロコシ、ネギなど重要作物を侵す新興感染症病原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antoe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anat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ついて、その多様性を遺伝子レベルで解析し病原性の違いを遺伝子判別する手法を開発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8954111"/>
                  </a:ext>
                </a:extLst>
              </a:tr>
            </a:tbl>
          </a:graphicData>
        </a:graphic>
      </p:graphicFrame>
    </p:spTree>
    <p:extLst>
      <p:ext uri="{BB962C8B-B14F-4D97-AF65-F5344CB8AC3E}">
        <p14:creationId xmlns:p14="http://schemas.microsoft.com/office/powerpoint/2010/main" val="39121407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他</a:t>
            </a:r>
            <a:r>
              <a:rPr lang="ja-JP" altLang="en-US" sz="1400" b="0" i="0" dirty="0">
                <a:solidFill>
                  <a:srgbClr val="000000"/>
                </a:solidFill>
                <a:effectLst/>
                <a:latin typeface="ヒラギノ角ゴ Pro W3"/>
              </a:rPr>
              <a:t>輸出入や海外進出の実務の相談を無料で行うことが可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199576" y="3054194"/>
            <a:ext cx="9495807"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grpSp>
        <p:nvGrpSpPr>
          <p:cNvPr id="7" name="グループ化 6">
            <a:extLst>
              <a:ext uri="{FF2B5EF4-FFF2-40B4-BE49-F238E27FC236}">
                <a16:creationId xmlns:a16="http://schemas.microsoft.com/office/drawing/2014/main" id="{F63E4392-2EDA-B443-5FDE-E0D3C3816365}"/>
              </a:ext>
            </a:extLst>
          </p:cNvPr>
          <p:cNvGrpSpPr/>
          <p:nvPr/>
        </p:nvGrpSpPr>
        <p:grpSpPr>
          <a:xfrm>
            <a:off x="334344" y="1553845"/>
            <a:ext cx="4690663" cy="1211123"/>
            <a:chOff x="627221" y="1697861"/>
            <a:chExt cx="4176465" cy="1211123"/>
          </a:xfrm>
        </p:grpSpPr>
        <p:sp>
          <p:nvSpPr>
            <p:cNvPr id="14" name="正方形/長方形 13"/>
            <p:cNvSpPr/>
            <p:nvPr/>
          </p:nvSpPr>
          <p:spPr>
            <a:xfrm>
              <a:off x="646104" y="2079911"/>
              <a:ext cx="4093467"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7221" y="1697861"/>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grpSp>
      <p:sp>
        <p:nvSpPr>
          <p:cNvPr id="18" name="テキスト ボックス 17"/>
          <p:cNvSpPr txBox="1"/>
          <p:nvPr/>
        </p:nvSpPr>
        <p:spPr>
          <a:xfrm>
            <a:off x="199576" y="661109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grpSp>
        <p:nvGrpSpPr>
          <p:cNvPr id="8" name="グループ化 7">
            <a:extLst>
              <a:ext uri="{FF2B5EF4-FFF2-40B4-BE49-F238E27FC236}">
                <a16:creationId xmlns:a16="http://schemas.microsoft.com/office/drawing/2014/main" id="{01B83CE4-AA4C-53D2-4E19-CA4A48DDFDD9}"/>
              </a:ext>
            </a:extLst>
          </p:cNvPr>
          <p:cNvGrpSpPr/>
          <p:nvPr/>
        </p:nvGrpSpPr>
        <p:grpSpPr>
          <a:xfrm>
            <a:off x="5262194" y="1553306"/>
            <a:ext cx="4429164" cy="1446318"/>
            <a:chOff x="5262194" y="1697322"/>
            <a:chExt cx="4032447" cy="1446318"/>
          </a:xfrm>
        </p:grpSpPr>
        <p:sp>
          <p:nvSpPr>
            <p:cNvPr id="20" name="正方形/長方形 13">
              <a:extLst>
                <a:ext uri="{FF2B5EF4-FFF2-40B4-BE49-F238E27FC236}">
                  <a16:creationId xmlns:a16="http://schemas.microsoft.com/office/drawing/2014/main" id="{ACB729A5-4000-408C-8543-695E05605EBD}"/>
                </a:ext>
              </a:extLst>
            </p:cNvPr>
            <p:cNvSpPr/>
            <p:nvPr/>
          </p:nvSpPr>
          <p:spPr>
            <a:xfrm>
              <a:off x="5334201" y="2068987"/>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7</a:t>
              </a:r>
              <a:r>
                <a:rPr lang="ja-JP" altLang="en-US" sz="1400" dirty="0"/>
                <a:t>の併催イベントとして「日本・アフリカビジネスフォーラム</a:t>
              </a:r>
              <a:r>
                <a:rPr lang="en-US" altLang="ja-JP" sz="1400" dirty="0"/>
                <a:t>&amp;EXPO</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5262194" y="1697322"/>
              <a:ext cx="4032447" cy="288032"/>
              <a:chOff x="4803500" y="2113806"/>
              <a:chExt cx="2852265" cy="288032"/>
            </a:xfrm>
          </p:grpSpPr>
          <p:cxnSp>
            <p:nvCxnSpPr>
              <p:cNvPr id="22" name="直線コネクタ 15">
                <a:extLst>
                  <a:ext uri="{FF2B5EF4-FFF2-40B4-BE49-F238E27FC236}">
                    <a16:creationId xmlns:a16="http://schemas.microsoft.com/office/drawing/2014/main" id="{CDD7F5B4-FAA0-4F3D-B523-F5C55C2EA5B9}"/>
                  </a:ext>
                </a:extLst>
              </p:cNvPr>
              <p:cNvCxnSpPr>
                <a:cxnSpLocks/>
              </p:cNvCxnSpPr>
              <p:nvPr/>
            </p:nvCxnSpPr>
            <p:spPr>
              <a:xfrm>
                <a:off x="4808984" y="2401838"/>
                <a:ext cx="284678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85226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grpSp>
      <p:graphicFrame>
        <p:nvGraphicFramePr>
          <p:cNvPr id="6" name="表 5">
            <a:extLst>
              <a:ext uri="{FF2B5EF4-FFF2-40B4-BE49-F238E27FC236}">
                <a16:creationId xmlns:a16="http://schemas.microsoft.com/office/drawing/2014/main" id="{0A36A831-6697-0A46-9A99-6A46E9CB4271}"/>
              </a:ext>
            </a:extLst>
          </p:cNvPr>
          <p:cNvGraphicFramePr>
            <a:graphicFrameLocks noGrp="1"/>
          </p:cNvGraphicFramePr>
          <p:nvPr>
            <p:extLst>
              <p:ext uri="{D42A27DB-BD31-4B8C-83A1-F6EECF244321}">
                <p14:modId xmlns:p14="http://schemas.microsoft.com/office/powerpoint/2010/main" val="1909254161"/>
              </p:ext>
            </p:extLst>
          </p:nvPr>
        </p:nvGraphicFramePr>
        <p:xfrm>
          <a:off x="200023" y="3491882"/>
          <a:ext cx="9505950" cy="3017520"/>
        </p:xfrm>
        <a:graphic>
          <a:graphicData uri="http://schemas.openxmlformats.org/drawingml/2006/table">
            <a:tbl>
              <a:tblPr firstRow="1" bandRow="1">
                <a:tableStyleId>{5C22544A-7EE6-4342-B048-85BDC9FD1C3A}</a:tableStyleId>
              </a:tblPr>
              <a:tblGrid>
                <a:gridCol w="3745312">
                  <a:extLst>
                    <a:ext uri="{9D8B030D-6E8A-4147-A177-3AD203B41FA5}">
                      <a16:colId xmlns:a16="http://schemas.microsoft.com/office/drawing/2014/main" val="2204362235"/>
                    </a:ext>
                  </a:extLst>
                </a:gridCol>
                <a:gridCol w="576064">
                  <a:extLst>
                    <a:ext uri="{9D8B030D-6E8A-4147-A177-3AD203B41FA5}">
                      <a16:colId xmlns:a16="http://schemas.microsoft.com/office/drawing/2014/main" val="2450997363"/>
                    </a:ext>
                  </a:extLst>
                </a:gridCol>
                <a:gridCol w="5184574">
                  <a:extLst>
                    <a:ext uri="{9D8B030D-6E8A-4147-A177-3AD203B41FA5}">
                      <a16:colId xmlns:a16="http://schemas.microsoft.com/office/drawing/2014/main" val="3038062072"/>
                    </a:ext>
                  </a:extLst>
                </a:gridCol>
              </a:tblGrid>
              <a:tr h="229897">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239483">
                <a:tc>
                  <a:txBody>
                    <a:bodyPr/>
                    <a:lstStyle/>
                    <a:p>
                      <a:r>
                        <a:rPr lang="ja-JP" altLang="en-US" sz="1200" dirty="0"/>
                        <a:t>アフリカの</a:t>
                      </a:r>
                      <a:r>
                        <a:rPr lang="en-US" altLang="ja-JP" sz="1200" dirty="0"/>
                        <a:t>E</a:t>
                      </a:r>
                      <a:r>
                        <a:rPr lang="ja-JP" altLang="en-US" sz="1200" dirty="0"/>
                        <a:t>コマース市場</a:t>
                      </a:r>
                      <a:endParaRPr kumimoji="1" lang="ja-JP" altLang="en-US" sz="1200" dirty="0"/>
                    </a:p>
                  </a:txBody>
                  <a:tcPr/>
                </a:tc>
                <a:tc>
                  <a:txBody>
                    <a:bodyPr/>
                    <a:lstStyle/>
                    <a:p>
                      <a:pPr algn="ctr"/>
                      <a:r>
                        <a:rPr kumimoji="1" lang="en-US" altLang="ja-JP" sz="1200" dirty="0"/>
                        <a:t>2022</a:t>
                      </a:r>
                      <a:endParaRPr kumimoji="1" lang="ja-JP" altLang="en-US" sz="1200" dirty="0"/>
                    </a:p>
                  </a:txBody>
                  <a:tcPr/>
                </a:tc>
                <a:tc>
                  <a:txBody>
                    <a:bodyPr/>
                    <a:lstStyle/>
                    <a:p>
                      <a:r>
                        <a:rPr kumimoji="1" lang="en-US" altLang="ja-JP" sz="1000" dirty="0">
                          <a:hlinkClick r:id="rId6"/>
                        </a:rPr>
                        <a:t>https://www.jetro.go.jp/ext_images/_Reports/01/0f1ffd8ff84e2dda/20220006_01.pdf</a:t>
                      </a:r>
                      <a:endParaRPr kumimoji="1" lang="en-US" altLang="ja-JP" sz="1000" dirty="0"/>
                    </a:p>
                  </a:txBody>
                  <a:tcPr/>
                </a:tc>
                <a:extLst>
                  <a:ext uri="{0D108BD9-81ED-4DB2-BD59-A6C34878D82A}">
                    <a16:rowId xmlns:a16="http://schemas.microsoft.com/office/drawing/2014/main" val="1843252265"/>
                  </a:ext>
                </a:extLst>
              </a:tr>
              <a:tr h="239483">
                <a:tc>
                  <a:txBody>
                    <a:bodyPr/>
                    <a:lstStyle/>
                    <a:p>
                      <a:r>
                        <a:rPr lang="ja-JP" altLang="en-US" sz="1200" dirty="0"/>
                        <a:t>アフリカ主要国の医療機器登録制度情報</a:t>
                      </a:r>
                      <a:endParaRPr kumimoji="1" lang="ja-JP" altLang="en-US" sz="1200" dirty="0"/>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7"/>
                        </a:rPr>
                        <a:t>https://www.jetro.go.jp/ext_images/_Reports/02/2021/9b33dc8a948ba799/202105.pdf</a:t>
                      </a:r>
                      <a:endParaRPr kumimoji="1" lang="en-US" altLang="ja-JP" sz="1000" dirty="0"/>
                    </a:p>
                  </a:txBody>
                  <a:tcPr/>
                </a:tc>
                <a:extLst>
                  <a:ext uri="{0D108BD9-81ED-4DB2-BD59-A6C34878D82A}">
                    <a16:rowId xmlns:a16="http://schemas.microsoft.com/office/drawing/2014/main" val="460831471"/>
                  </a:ext>
                </a:extLst>
              </a:tr>
              <a:tr h="229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南アフリカの医療機器市場調査報告書</a:t>
                      </a:r>
                      <a:endParaRPr kumimoji="1" lang="ja-JP" altLang="en-US" sz="1200" dirty="0"/>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8"/>
                        </a:rPr>
                        <a:t>https://www.jetro.go.jp/ext_images/_Reports/02/2021/a817acb6070d228b/202107.pdf</a:t>
                      </a:r>
                      <a:endParaRPr kumimoji="1" lang="en-US" altLang="ja-JP" sz="1000" dirty="0"/>
                    </a:p>
                  </a:txBody>
                  <a:tcPr/>
                </a:tc>
                <a:extLst>
                  <a:ext uri="{0D108BD9-81ED-4DB2-BD59-A6C34878D82A}">
                    <a16:rowId xmlns:a16="http://schemas.microsoft.com/office/drawing/2014/main" val="3161460785"/>
                  </a:ext>
                </a:extLst>
              </a:tr>
              <a:tr h="229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アフリカにおけるインドの</a:t>
                      </a:r>
                      <a:r>
                        <a:rPr lang="en-US" altLang="ja-JP" sz="1200" dirty="0"/>
                        <a:t>IT</a:t>
                      </a:r>
                      <a:r>
                        <a:rPr lang="ja-JP" altLang="en-US" sz="1200" dirty="0"/>
                        <a:t>サービス調査</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1</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hlinkClick r:id="rId9"/>
                        </a:rPr>
                        <a:t>https://www.jetro.go.jp/ext_images/_Reports/01/9999cffa9b473f42/20210005.pdf</a:t>
                      </a:r>
                      <a:endParaRPr kumimoji="1" lang="en-US" altLang="ja-JP" sz="1000" dirty="0"/>
                    </a:p>
                  </a:txBody>
                  <a:tcPr/>
                </a:tc>
                <a:extLst>
                  <a:ext uri="{0D108BD9-81ED-4DB2-BD59-A6C34878D82A}">
                    <a16:rowId xmlns:a16="http://schemas.microsoft.com/office/drawing/2014/main" val="1365287592"/>
                  </a:ext>
                </a:extLst>
              </a:tr>
              <a:tr h="3831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高度外国人材海外基礎情報（南アフリカ共和国）</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1</a:t>
                      </a:r>
                      <a:endParaRPr kumimoji="1" lang="ja-JP" altLang="en-US" sz="1200" dirty="0"/>
                    </a:p>
                    <a:p>
                      <a:pPr algn="ct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hlinkClick r:id="rId10"/>
                        </a:rPr>
                        <a:t>https://www.jetro.go.jp/ext_images/_Reports/02/2021/75ad7bb9bf7910a9/rpza202103.pdf</a:t>
                      </a:r>
                      <a:endParaRPr kumimoji="1" lang="en-US" altLang="ja-JP" sz="1000" dirty="0"/>
                    </a:p>
                  </a:txBody>
                  <a:tcPr/>
                </a:tc>
                <a:extLst>
                  <a:ext uri="{0D108BD9-81ED-4DB2-BD59-A6C34878D82A}">
                    <a16:rowId xmlns:a16="http://schemas.microsoft.com/office/drawing/2014/main" val="354377623"/>
                  </a:ext>
                </a:extLst>
              </a:tr>
              <a:tr h="3831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南アフリカ共和国における新型コロナウイルス関連の</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税務・労務に関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Webinar</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0</a:t>
                      </a:r>
                      <a:endParaRPr kumimoji="1" lang="ja-JP" altLang="en-US" sz="1200" dirty="0"/>
                    </a:p>
                  </a:txBody>
                  <a:tcPr/>
                </a:tc>
                <a:tc>
                  <a:txBody>
                    <a:bodyPr/>
                    <a:lstStyle/>
                    <a:p>
                      <a:r>
                        <a:rPr kumimoji="1" lang="en-US" altLang="ja-JP" sz="1000" dirty="0"/>
                        <a:t>URL</a:t>
                      </a:r>
                      <a:r>
                        <a:rPr kumimoji="1" lang="ja-JP" altLang="en-US" sz="1000" dirty="0"/>
                        <a:t>なし</a:t>
                      </a:r>
                      <a:endParaRPr kumimoji="1" lang="en-US" altLang="ja-JP" sz="1000" dirty="0"/>
                    </a:p>
                  </a:txBody>
                  <a:tcPr/>
                </a:tc>
                <a:extLst>
                  <a:ext uri="{0D108BD9-81ED-4DB2-BD59-A6C34878D82A}">
                    <a16:rowId xmlns:a16="http://schemas.microsoft.com/office/drawing/2014/main" val="698505015"/>
                  </a:ext>
                </a:extLst>
              </a:tr>
              <a:tr h="3831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南アフリカ共和国のスタートアップ事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新興国におけるイノベーションの実態</a:t>
                      </a:r>
                      <a:endParaRPr kumimoji="1" lang="ja-JP" altLang="en-US" sz="1200" dirty="0"/>
                    </a:p>
                  </a:txBody>
                  <a:tcPr/>
                </a:tc>
                <a:tc>
                  <a:txBody>
                    <a:bodyPr/>
                    <a:lstStyle/>
                    <a:p>
                      <a:pPr algn="ctr"/>
                      <a:r>
                        <a:rPr kumimoji="1" lang="en-US" altLang="ja-JP" sz="1200" dirty="0"/>
                        <a:t>2018</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hlinkClick r:id="rId11"/>
                        </a:rPr>
                        <a:t>https://www.jetro.go.jp/ext_images/_Reports/01/dc6281dfc43c889b/20180018.pdf</a:t>
                      </a:r>
                      <a:endParaRPr kumimoji="1" lang="en-US" altLang="ja-JP" sz="1000" dirty="0"/>
                    </a:p>
                  </a:txBody>
                  <a:tcPr/>
                </a:tc>
                <a:extLst>
                  <a:ext uri="{0D108BD9-81ED-4DB2-BD59-A6C34878D82A}">
                    <a16:rowId xmlns:a16="http://schemas.microsoft.com/office/drawing/2014/main" val="88784670"/>
                  </a:ext>
                </a:extLst>
              </a:tr>
              <a:tr h="229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南アフリカの医療機器産業の展望</a:t>
                      </a:r>
                      <a:endParaRPr kumimoji="1" lang="ja-JP" altLang="en-US" sz="1200" dirty="0"/>
                    </a:p>
                  </a:txBody>
                  <a:tcPr/>
                </a:tc>
                <a:tc>
                  <a:txBody>
                    <a:bodyPr/>
                    <a:lstStyle/>
                    <a:p>
                      <a:pPr algn="ctr"/>
                      <a:r>
                        <a:rPr kumimoji="1" lang="en-US" altLang="ja-JP" sz="1200" dirty="0"/>
                        <a:t>2015</a:t>
                      </a:r>
                      <a:endParaRPr kumimoji="1" lang="ja-JP" altLang="en-US" sz="1200" dirty="0"/>
                    </a:p>
                  </a:txBody>
                  <a:tcPr/>
                </a:tc>
                <a:tc>
                  <a:txBody>
                    <a:bodyPr/>
                    <a:lstStyle/>
                    <a:p>
                      <a:r>
                        <a:rPr lang="en-US" altLang="ja-JP" sz="1000" dirty="0">
                          <a:hlinkClick r:id="rId12"/>
                        </a:rPr>
                        <a:t>report_za_me_industry201503r.pdf</a:t>
                      </a:r>
                      <a:endParaRPr kumimoji="1" lang="en-US" altLang="ja-JP" sz="1000" dirty="0"/>
                    </a:p>
                  </a:txBody>
                  <a:tcPr/>
                </a:tc>
                <a:extLst>
                  <a:ext uri="{0D108BD9-81ED-4DB2-BD59-A6C34878D82A}">
                    <a16:rowId xmlns:a16="http://schemas.microsoft.com/office/drawing/2014/main" val="2349958462"/>
                  </a:ext>
                </a:extLst>
              </a:tr>
            </a:tbl>
          </a:graphicData>
        </a:graphic>
      </p:graphicFrame>
    </p:spTree>
    <p:extLst>
      <p:ext uri="{BB962C8B-B14F-4D97-AF65-F5344CB8AC3E}">
        <p14:creationId xmlns:p14="http://schemas.microsoft.com/office/powerpoint/2010/main" val="3130057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465582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2" imgW="360" imgH="360" progId="TCLayout.ActiveDocument.1">
                  <p:embed/>
                </p:oleObj>
              </mc:Choice>
              <mc:Fallback>
                <p:oleObj name="think-cellスライド" r:id="rId92" imgW="360" imgH="360" progId="TCLayout.ActiveDocument.1">
                  <p:embed/>
                  <p:pic>
                    <p:nvPicPr>
                      <p:cNvPr id="8" name="Object 7" hidden="1"/>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8006286"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8024189"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400999"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400999"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26.38</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409528"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409528"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66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新型コロナからの回復を見せたが、慢性的な電力不足などを背景に、高い成長率は続かないと見込ま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一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だ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 name="Chart 25">
            <a:extLst>
              <a:ext uri="{FF2B5EF4-FFF2-40B4-BE49-F238E27FC236}">
                <a16:creationId xmlns:a16="http://schemas.microsoft.com/office/drawing/2014/main" id="{AF7E45B9-9AB4-5E17-66EE-C228985ED2C0}"/>
              </a:ext>
            </a:extLst>
          </p:cNvPr>
          <p:cNvGraphicFramePr/>
          <p:nvPr>
            <p:custDataLst>
              <p:tags r:id="rId3"/>
            </p:custDataLst>
            <p:extLst>
              <p:ext uri="{D42A27DB-BD31-4B8C-83A1-F6EECF244321}">
                <p14:modId xmlns:p14="http://schemas.microsoft.com/office/powerpoint/2010/main" val="200871621"/>
              </p:ext>
            </p:extLst>
          </p:nvPr>
        </p:nvGraphicFramePr>
        <p:xfrm>
          <a:off x="293688" y="1995488"/>
          <a:ext cx="7916862" cy="2116137"/>
        </p:xfrm>
        <a:graphic>
          <a:graphicData uri="http://schemas.openxmlformats.org/drawingml/2006/chart">
            <c:chart xmlns:c="http://schemas.openxmlformats.org/drawingml/2006/chart" xmlns:r="http://schemas.openxmlformats.org/officeDocument/2006/relationships" r:id="rId94"/>
          </a:graphicData>
        </a:graphic>
      </p:graphicFrame>
      <p:cxnSp>
        <p:nvCxnSpPr>
          <p:cNvPr id="179" name="Straight Connector 178">
            <a:extLst>
              <a:ext uri="{FF2B5EF4-FFF2-40B4-BE49-F238E27FC236}">
                <a16:creationId xmlns:a16="http://schemas.microsoft.com/office/drawing/2014/main" id="{497F0006-35E6-73E3-0E20-FB86757BB4E6}"/>
              </a:ext>
            </a:extLst>
          </p:cNvPr>
          <p:cNvCxnSpPr/>
          <p:nvPr>
            <p:custDataLst>
              <p:tags r:id="rId4"/>
            </p:custDataLst>
          </p:nvPr>
        </p:nvCxnSpPr>
        <p:spPr bwMode="auto">
          <a:xfrm>
            <a:off x="6488113" y="3411538"/>
            <a:ext cx="6350" cy="200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3" name="テキスト プレースホルダ 9">
            <a:extLst>
              <a:ext uri="{FF2B5EF4-FFF2-40B4-BE49-F238E27FC236}">
                <a16:creationId xmlns:a16="http://schemas.microsoft.com/office/drawing/2014/main" id="{02815C2A-48CE-5EC7-8368-4CAD27B07C6E}"/>
              </a:ext>
            </a:extLst>
          </p:cNvPr>
          <p:cNvSpPr>
            <a:spLocks/>
          </p:cNvSpPr>
          <p:nvPr>
            <p:custDataLst>
              <p:tags r:id="rId5"/>
            </p:custDataLst>
          </p:nvPr>
        </p:nvSpPr>
        <p:spPr bwMode="gray">
          <a:xfrm>
            <a:off x="752475" y="3663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7E6DE2-82EF-4791-A922-123F6D02EDB1}" type="datetime'''''''''''''''''''''''''''''''''''1''''''''5''''''''''2'''">
              <a:rPr lang="en-US" altLang="en-US" sz="1000" smtClean="0">
                <a:effectLst/>
                <a:sym typeface="+mn-lt"/>
              </a:rPr>
              <a:pPr marL="0" lvl="0" indent="0" algn="ctr">
                <a:spcBef>
                  <a:spcPct val="0"/>
                </a:spcBef>
                <a:buNone/>
              </a:pPr>
              <a:t>152</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97D42F7D-AE8C-CDAB-D19E-452EFDFCF83E}"/>
              </a:ext>
            </a:extLst>
          </p:cNvPr>
          <p:cNvSpPr>
            <a:spLocks/>
          </p:cNvSpPr>
          <p:nvPr>
            <p:custDataLst>
              <p:tags r:id="rId6"/>
            </p:custDataLst>
          </p:nvPr>
        </p:nvSpPr>
        <p:spPr bwMode="auto">
          <a:xfrm>
            <a:off x="728663"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25FFC2-C0DA-4E68-8487-B29418EDD837}"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1EEA1F04-E47B-4240-5153-47943B667C00}"/>
              </a:ext>
            </a:extLst>
          </p:cNvPr>
          <p:cNvSpPr>
            <a:spLocks/>
          </p:cNvSpPr>
          <p:nvPr>
            <p:custDataLst>
              <p:tags r:id="rId7"/>
            </p:custDataLst>
          </p:nvPr>
        </p:nvSpPr>
        <p:spPr bwMode="gray">
          <a:xfrm>
            <a:off x="1033463" y="3679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84A46A-C74A-4F99-8303-033C7877E6A4}" type="datetime'''''1''''''''''''''''3''''6'''''''''''''''''''''''">
              <a:rPr lang="en-US" altLang="en-US" sz="1000" smtClean="0">
                <a:effectLst/>
                <a:sym typeface="+mn-lt"/>
              </a:rPr>
              <a:pPr marL="0" lvl="0" indent="0" algn="ctr">
                <a:spcBef>
                  <a:spcPct val="0"/>
                </a:spcBef>
                <a:buNone/>
              </a:pPr>
              <a:t>136</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248523DA-2BA3-97F9-0C4C-1739430B0B04}"/>
              </a:ext>
            </a:extLst>
          </p:cNvPr>
          <p:cNvSpPr>
            <a:spLocks/>
          </p:cNvSpPr>
          <p:nvPr>
            <p:custDataLst>
              <p:tags r:id="rId8"/>
            </p:custDataLst>
          </p:nvPr>
        </p:nvSpPr>
        <p:spPr bwMode="auto">
          <a:xfrm>
            <a:off x="10795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0215B6-C3AC-436C-AC1B-787A863E2E08}"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B461EC2A-9EF9-9B29-FF83-01FA98ECB195}"/>
              </a:ext>
            </a:extLst>
          </p:cNvPr>
          <p:cNvSpPr>
            <a:spLocks/>
          </p:cNvSpPr>
          <p:nvPr>
            <p:custDataLst>
              <p:tags r:id="rId9"/>
            </p:custDataLst>
          </p:nvPr>
        </p:nvSpPr>
        <p:spPr bwMode="gray">
          <a:xfrm>
            <a:off x="1314450" y="3684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49BF5A-B997-47EB-B11E-1C49157BC84F}"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98B51820-4449-48C2-5948-06045D75EAB2}"/>
              </a:ext>
            </a:extLst>
          </p:cNvPr>
          <p:cNvSpPr>
            <a:spLocks/>
          </p:cNvSpPr>
          <p:nvPr>
            <p:custDataLst>
              <p:tags r:id="rId10"/>
            </p:custDataLst>
          </p:nvPr>
        </p:nvSpPr>
        <p:spPr bwMode="auto">
          <a:xfrm>
            <a:off x="1360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0E9260-7C93-4BBD-8437-D7FCAE85FC9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6D59FFF2-206F-B975-68A0-B35373F13A64}"/>
              </a:ext>
            </a:extLst>
          </p:cNvPr>
          <p:cNvSpPr>
            <a:spLocks/>
          </p:cNvSpPr>
          <p:nvPr>
            <p:custDataLst>
              <p:tags r:id="rId11"/>
            </p:custDataLst>
          </p:nvPr>
        </p:nvSpPr>
        <p:spPr bwMode="gray">
          <a:xfrm>
            <a:off x="1595438" y="36210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84BDA-0FF5-45E8-8A3C-A9911DE1D274}" type="datetime'''''''''1''''''''''''''''''''''''''''''''''''''''''9''''7'''''">
              <a:rPr lang="en-US" altLang="en-US" sz="1000" smtClean="0">
                <a:effectLst/>
                <a:sym typeface="+mn-lt"/>
              </a:rPr>
              <a:pPr marL="0" lvl="0" indent="0" algn="ctr">
                <a:spcBef>
                  <a:spcPct val="0"/>
                </a:spcBef>
                <a:buNone/>
              </a:pPr>
              <a:t>197</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283B5DFB-2A73-1783-0A4F-9D90AACF9B81}"/>
              </a:ext>
            </a:extLst>
          </p:cNvPr>
          <p:cNvSpPr>
            <a:spLocks/>
          </p:cNvSpPr>
          <p:nvPr>
            <p:custDataLst>
              <p:tags r:id="rId12"/>
            </p:custDataLst>
          </p:nvPr>
        </p:nvSpPr>
        <p:spPr bwMode="auto">
          <a:xfrm>
            <a:off x="16414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D18645-49E1-40EA-B49A-E4BA8F97413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50DF01B5-605C-D9CC-821E-21A3E9267C19}"/>
              </a:ext>
            </a:extLst>
          </p:cNvPr>
          <p:cNvSpPr>
            <a:spLocks/>
          </p:cNvSpPr>
          <p:nvPr>
            <p:custDataLst>
              <p:tags r:id="rId13"/>
            </p:custDataLst>
          </p:nvPr>
        </p:nvSpPr>
        <p:spPr bwMode="gray">
          <a:xfrm>
            <a:off x="1876425" y="35639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2AFFD-9563-4218-AFE6-2E14C0984CE9}" type="datetime'''''''''''''2''''''''''''''5''''''''''''''''6'''">
              <a:rPr lang="en-US" altLang="en-US" sz="1000" smtClean="0">
                <a:effectLst/>
                <a:sym typeface="+mn-lt"/>
              </a:rPr>
              <a:pPr marL="0" lvl="0" indent="0" algn="ctr">
                <a:spcBef>
                  <a:spcPct val="0"/>
                </a:spcBef>
                <a:buNone/>
              </a:pPr>
              <a:t>256</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50950118-E835-B678-8177-93CF7615E410}"/>
              </a:ext>
            </a:extLst>
          </p:cNvPr>
          <p:cNvSpPr>
            <a:spLocks/>
          </p:cNvSpPr>
          <p:nvPr>
            <p:custDataLst>
              <p:tags r:id="rId14"/>
            </p:custDataLst>
          </p:nvPr>
        </p:nvSpPr>
        <p:spPr bwMode="auto">
          <a:xfrm>
            <a:off x="1922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0AF889-DE5F-46EA-A219-45F7B319F33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68D3ACFC-ACF1-FA7E-9707-4FF9CE18896A}"/>
              </a:ext>
            </a:extLst>
          </p:cNvPr>
          <p:cNvSpPr>
            <a:spLocks/>
          </p:cNvSpPr>
          <p:nvPr>
            <p:custDataLst>
              <p:tags r:id="rId15"/>
            </p:custDataLst>
          </p:nvPr>
        </p:nvSpPr>
        <p:spPr bwMode="gray">
          <a:xfrm>
            <a:off x="2157413" y="35321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6C9596-C161-4521-B55C-90F9AD790DCC}" type="datetime'''''289'''''''">
              <a:rPr lang="en-US" altLang="en-US" sz="1000" smtClean="0">
                <a:effectLst/>
                <a:sym typeface="+mn-lt"/>
              </a:rPr>
              <a:pPr marL="0" lvl="0" indent="0" algn="ctr">
                <a:spcBef>
                  <a:spcPct val="0"/>
                </a:spcBef>
                <a:buNone/>
              </a:pPr>
              <a:t>289</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01036CEC-091F-AC4E-C1F5-07A410484C07}"/>
              </a:ext>
            </a:extLst>
          </p:cNvPr>
          <p:cNvSpPr>
            <a:spLocks/>
          </p:cNvSpPr>
          <p:nvPr>
            <p:custDataLst>
              <p:tags r:id="rId16"/>
            </p:custDataLst>
          </p:nvPr>
        </p:nvSpPr>
        <p:spPr bwMode="auto">
          <a:xfrm>
            <a:off x="2203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A5A7B7-67CC-4123-86B5-9C651C536F16}"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913DBE65-8F1E-54A3-3686-1BEB3153339A}"/>
              </a:ext>
            </a:extLst>
          </p:cNvPr>
          <p:cNvSpPr>
            <a:spLocks/>
          </p:cNvSpPr>
          <p:nvPr>
            <p:custDataLst>
              <p:tags r:id="rId17"/>
            </p:custDataLst>
          </p:nvPr>
        </p:nvSpPr>
        <p:spPr bwMode="gray">
          <a:xfrm>
            <a:off x="2438400" y="3517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E8C7DD-9C74-4160-94C2-E9D77B4458FA}" type="datetime'''''''''''3''''''''''''''''0''''''''''4'''''''''''''''''''''''">
              <a:rPr lang="en-US" altLang="en-US" sz="1000" smtClean="0">
                <a:effectLst/>
                <a:sym typeface="+mn-lt"/>
              </a:rPr>
              <a:pPr marL="0" lvl="0" indent="0" algn="ctr">
                <a:spcBef>
                  <a:spcPct val="0"/>
                </a:spcBef>
                <a:buNone/>
              </a:pPr>
              <a:t>304</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A5795A13-71C4-CE2B-38D8-17C3AF50FB7F}"/>
              </a:ext>
            </a:extLst>
          </p:cNvPr>
          <p:cNvSpPr>
            <a:spLocks/>
          </p:cNvSpPr>
          <p:nvPr>
            <p:custDataLst>
              <p:tags r:id="rId18"/>
            </p:custDataLst>
          </p:nvPr>
        </p:nvSpPr>
        <p:spPr bwMode="auto">
          <a:xfrm>
            <a:off x="24844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EADC1A-1A07-47A2-A196-56C0929B724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11C0A01B-52E6-6D2B-5244-B207C2CF9BFE}"/>
              </a:ext>
            </a:extLst>
          </p:cNvPr>
          <p:cNvSpPr>
            <a:spLocks/>
          </p:cNvSpPr>
          <p:nvPr>
            <p:custDataLst>
              <p:tags r:id="rId19"/>
            </p:custDataLst>
          </p:nvPr>
        </p:nvSpPr>
        <p:spPr bwMode="gray">
          <a:xfrm>
            <a:off x="2719388" y="34893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6A302-0A6E-43BE-BFF5-29DE2B28125A}" type="datetime'''''''''''3''''''''''''''''''''33'''''''''">
              <a:rPr lang="en-US" altLang="en-US" sz="1000" smtClean="0">
                <a:effectLst/>
                <a:sym typeface="+mn-lt"/>
              </a:rPr>
              <a:pPr marL="0" lvl="0" indent="0" algn="ctr">
                <a:spcBef>
                  <a:spcPct val="0"/>
                </a:spcBef>
                <a:buNone/>
              </a:pPr>
              <a:t>333</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038271BF-198E-6244-D689-8CD555EE70FC}"/>
              </a:ext>
            </a:extLst>
          </p:cNvPr>
          <p:cNvSpPr>
            <a:spLocks/>
          </p:cNvSpPr>
          <p:nvPr>
            <p:custDataLst>
              <p:tags r:id="rId20"/>
            </p:custDataLst>
          </p:nvPr>
        </p:nvSpPr>
        <p:spPr bwMode="auto">
          <a:xfrm>
            <a:off x="2765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D11FA2-2843-4174-A8D0-CFE688746FF9}"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C3A475A1-43A0-B2ED-42A3-465FC73B3049}"/>
              </a:ext>
            </a:extLst>
          </p:cNvPr>
          <p:cNvSpPr>
            <a:spLocks/>
          </p:cNvSpPr>
          <p:nvPr>
            <p:custDataLst>
              <p:tags r:id="rId21"/>
            </p:custDataLst>
          </p:nvPr>
        </p:nvSpPr>
        <p:spPr bwMode="gray">
          <a:xfrm>
            <a:off x="3000375" y="35052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8A9DF-4C87-4DAB-886D-8B31563BC61A}" type="datetime'''''''''''''''3''1''6'''''''''''''''''">
              <a:rPr lang="en-US" altLang="en-US" sz="1000" smtClean="0">
                <a:effectLst/>
                <a:sym typeface="+mn-lt"/>
              </a:rPr>
              <a:pPr marL="0" lvl="0" indent="0" algn="ctr">
                <a:spcBef>
                  <a:spcPct val="0"/>
                </a:spcBef>
                <a:buNone/>
              </a:pPr>
              <a:t>316</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E31B4A4B-352A-20E7-CA03-8CC363711672}"/>
              </a:ext>
            </a:extLst>
          </p:cNvPr>
          <p:cNvSpPr>
            <a:spLocks/>
          </p:cNvSpPr>
          <p:nvPr>
            <p:custDataLst>
              <p:tags r:id="rId22"/>
            </p:custDataLst>
          </p:nvPr>
        </p:nvSpPr>
        <p:spPr bwMode="auto">
          <a:xfrm>
            <a:off x="3046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CCA30D-13A2-4269-AD79-88C2486B391D}"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7654E98B-84FD-9B8C-6122-2B82152E9ED7}"/>
              </a:ext>
            </a:extLst>
          </p:cNvPr>
          <p:cNvSpPr>
            <a:spLocks/>
          </p:cNvSpPr>
          <p:nvPr>
            <p:custDataLst>
              <p:tags r:id="rId23"/>
            </p:custDataLst>
          </p:nvPr>
        </p:nvSpPr>
        <p:spPr bwMode="gray">
          <a:xfrm>
            <a:off x="3281363" y="34909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DB54AE-8A3C-43E8-9D3D-612B9BC5F96D}" type="datetime'''''3''''3''''''''''''''1'''''">
              <a:rPr lang="en-US" altLang="en-US" sz="1000" smtClean="0">
                <a:effectLst/>
                <a:sym typeface="+mn-lt"/>
              </a:rPr>
              <a:pPr marL="0" lvl="0" indent="0" algn="ctr">
                <a:spcBef>
                  <a:spcPct val="0"/>
                </a:spcBef>
                <a:buNone/>
              </a:pPr>
              <a:t>331</a:t>
            </a:fld>
            <a:endParaRPr kumimoji="1" lang="en-US" altLang="ja-JP" sz="1000" dirty="0">
              <a:sym typeface="+mn-lt"/>
            </a:endParaRPr>
          </a:p>
        </p:txBody>
      </p:sp>
      <p:sp useBgFill="1">
        <p:nvSpPr>
          <p:cNvPr id="163" name="テキスト プレースホルダ 9">
            <a:extLst>
              <a:ext uri="{FF2B5EF4-FFF2-40B4-BE49-F238E27FC236}">
                <a16:creationId xmlns:a16="http://schemas.microsoft.com/office/drawing/2014/main" id="{F0E6CF5F-4243-4046-A2B6-B98E2C81D5C8}"/>
              </a:ext>
            </a:extLst>
          </p:cNvPr>
          <p:cNvSpPr>
            <a:spLocks/>
          </p:cNvSpPr>
          <p:nvPr>
            <p:custDataLst>
              <p:tags r:id="rId24"/>
            </p:custDataLst>
          </p:nvPr>
        </p:nvSpPr>
        <p:spPr bwMode="gray">
          <a:xfrm>
            <a:off x="3278188" y="292893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10610D-BAC3-46F9-A5B8-41A9815EC0E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D83A19CF-65B2-31F3-B4B0-6B257A9C1ECE}"/>
              </a:ext>
            </a:extLst>
          </p:cNvPr>
          <p:cNvSpPr>
            <a:spLocks/>
          </p:cNvSpPr>
          <p:nvPr>
            <p:custDataLst>
              <p:tags r:id="rId25"/>
            </p:custDataLst>
          </p:nvPr>
        </p:nvSpPr>
        <p:spPr bwMode="auto">
          <a:xfrm>
            <a:off x="33274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454E3A-FC0C-4812-8315-5630AE70E14A}"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85927F19-215F-1520-7389-5617CAB545D8}"/>
              </a:ext>
            </a:extLst>
          </p:cNvPr>
          <p:cNvSpPr>
            <a:spLocks/>
          </p:cNvSpPr>
          <p:nvPr>
            <p:custDataLst>
              <p:tags r:id="rId26"/>
            </p:custDataLst>
          </p:nvPr>
        </p:nvSpPr>
        <p:spPr bwMode="gray">
          <a:xfrm>
            <a:off x="3562350" y="34083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F1C3FC-3176-44B9-93DD-EA15ED96F449}" type="datetime'''''''''''''4''1''''''''''''''''''7'''''''''''''''''">
              <a:rPr lang="en-US" altLang="en-US" sz="1000" smtClean="0">
                <a:effectLst/>
                <a:sym typeface="+mn-lt"/>
              </a:rPr>
              <a:pPr marL="0" lvl="0" indent="0" algn="ctr">
                <a:spcBef>
                  <a:spcPct val="0"/>
                </a:spcBef>
                <a:buNone/>
              </a:pPr>
              <a:t>417</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197E1DB5-CAE1-2018-936C-1764F3BB26CF}"/>
              </a:ext>
            </a:extLst>
          </p:cNvPr>
          <p:cNvSpPr>
            <a:spLocks/>
          </p:cNvSpPr>
          <p:nvPr>
            <p:custDataLst>
              <p:tags r:id="rId27"/>
            </p:custDataLst>
          </p:nvPr>
        </p:nvSpPr>
        <p:spPr bwMode="auto">
          <a:xfrm>
            <a:off x="3608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B1D9BA-699F-4C2E-AFD1-8F4597344604}"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0FB10E1B-51CD-66FF-3B56-17EC2EDD28CE}"/>
              </a:ext>
            </a:extLst>
          </p:cNvPr>
          <p:cNvSpPr>
            <a:spLocks/>
          </p:cNvSpPr>
          <p:nvPr>
            <p:custDataLst>
              <p:tags r:id="rId28"/>
            </p:custDataLst>
          </p:nvPr>
        </p:nvSpPr>
        <p:spPr bwMode="gray">
          <a:xfrm>
            <a:off x="3843338" y="3368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32851B-598B-40E4-B8A6-ABFC9FC614F7}" type="datetime'''''''''''''''''''''''4''''5''''''''''''''''''''''9'''''''''''">
              <a:rPr lang="en-US" altLang="en-US" sz="1000" smtClean="0">
                <a:effectLst/>
                <a:sym typeface="+mn-lt"/>
              </a:rPr>
              <a:pPr marL="0" lvl="0" indent="0" algn="ctr">
                <a:spcBef>
                  <a:spcPct val="0"/>
                </a:spcBef>
                <a:buNone/>
              </a:pPr>
              <a:t>459</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88964B8F-1F4B-D41F-3ADA-02E9AF30DFC3}"/>
              </a:ext>
            </a:extLst>
          </p:cNvPr>
          <p:cNvSpPr>
            <a:spLocks/>
          </p:cNvSpPr>
          <p:nvPr>
            <p:custDataLst>
              <p:tags r:id="rId29"/>
            </p:custDataLst>
          </p:nvPr>
        </p:nvSpPr>
        <p:spPr bwMode="auto">
          <a:xfrm>
            <a:off x="3889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8EB685-E5AE-4F2D-BE53-368FFEDC843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753AE06E-8443-5399-7EC6-05230F90A4E2}"/>
              </a:ext>
            </a:extLst>
          </p:cNvPr>
          <p:cNvSpPr>
            <a:spLocks/>
          </p:cNvSpPr>
          <p:nvPr>
            <p:custDataLst>
              <p:tags r:id="rId30"/>
            </p:custDataLst>
          </p:nvPr>
        </p:nvSpPr>
        <p:spPr bwMode="gray">
          <a:xfrm>
            <a:off x="4125913" y="33924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8DB490-5D9C-47C0-AC0C-207A9F3B9DB3}" type="datetime'''''''''''''''''''''4''''''''3''''''''4'''''''''''''''''">
              <a:rPr lang="en-US" altLang="en-US" sz="1000" smtClean="0">
                <a:effectLst/>
                <a:sym typeface="+mn-lt"/>
              </a:rPr>
              <a:pPr marL="0" lvl="0" indent="0" algn="ctr">
                <a:spcBef>
                  <a:spcPct val="0"/>
                </a:spcBef>
                <a:buNone/>
              </a:pPr>
              <a:t>434</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B3BC3E57-6F97-8B13-9245-62EC5609FA6F}"/>
              </a:ext>
            </a:extLst>
          </p:cNvPr>
          <p:cNvSpPr>
            <a:spLocks/>
          </p:cNvSpPr>
          <p:nvPr>
            <p:custDataLst>
              <p:tags r:id="rId31"/>
            </p:custDataLst>
          </p:nvPr>
        </p:nvSpPr>
        <p:spPr bwMode="auto">
          <a:xfrm>
            <a:off x="41719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215ED-CAF9-4AE7-B518-0C291008A5F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77AA8399-D4FC-B30B-092B-6AD77DEEB32C}"/>
              </a:ext>
            </a:extLst>
          </p:cNvPr>
          <p:cNvSpPr>
            <a:spLocks/>
          </p:cNvSpPr>
          <p:nvPr>
            <p:custDataLst>
              <p:tags r:id="rId32"/>
            </p:custDataLst>
          </p:nvPr>
        </p:nvSpPr>
        <p:spPr bwMode="gray">
          <a:xfrm>
            <a:off x="4406900" y="3424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411628-2B7B-4B12-BC21-FF8EA1ED9486}" type="datetime'''''''''''''''''''''''''''''''''''''4''''0''''''1'''''''''''">
              <a:rPr lang="en-US" altLang="en-US" sz="1000" smtClean="0">
                <a:effectLst/>
                <a:sym typeface="+mn-lt"/>
              </a:rPr>
              <a:pPr marL="0" lvl="0" indent="0" algn="ctr">
                <a:spcBef>
                  <a:spcPct val="0"/>
                </a:spcBef>
                <a:buNone/>
              </a:pPr>
              <a:t>401</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F3A7461C-FA8C-2358-90EE-81E4DC587B22}"/>
              </a:ext>
            </a:extLst>
          </p:cNvPr>
          <p:cNvSpPr>
            <a:spLocks/>
          </p:cNvSpPr>
          <p:nvPr>
            <p:custDataLst>
              <p:tags r:id="rId33"/>
            </p:custDataLst>
          </p:nvPr>
        </p:nvSpPr>
        <p:spPr bwMode="auto">
          <a:xfrm>
            <a:off x="4452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BC67CF-B10C-463A-9DEC-CFFBBA66D70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1E4A222C-1AFF-3F84-3A31-A5015C7291CF}"/>
              </a:ext>
            </a:extLst>
          </p:cNvPr>
          <p:cNvSpPr>
            <a:spLocks/>
          </p:cNvSpPr>
          <p:nvPr>
            <p:custDataLst>
              <p:tags r:id="rId34"/>
            </p:custDataLst>
          </p:nvPr>
        </p:nvSpPr>
        <p:spPr bwMode="gray">
          <a:xfrm>
            <a:off x="4687888"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859749-70FE-496D-8DC9-E9A831C736B9}"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38F0601E-53D5-81B3-6F39-22D20E604169}"/>
              </a:ext>
            </a:extLst>
          </p:cNvPr>
          <p:cNvSpPr>
            <a:spLocks/>
          </p:cNvSpPr>
          <p:nvPr>
            <p:custDataLst>
              <p:tags r:id="rId35"/>
            </p:custDataLst>
          </p:nvPr>
        </p:nvSpPr>
        <p:spPr bwMode="auto">
          <a:xfrm>
            <a:off x="4733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CD7164-F45C-4868-B189-24373033542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22E43119-A3C8-C26D-FFB7-62D7BBDD8C91}"/>
              </a:ext>
            </a:extLst>
          </p:cNvPr>
          <p:cNvSpPr>
            <a:spLocks/>
          </p:cNvSpPr>
          <p:nvPr>
            <p:custDataLst>
              <p:tags r:id="rId36"/>
            </p:custDataLst>
          </p:nvPr>
        </p:nvSpPr>
        <p:spPr bwMode="gray">
          <a:xfrm>
            <a:off x="4968875" y="3476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D19C8E-8D66-4093-8A1C-B667F08F6570}" type="datetime'''''''''''''''''''''''''''3''''''''''''''4''''7'''''">
              <a:rPr lang="en-US" altLang="en-US" sz="1000" smtClean="0">
                <a:effectLst/>
                <a:sym typeface="+mn-lt"/>
              </a:rPr>
              <a:pPr marL="0" lvl="0" indent="0" algn="ctr">
                <a:spcBef>
                  <a:spcPct val="0"/>
                </a:spcBef>
                <a:buNone/>
              </a:pPr>
              <a:t>347</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40E57C1A-EF09-079E-0C81-F13435B06CA2}"/>
              </a:ext>
            </a:extLst>
          </p:cNvPr>
          <p:cNvSpPr>
            <a:spLocks/>
          </p:cNvSpPr>
          <p:nvPr>
            <p:custDataLst>
              <p:tags r:id="rId37"/>
            </p:custDataLst>
          </p:nvPr>
        </p:nvSpPr>
        <p:spPr bwMode="auto">
          <a:xfrm>
            <a:off x="5014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27DFE0-BDC7-433D-920F-1BCFC53CCF57}"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60CD5324-5481-6535-E297-C856601931E4}"/>
              </a:ext>
            </a:extLst>
          </p:cNvPr>
          <p:cNvSpPr>
            <a:spLocks/>
          </p:cNvSpPr>
          <p:nvPr>
            <p:custDataLst>
              <p:tags r:id="rId38"/>
            </p:custDataLst>
          </p:nvPr>
        </p:nvSpPr>
        <p:spPr bwMode="gray">
          <a:xfrm>
            <a:off x="5249863" y="34988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DA687-A517-4E68-8681-A93B2CB2B80F}" type="datetime'''''''''''''''''''''32''''''''''''''''''''''''3'''">
              <a:rPr lang="en-US" altLang="en-US" sz="1000" smtClean="0">
                <a:effectLst/>
                <a:sym typeface="+mn-lt"/>
              </a:rPr>
              <a:pPr marL="0" lvl="0" indent="0" algn="ctr">
                <a:spcBef>
                  <a:spcPct val="0"/>
                </a:spcBef>
                <a:buNone/>
              </a:pPr>
              <a:t>323</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F97DC7AB-C6DA-EA40-BA20-E519D948F5D4}"/>
              </a:ext>
            </a:extLst>
          </p:cNvPr>
          <p:cNvSpPr>
            <a:spLocks/>
          </p:cNvSpPr>
          <p:nvPr>
            <p:custDataLst>
              <p:tags r:id="rId39"/>
            </p:custDataLst>
          </p:nvPr>
        </p:nvSpPr>
        <p:spPr bwMode="auto">
          <a:xfrm>
            <a:off x="52959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3B520-CC10-4082-BC55-DB0B92784DB9}"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200153E1-A2AB-04E7-2176-7F867CA6AE94}"/>
              </a:ext>
            </a:extLst>
          </p:cNvPr>
          <p:cNvSpPr>
            <a:spLocks/>
          </p:cNvSpPr>
          <p:nvPr>
            <p:custDataLst>
              <p:tags r:id="rId40"/>
            </p:custDataLst>
          </p:nvPr>
        </p:nvSpPr>
        <p:spPr bwMode="gray">
          <a:xfrm>
            <a:off x="5530850"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96F22-8098-4CE4-B9B3-CDBF5509072B}"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A69B48DE-1B07-D563-7C54-6D9749EAEFA3}"/>
              </a:ext>
            </a:extLst>
          </p:cNvPr>
          <p:cNvSpPr>
            <a:spLocks/>
          </p:cNvSpPr>
          <p:nvPr>
            <p:custDataLst>
              <p:tags r:id="rId41"/>
            </p:custDataLst>
          </p:nvPr>
        </p:nvSpPr>
        <p:spPr bwMode="auto">
          <a:xfrm>
            <a:off x="5576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FE8505-9D42-46FD-86AF-C90EFBA9FF56}"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72" name="テキスト プレースホルダ 9">
            <a:extLst>
              <a:ext uri="{FF2B5EF4-FFF2-40B4-BE49-F238E27FC236}">
                <a16:creationId xmlns:a16="http://schemas.microsoft.com/office/drawing/2014/main" id="{E2AD501D-B6DC-D0EC-504C-17D64D5F2C28}"/>
              </a:ext>
            </a:extLst>
          </p:cNvPr>
          <p:cNvSpPr>
            <a:spLocks/>
          </p:cNvSpPr>
          <p:nvPr>
            <p:custDataLst>
              <p:tags r:id="rId42"/>
            </p:custDataLst>
          </p:nvPr>
        </p:nvSpPr>
        <p:spPr bwMode="gray">
          <a:xfrm>
            <a:off x="5811838" y="3421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3A6BA9-9BF6-45D7-BB9C-43FE8DB12AFB}" type="datetime'''''''''''''''''''''''''''''4''''''''''''''''''0''5'''''">
              <a:rPr lang="en-US" altLang="en-US" sz="1000" smtClean="0">
                <a:effectLst/>
                <a:sym typeface="+mn-lt"/>
              </a:rPr>
              <a:pPr marL="0" lvl="0" indent="0" algn="ctr">
                <a:spcBef>
                  <a:spcPct val="0"/>
                </a:spcBef>
                <a:buNone/>
              </a:pPr>
              <a:t>405</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C70A79C6-31D7-7A9E-99B4-3B83DC92FF9C}"/>
              </a:ext>
            </a:extLst>
          </p:cNvPr>
          <p:cNvSpPr>
            <a:spLocks/>
          </p:cNvSpPr>
          <p:nvPr>
            <p:custDataLst>
              <p:tags r:id="rId43"/>
            </p:custDataLst>
          </p:nvPr>
        </p:nvSpPr>
        <p:spPr bwMode="auto">
          <a:xfrm>
            <a:off x="58578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770E46-2B6A-4594-B3AD-05EA66961929}"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4" name="Text Placeholder 12"/>
          <p:cNvSpPr>
            <a:spLocks noGrp="1"/>
          </p:cNvSpPr>
          <p:nvPr>
            <p:custDataLst>
              <p:tags r:id="rId44"/>
            </p:custDataLst>
          </p:nvPr>
        </p:nvSpPr>
        <p:spPr bwMode="auto">
          <a:xfrm>
            <a:off x="396875"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01" name="テキスト プレースホルダ 9">
            <a:extLst>
              <a:ext uri="{FF2B5EF4-FFF2-40B4-BE49-F238E27FC236}">
                <a16:creationId xmlns:a16="http://schemas.microsoft.com/office/drawing/2014/main" id="{A33F5294-E757-70C3-9EA2-0829117F8818}"/>
              </a:ext>
            </a:extLst>
          </p:cNvPr>
          <p:cNvSpPr>
            <a:spLocks/>
          </p:cNvSpPr>
          <p:nvPr>
            <p:custDataLst>
              <p:tags r:id="rId45"/>
            </p:custDataLst>
          </p:nvPr>
        </p:nvSpPr>
        <p:spPr bwMode="auto">
          <a:xfrm>
            <a:off x="61388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F2EE4B-B538-422B-AB8D-2FE619641D4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74" name="テキスト プレースホルダ 9">
            <a:extLst>
              <a:ext uri="{FF2B5EF4-FFF2-40B4-BE49-F238E27FC236}">
                <a16:creationId xmlns:a16="http://schemas.microsoft.com/office/drawing/2014/main" id="{7E60F38B-FE96-771D-66DA-4B9824A47D48}"/>
              </a:ext>
            </a:extLst>
          </p:cNvPr>
          <p:cNvSpPr>
            <a:spLocks/>
          </p:cNvSpPr>
          <p:nvPr>
            <p:custDataLst>
              <p:tags r:id="rId46"/>
            </p:custDataLst>
          </p:nvPr>
        </p:nvSpPr>
        <p:spPr bwMode="gray">
          <a:xfrm>
            <a:off x="6373813" y="3484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6727F-1C46-41DC-ADAD-8E96D59C85C5}" type="datetime'''3''3''8'''''''''''''''''''''''''''''''''''''''''''">
              <a:rPr lang="en-US" altLang="en-US" sz="1000" smtClean="0">
                <a:effectLst/>
                <a:sym typeface="+mn-lt"/>
              </a:rPr>
              <a:pPr marL="0" lvl="0" indent="0" algn="ctr">
                <a:spcBef>
                  <a:spcPct val="0"/>
                </a:spcBef>
                <a:buNone/>
              </a:pPr>
              <a:t>338</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F6759702-A91F-26D5-7779-7C45D9E27D8D}"/>
              </a:ext>
            </a:extLst>
          </p:cNvPr>
          <p:cNvSpPr>
            <a:spLocks/>
          </p:cNvSpPr>
          <p:nvPr>
            <p:custDataLst>
              <p:tags r:id="rId47"/>
            </p:custDataLst>
          </p:nvPr>
        </p:nvSpPr>
        <p:spPr bwMode="gray">
          <a:xfrm>
            <a:off x="6361113" y="3259138"/>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16388F9-B88F-472F-AB16-3547B3846FC3}" type="datetime'''''-''''''''''''''''''6''''.''''''2'''''''''''">
              <a:rPr lang="en-US" altLang="en-US" sz="1000" smtClean="0">
                <a:effectLst/>
                <a:sym typeface="+mn-lt"/>
              </a:rPr>
              <a:pPr marL="0" lvl="0" indent="0">
                <a:spcBef>
                  <a:spcPct val="0"/>
                </a:spcBef>
                <a:buNone/>
              </a:pPr>
              <a:t>-6.2</a:t>
            </a:fld>
            <a:endParaRPr kumimoji="1" lang="en-US" altLang="ja-JP" sz="1000" dirty="0">
              <a:sym typeface="+mn-lt"/>
            </a:endParaRPr>
          </a:p>
        </p:txBody>
      </p:sp>
      <p:sp>
        <p:nvSpPr>
          <p:cNvPr id="42" name="Text Placeholder 12"/>
          <p:cNvSpPr>
            <a:spLocks noGrp="1"/>
          </p:cNvSpPr>
          <p:nvPr>
            <p:custDataLst>
              <p:tags r:id="rId48"/>
            </p:custDataLst>
          </p:nvPr>
        </p:nvSpPr>
        <p:spPr bwMode="auto">
          <a:xfrm>
            <a:off x="7810500"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02" name="テキスト プレースホルダ 9">
            <a:extLst>
              <a:ext uri="{FF2B5EF4-FFF2-40B4-BE49-F238E27FC236}">
                <a16:creationId xmlns:a16="http://schemas.microsoft.com/office/drawing/2014/main" id="{7756A6A6-6FC3-B539-97DD-A9E12DFAA35B}"/>
              </a:ext>
            </a:extLst>
          </p:cNvPr>
          <p:cNvSpPr>
            <a:spLocks/>
          </p:cNvSpPr>
          <p:nvPr>
            <p:custDataLst>
              <p:tags r:id="rId49"/>
            </p:custDataLst>
          </p:nvPr>
        </p:nvSpPr>
        <p:spPr bwMode="auto">
          <a:xfrm>
            <a:off x="64198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5A318-9E17-4576-B5D0-A5DFB2A5FBE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7DF410DB-C2E5-1250-FF8F-1D9DE32DD315}"/>
              </a:ext>
            </a:extLst>
          </p:cNvPr>
          <p:cNvSpPr>
            <a:spLocks/>
          </p:cNvSpPr>
          <p:nvPr>
            <p:custDataLst>
              <p:tags r:id="rId50"/>
            </p:custDataLst>
          </p:nvPr>
        </p:nvSpPr>
        <p:spPr bwMode="gray">
          <a:xfrm>
            <a:off x="6654800" y="3406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FCD825-C014-4BA7-B362-7ADA7D5DF536}" type="datetime'4''''''''2''''''''''''''''''''''''''''0'''''''''''''">
              <a:rPr lang="en-US" altLang="en-US" sz="1000" smtClean="0">
                <a:effectLst/>
                <a:sym typeface="+mn-lt"/>
              </a:rPr>
              <a:pPr marL="0" lvl="0" indent="0" algn="ctr">
                <a:spcBef>
                  <a:spcPct val="0"/>
                </a:spcBef>
                <a:buNone/>
              </a:pPr>
              <a:t>420</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B990F4F4-9623-E5E9-4F97-9E98D94D7B2B}"/>
              </a:ext>
            </a:extLst>
          </p:cNvPr>
          <p:cNvSpPr>
            <a:spLocks/>
          </p:cNvSpPr>
          <p:nvPr>
            <p:custDataLst>
              <p:tags r:id="rId51"/>
            </p:custDataLst>
          </p:nvPr>
        </p:nvSpPr>
        <p:spPr bwMode="gray">
          <a:xfrm>
            <a:off x="6092825" y="3435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BD59FA-6D7F-47CF-95E1-242EE6C6FC1C}" type="datetime'''''''''''''3''''''''''''''''''''''8''''''''''''9'">
              <a:rPr lang="en-US" altLang="en-US" sz="1000" smtClean="0">
                <a:effectLst/>
                <a:sym typeface="+mn-lt"/>
              </a:rPr>
              <a:pPr marL="0" lvl="0" indent="0" algn="ctr">
                <a:spcBef>
                  <a:spcPct val="0"/>
                </a:spcBef>
                <a:buNone/>
              </a:pPr>
              <a:t>389</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F1CB909B-9091-E666-F85E-4985DDBFA2E7}"/>
              </a:ext>
            </a:extLst>
          </p:cNvPr>
          <p:cNvSpPr>
            <a:spLocks/>
          </p:cNvSpPr>
          <p:nvPr>
            <p:custDataLst>
              <p:tags r:id="rId52"/>
            </p:custDataLst>
          </p:nvPr>
        </p:nvSpPr>
        <p:spPr bwMode="gray">
          <a:xfrm>
            <a:off x="6935788" y="34178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A90B1-C724-49EB-B547-EFEDBA0923FE}" type="datetime'''''''''''''''''''''''''''''4''''''''''''0''''7'''''''''''''">
              <a:rPr lang="en-US" altLang="en-US" sz="1000" smtClean="0">
                <a:effectLst/>
                <a:sym typeface="+mn-lt"/>
              </a:rPr>
              <a:pPr marL="0" lvl="0" indent="0" algn="ctr">
                <a:spcBef>
                  <a:spcPct val="0"/>
                </a:spcBef>
                <a:buNone/>
              </a:pPr>
              <a:t>407</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FC96DC6A-8F82-7ECA-34A7-F263EACE46A0}"/>
              </a:ext>
            </a:extLst>
          </p:cNvPr>
          <p:cNvSpPr>
            <a:spLocks/>
          </p:cNvSpPr>
          <p:nvPr>
            <p:custDataLst>
              <p:tags r:id="rId53"/>
            </p:custDataLst>
          </p:nvPr>
        </p:nvSpPr>
        <p:spPr bwMode="auto">
          <a:xfrm>
            <a:off x="69818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B03F3-2C0E-4CB4-8BC8-E5D0B91DFBAE}"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E8BA6E30-080D-4EFF-5F31-129EDF434C3E}"/>
              </a:ext>
            </a:extLst>
          </p:cNvPr>
          <p:cNvSpPr>
            <a:spLocks/>
          </p:cNvSpPr>
          <p:nvPr>
            <p:custDataLst>
              <p:tags r:id="rId54"/>
            </p:custDataLst>
          </p:nvPr>
        </p:nvSpPr>
        <p:spPr bwMode="gray">
          <a:xfrm>
            <a:off x="7216775"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B04920-A641-4935-BED8-6CA3DF6EA226}"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FD01D769-BD72-9824-6713-5F9757BE7455}"/>
              </a:ext>
            </a:extLst>
          </p:cNvPr>
          <p:cNvSpPr>
            <a:spLocks/>
          </p:cNvSpPr>
          <p:nvPr>
            <p:custDataLst>
              <p:tags r:id="rId55"/>
            </p:custDataLst>
          </p:nvPr>
        </p:nvSpPr>
        <p:spPr bwMode="auto">
          <a:xfrm>
            <a:off x="72628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E0ECD5-07CB-4785-B915-42325FCD0A85}"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C5C77C66-D26B-AB57-523E-37C19678DFED}"/>
              </a:ext>
            </a:extLst>
          </p:cNvPr>
          <p:cNvSpPr>
            <a:spLocks/>
          </p:cNvSpPr>
          <p:nvPr>
            <p:custDataLst>
              <p:tags r:id="rId56"/>
            </p:custDataLst>
          </p:nvPr>
        </p:nvSpPr>
        <p:spPr bwMode="auto">
          <a:xfrm>
            <a:off x="75438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D661E-0068-4AB3-9067-0F5866F63010}" type="datetime'''''''''''''''''''''''''''2''''''''''''''''''4'''''''''''">
              <a:rPr lang="en-US" altLang="en-US" sz="1000" smtClean="0"/>
              <a:pPr/>
              <a:t>24</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F0C20859-D8D5-06B9-E6E9-C68C97809180}"/>
              </a:ext>
            </a:extLst>
          </p:cNvPr>
          <p:cNvSpPr>
            <a:spLocks/>
          </p:cNvSpPr>
          <p:nvPr>
            <p:custDataLst>
              <p:tags r:id="rId57"/>
            </p:custDataLst>
          </p:nvPr>
        </p:nvSpPr>
        <p:spPr bwMode="gray">
          <a:xfrm>
            <a:off x="7497763" y="3424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9D6D58-BA64-40B9-A9CF-3FD590EDB828}" type="datetime'''''''''''''''''''''''''''''4''''''''''0''''''''''1'''''''''">
              <a:rPr lang="en-US" altLang="en-US" sz="1000" smtClean="0">
                <a:effectLst/>
                <a:sym typeface="+mn-lt"/>
              </a:rPr>
              <a:pPr/>
              <a:t>401</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C464510C-A1CC-DB61-CCB8-C40510C18EC5}"/>
              </a:ext>
            </a:extLst>
          </p:cNvPr>
          <p:cNvSpPr>
            <a:spLocks/>
          </p:cNvSpPr>
          <p:nvPr>
            <p:custDataLst>
              <p:tags r:id="rId58"/>
            </p:custDataLst>
          </p:nvPr>
        </p:nvSpPr>
        <p:spPr bwMode="auto">
          <a:xfrm>
            <a:off x="67008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3F4B8-6B23-4E03-B07E-559F3EA9E9E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 name="Rectangle 2"/>
          <p:cNvSpPr/>
          <p:nvPr>
            <p:custDataLst>
              <p:tags r:id="rId59"/>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0"/>
            </p:custDataLst>
          </p:nvPr>
        </p:nvCxnSpPr>
        <p:spPr bwMode="gray">
          <a:xfrm>
            <a:off x="8234363"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3"/>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102" name="Chart 101">
            <a:extLst>
              <a:ext uri="{FF2B5EF4-FFF2-40B4-BE49-F238E27FC236}">
                <a16:creationId xmlns:a16="http://schemas.microsoft.com/office/drawing/2014/main" id="{839F164E-8C91-3974-24AF-870E35F1E8BC}"/>
              </a:ext>
            </a:extLst>
          </p:cNvPr>
          <p:cNvGraphicFramePr/>
          <p:nvPr>
            <p:custDataLst>
              <p:tags r:id="rId64"/>
            </p:custDataLst>
            <p:extLst>
              <p:ext uri="{D42A27DB-BD31-4B8C-83A1-F6EECF244321}">
                <p14:modId xmlns:p14="http://schemas.microsoft.com/office/powerpoint/2010/main" val="1741224883"/>
              </p:ext>
            </p:extLst>
          </p:nvPr>
        </p:nvGraphicFramePr>
        <p:xfrm>
          <a:off x="119063" y="4568825"/>
          <a:ext cx="8056562" cy="2038350"/>
        </p:xfrm>
        <a:graphic>
          <a:graphicData uri="http://schemas.openxmlformats.org/drawingml/2006/chart">
            <c:chart xmlns:c="http://schemas.openxmlformats.org/drawingml/2006/chart" xmlns:r="http://schemas.openxmlformats.org/officeDocument/2006/relationships" r:id="rId95"/>
          </a:graphicData>
        </a:graphic>
      </p:graphicFrame>
      <p:sp>
        <p:nvSpPr>
          <p:cNvPr id="43" name="Text Placeholder 12">
            <a:extLst>
              <a:ext uri="{FF2B5EF4-FFF2-40B4-BE49-F238E27FC236}">
                <a16:creationId xmlns:a16="http://schemas.microsoft.com/office/drawing/2014/main" id="{FB36FA4A-72FF-DBBF-B047-1557BD8DF639}"/>
              </a:ext>
            </a:extLst>
          </p:cNvPr>
          <p:cNvSpPr>
            <a:spLocks noGrp="1"/>
          </p:cNvSpPr>
          <p:nvPr>
            <p:custDataLst>
              <p:tags r:id="rId65"/>
            </p:custDataLst>
          </p:nvPr>
        </p:nvSpPr>
        <p:spPr bwMode="auto">
          <a:xfrm>
            <a:off x="222250" y="4494213"/>
            <a:ext cx="265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US$)</a:t>
            </a:r>
          </a:p>
        </p:txBody>
      </p:sp>
      <p:sp>
        <p:nvSpPr>
          <p:cNvPr id="64" name="テキスト プレースホルダ 9">
            <a:extLst>
              <a:ext uri="{FF2B5EF4-FFF2-40B4-BE49-F238E27FC236}">
                <a16:creationId xmlns:a16="http://schemas.microsoft.com/office/drawing/2014/main" id="{604B0684-6BB4-E2B6-8FA0-DA29FB732EBC}"/>
              </a:ext>
            </a:extLst>
          </p:cNvPr>
          <p:cNvSpPr>
            <a:spLocks/>
          </p:cNvSpPr>
          <p:nvPr>
            <p:custDataLst>
              <p:tags r:id="rId66"/>
            </p:custDataLst>
          </p:nvPr>
        </p:nvSpPr>
        <p:spPr bwMode="auto">
          <a:xfrm>
            <a:off x="733425"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1C072-7979-44B6-AE5E-4A636E7431E8}"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362BE34E-A5F7-DE46-37F6-8B53832CEC0C}"/>
              </a:ext>
            </a:extLst>
          </p:cNvPr>
          <p:cNvSpPr>
            <a:spLocks/>
          </p:cNvSpPr>
          <p:nvPr>
            <p:custDataLst>
              <p:tags r:id="rId67"/>
            </p:custDataLst>
          </p:nvPr>
        </p:nvSpPr>
        <p:spPr bwMode="auto">
          <a:xfrm>
            <a:off x="10969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DD784-E564-4986-B0D0-5E373ED6318C}"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B5BA107D-E18C-FE4B-20A8-247B15BAB4CD}"/>
              </a:ext>
            </a:extLst>
          </p:cNvPr>
          <p:cNvSpPr>
            <a:spLocks/>
          </p:cNvSpPr>
          <p:nvPr>
            <p:custDataLst>
              <p:tags r:id="rId68"/>
            </p:custDataLst>
          </p:nvPr>
        </p:nvSpPr>
        <p:spPr bwMode="auto">
          <a:xfrm>
            <a:off x="13890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A5E57-F277-4665-9703-B5545E0A0EDF}"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A1436F35-A3C3-52C7-46B5-097EF9661E4F}"/>
              </a:ext>
            </a:extLst>
          </p:cNvPr>
          <p:cNvSpPr>
            <a:spLocks/>
          </p:cNvSpPr>
          <p:nvPr>
            <p:custDataLst>
              <p:tags r:id="rId69"/>
            </p:custDataLst>
          </p:nvPr>
        </p:nvSpPr>
        <p:spPr bwMode="auto">
          <a:xfrm>
            <a:off x="1682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519EC-BD43-461C-9884-E19D12B2965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A1F43840-E821-3171-2364-990C83367F79}"/>
              </a:ext>
            </a:extLst>
          </p:cNvPr>
          <p:cNvSpPr>
            <a:spLocks/>
          </p:cNvSpPr>
          <p:nvPr>
            <p:custDataLst>
              <p:tags r:id="rId70"/>
            </p:custDataLst>
          </p:nvPr>
        </p:nvSpPr>
        <p:spPr bwMode="auto">
          <a:xfrm>
            <a:off x="1974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B85A79-56C6-445A-9DA4-7D821BE66047}"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B6881251-9DAA-0DBB-57FA-3E43B584AF7F}"/>
              </a:ext>
            </a:extLst>
          </p:cNvPr>
          <p:cNvSpPr>
            <a:spLocks/>
          </p:cNvSpPr>
          <p:nvPr>
            <p:custDataLst>
              <p:tags r:id="rId71"/>
            </p:custDataLst>
          </p:nvPr>
        </p:nvSpPr>
        <p:spPr bwMode="auto">
          <a:xfrm>
            <a:off x="22669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C1BC04-0A3F-4000-9B77-E348DF44DA6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20993903-E27B-A612-EA3E-C1AD0ABA5636}"/>
              </a:ext>
            </a:extLst>
          </p:cNvPr>
          <p:cNvSpPr>
            <a:spLocks/>
          </p:cNvSpPr>
          <p:nvPr>
            <p:custDataLst>
              <p:tags r:id="rId72"/>
            </p:custDataLst>
          </p:nvPr>
        </p:nvSpPr>
        <p:spPr bwMode="auto">
          <a:xfrm>
            <a:off x="25606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9CBCC6-0F04-4109-8185-BB71FDA67DD1}"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C1528772-32D5-69A2-5465-74DDB7599EFB}"/>
              </a:ext>
            </a:extLst>
          </p:cNvPr>
          <p:cNvSpPr>
            <a:spLocks/>
          </p:cNvSpPr>
          <p:nvPr>
            <p:custDataLst>
              <p:tags r:id="rId73"/>
            </p:custDataLst>
          </p:nvPr>
        </p:nvSpPr>
        <p:spPr bwMode="auto">
          <a:xfrm>
            <a:off x="28527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E5B50-CE34-4FA6-A2B5-173C146E494D}"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64F32B67-13FC-C562-D5FD-2CCE84D8AACE}"/>
              </a:ext>
            </a:extLst>
          </p:cNvPr>
          <p:cNvSpPr>
            <a:spLocks/>
          </p:cNvSpPr>
          <p:nvPr>
            <p:custDataLst>
              <p:tags r:id="rId74"/>
            </p:custDataLst>
          </p:nvPr>
        </p:nvSpPr>
        <p:spPr bwMode="auto">
          <a:xfrm>
            <a:off x="3146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2CE2C-7A5C-4B59-8F6C-D95BD2F5E01B}"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8BCDD75B-EDC7-9B31-3550-EA1A0F0CD594}"/>
              </a:ext>
            </a:extLst>
          </p:cNvPr>
          <p:cNvSpPr>
            <a:spLocks/>
          </p:cNvSpPr>
          <p:nvPr>
            <p:custDataLst>
              <p:tags r:id="rId75"/>
            </p:custDataLst>
          </p:nvPr>
        </p:nvSpPr>
        <p:spPr bwMode="auto">
          <a:xfrm>
            <a:off x="34385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96778-E92C-4683-97E4-1E7D3EF1B300}"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86EA14C0-1D71-BB94-B4DB-722B63946468}"/>
              </a:ext>
            </a:extLst>
          </p:cNvPr>
          <p:cNvSpPr>
            <a:spLocks/>
          </p:cNvSpPr>
          <p:nvPr>
            <p:custDataLst>
              <p:tags r:id="rId76"/>
            </p:custDataLst>
          </p:nvPr>
        </p:nvSpPr>
        <p:spPr bwMode="auto">
          <a:xfrm>
            <a:off x="37306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ECA56-C284-4E2D-A38F-77D21A79754B}"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E839B3F8-BA69-1422-4C3F-3667F5612603}"/>
              </a:ext>
            </a:extLst>
          </p:cNvPr>
          <p:cNvSpPr>
            <a:spLocks/>
          </p:cNvSpPr>
          <p:nvPr>
            <p:custDataLst>
              <p:tags r:id="rId77"/>
            </p:custDataLst>
          </p:nvPr>
        </p:nvSpPr>
        <p:spPr bwMode="auto">
          <a:xfrm>
            <a:off x="40243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2881B0-7876-4742-9F55-6717CA60BE69}"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A3B9BCFD-1C6E-072B-9DF4-3C25D853BF97}"/>
              </a:ext>
            </a:extLst>
          </p:cNvPr>
          <p:cNvSpPr>
            <a:spLocks/>
          </p:cNvSpPr>
          <p:nvPr>
            <p:custDataLst>
              <p:tags r:id="rId78"/>
            </p:custDataLst>
          </p:nvPr>
        </p:nvSpPr>
        <p:spPr bwMode="auto">
          <a:xfrm>
            <a:off x="4316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025910-D211-4A08-9A1D-A7A83EDB1FF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584C4EA0-AD0D-1586-A4AE-FF8734F608B8}"/>
              </a:ext>
            </a:extLst>
          </p:cNvPr>
          <p:cNvSpPr>
            <a:spLocks/>
          </p:cNvSpPr>
          <p:nvPr>
            <p:custDataLst>
              <p:tags r:id="rId79"/>
            </p:custDataLst>
          </p:nvPr>
        </p:nvSpPr>
        <p:spPr bwMode="auto">
          <a:xfrm>
            <a:off x="46101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D03798-5F66-4081-A20A-EFA6855E1F3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D736DDD7-2D8D-78E1-692F-C351F0FC8222}"/>
              </a:ext>
            </a:extLst>
          </p:cNvPr>
          <p:cNvSpPr>
            <a:spLocks/>
          </p:cNvSpPr>
          <p:nvPr>
            <p:custDataLst>
              <p:tags r:id="rId80"/>
            </p:custDataLst>
          </p:nvPr>
        </p:nvSpPr>
        <p:spPr bwMode="auto">
          <a:xfrm>
            <a:off x="49022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55CF4E-EB42-4D5A-8158-16F2BE09472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66A4E21D-D56F-B49A-03FA-ABA3F2725A7C}"/>
              </a:ext>
            </a:extLst>
          </p:cNvPr>
          <p:cNvSpPr>
            <a:spLocks/>
          </p:cNvSpPr>
          <p:nvPr>
            <p:custDataLst>
              <p:tags r:id="rId81"/>
            </p:custDataLst>
          </p:nvPr>
        </p:nvSpPr>
        <p:spPr bwMode="auto">
          <a:xfrm>
            <a:off x="51943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82C096-2F92-4153-994E-748048B3F870}"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41DEE4E8-B399-8A80-1525-F079F3574135}"/>
              </a:ext>
            </a:extLst>
          </p:cNvPr>
          <p:cNvSpPr>
            <a:spLocks/>
          </p:cNvSpPr>
          <p:nvPr>
            <p:custDataLst>
              <p:tags r:id="rId82"/>
            </p:custDataLst>
          </p:nvPr>
        </p:nvSpPr>
        <p:spPr bwMode="auto">
          <a:xfrm>
            <a:off x="54879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45E09-988E-4E54-9567-C307E099D24D}"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F37873F7-90FD-9D6C-C4EB-B135574B385B}"/>
              </a:ext>
            </a:extLst>
          </p:cNvPr>
          <p:cNvSpPr>
            <a:spLocks/>
          </p:cNvSpPr>
          <p:nvPr>
            <p:custDataLst>
              <p:tags r:id="rId83"/>
            </p:custDataLst>
          </p:nvPr>
        </p:nvSpPr>
        <p:spPr bwMode="auto">
          <a:xfrm>
            <a:off x="578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DBF4D6-B441-4C81-B111-02730C78BF4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01179C95-D39A-D014-2369-DBD908CA2A37}"/>
              </a:ext>
            </a:extLst>
          </p:cNvPr>
          <p:cNvSpPr>
            <a:spLocks/>
          </p:cNvSpPr>
          <p:nvPr>
            <p:custDataLst>
              <p:tags r:id="rId84"/>
            </p:custDataLst>
          </p:nvPr>
        </p:nvSpPr>
        <p:spPr bwMode="auto">
          <a:xfrm>
            <a:off x="60737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7175DC-30CA-47CC-814B-723D1E84F75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554B012-7959-5B93-FAAB-EF2EB5E7BD66}"/>
              </a:ext>
            </a:extLst>
          </p:cNvPr>
          <p:cNvSpPr>
            <a:spLocks/>
          </p:cNvSpPr>
          <p:nvPr>
            <p:custDataLst>
              <p:tags r:id="rId85"/>
            </p:custDataLst>
          </p:nvPr>
        </p:nvSpPr>
        <p:spPr bwMode="auto">
          <a:xfrm>
            <a:off x="63658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50DA6E-46E4-454F-B18A-E2B262DD921B}"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C3E7B8C-DA48-50C2-FEC7-95165CD25543}"/>
              </a:ext>
            </a:extLst>
          </p:cNvPr>
          <p:cNvSpPr>
            <a:spLocks/>
          </p:cNvSpPr>
          <p:nvPr>
            <p:custDataLst>
              <p:tags r:id="rId86"/>
            </p:custDataLst>
          </p:nvPr>
        </p:nvSpPr>
        <p:spPr bwMode="auto">
          <a:xfrm>
            <a:off x="66579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EBA62-019B-49C3-A3BF-B15A4DF9FE4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CABC8C81-A48E-F9E6-4BDF-37C3CF54DEE9}"/>
              </a:ext>
            </a:extLst>
          </p:cNvPr>
          <p:cNvSpPr>
            <a:spLocks/>
          </p:cNvSpPr>
          <p:nvPr>
            <p:custDataLst>
              <p:tags r:id="rId87"/>
            </p:custDataLst>
          </p:nvPr>
        </p:nvSpPr>
        <p:spPr bwMode="auto">
          <a:xfrm>
            <a:off x="69516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1D801-A68F-40FE-87EF-0661E2BA33B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4824F8B7-79BE-53ED-953C-9F457251631A}"/>
              </a:ext>
            </a:extLst>
          </p:cNvPr>
          <p:cNvSpPr>
            <a:spLocks/>
          </p:cNvSpPr>
          <p:nvPr>
            <p:custDataLst>
              <p:tags r:id="rId88"/>
            </p:custDataLst>
          </p:nvPr>
        </p:nvSpPr>
        <p:spPr bwMode="auto">
          <a:xfrm>
            <a:off x="7243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8DA540-9EEE-4971-82E9-CE3FEF4F54BB}"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6B51A53B-8838-C496-BEA0-D933A7EEAE25}"/>
              </a:ext>
            </a:extLst>
          </p:cNvPr>
          <p:cNvSpPr>
            <a:spLocks/>
          </p:cNvSpPr>
          <p:nvPr>
            <p:custDataLst>
              <p:tags r:id="rId89"/>
            </p:custDataLst>
          </p:nvPr>
        </p:nvSpPr>
        <p:spPr bwMode="auto">
          <a:xfrm>
            <a:off x="75374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2424E6-DDC2-4DB2-9943-2EE6F4B63433}"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A6F1BBB8-1E90-0581-645E-1AABBA1377C8}"/>
              </a:ext>
            </a:extLst>
          </p:cNvPr>
          <p:cNvSpPr>
            <a:spLocks/>
          </p:cNvSpPr>
          <p:nvPr>
            <p:custDataLst>
              <p:tags r:id="rId90"/>
            </p:custDataLst>
          </p:nvPr>
        </p:nvSpPr>
        <p:spPr bwMode="auto">
          <a:xfrm>
            <a:off x="78295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545997-B3A2-4158-9B73-345A7F599C5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Tree>
    <p:extLst>
      <p:ext uri="{BB962C8B-B14F-4D97-AF65-F5344CB8AC3E}">
        <p14:creationId xmlns:p14="http://schemas.microsoft.com/office/powerpoint/2010/main" val="3587234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1"/>
            </p:custDataLst>
            <p:extLst>
              <p:ext uri="{D42A27DB-BD31-4B8C-83A1-F6EECF244321}">
                <p14:modId xmlns:p14="http://schemas.microsoft.com/office/powerpoint/2010/main" val="2090565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360" imgH="360" progId="TCLayout.ActiveDocument.1">
                  <p:embed/>
                </p:oleObj>
              </mc:Choice>
              <mc:Fallback>
                <p:oleObj name="think-cellスライド" r:id="rId39" imgW="360" imgH="360" progId="TCLayout.ActiveDocument.1">
                  <p:embed/>
                  <p:pic>
                    <p:nvPicPr>
                      <p:cNvPr id="5" name="Object 4"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所得格差</a:t>
            </a:r>
          </a:p>
        </p:txBody>
      </p:sp>
      <p:grpSp>
        <p:nvGrpSpPr>
          <p:cNvPr id="21" name="グループ化 7"/>
          <p:cNvGrpSpPr/>
          <p:nvPr/>
        </p:nvGrpSpPr>
        <p:grpSpPr>
          <a:xfrm>
            <a:off x="200469" y="2093131"/>
            <a:ext cx="9505058" cy="288032"/>
            <a:chOff x="4803500" y="2113806"/>
            <a:chExt cx="6189609" cy="288032"/>
          </a:xfrm>
        </p:grpSpPr>
        <p:cxnSp>
          <p:nvCxnSpPr>
            <p:cNvPr id="22" name="直線コネクタ 21"/>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所得階級別の人口構成（</a:t>
              </a:r>
              <a:r>
                <a:rPr lang="en-US" altLang="ja-JP" sz="1400" dirty="0">
                  <a:solidFill>
                    <a:srgbClr val="000000"/>
                  </a:solidFill>
                  <a:latin typeface="Arial Black" pitchFamily="34" charset="0"/>
                  <a:ea typeface="HGP創英角ｺﾞｼｯｸUB" pitchFamily="50" charset="-128"/>
                </a:rPr>
                <a:t>2008-2015</a:t>
              </a:r>
              <a:r>
                <a:rPr lang="ja-JP" altLang="en-US" sz="1400" dirty="0">
                  <a:solidFill>
                    <a:srgbClr val="000000"/>
                  </a:solidFill>
                  <a:latin typeface="Arial Black" pitchFamily="34" charset="0"/>
                  <a:ea typeface="HGP創英角ｺﾞｼｯｸUB" pitchFamily="50" charset="-128"/>
                </a:rPr>
                <a:t>平均）</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vercoming Poverty and Inequality in South Africa” (March 2018)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は世界でも所得格差の大きい国で、世帯の約半数が慢性的な貧困にある一方、ごく一部の富裕層と、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比較的小さな中流層が存在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種的に白人が富を独占してきたが、富裕層における黒人の比率は上昇してきている。</a:t>
            </a:r>
          </a:p>
        </p:txBody>
      </p:sp>
      <p:graphicFrame>
        <p:nvGraphicFramePr>
          <p:cNvPr id="53" name="Chart 52">
            <a:extLst>
              <a:ext uri="{FF2B5EF4-FFF2-40B4-BE49-F238E27FC236}">
                <a16:creationId xmlns:a16="http://schemas.microsoft.com/office/drawing/2014/main" id="{32AB10BE-6105-4D87-8329-3A25C88E63EC}"/>
              </a:ext>
            </a:extLst>
          </p:cNvPr>
          <p:cNvGraphicFramePr/>
          <p:nvPr>
            <p:custDataLst>
              <p:tags r:id="rId3"/>
            </p:custDataLst>
            <p:extLst>
              <p:ext uri="{D42A27DB-BD31-4B8C-83A1-F6EECF244321}">
                <p14:modId xmlns:p14="http://schemas.microsoft.com/office/powerpoint/2010/main" val="2673034639"/>
              </p:ext>
            </p:extLst>
          </p:nvPr>
        </p:nvGraphicFramePr>
        <p:xfrm>
          <a:off x="404813" y="2765425"/>
          <a:ext cx="3335337" cy="3200400"/>
        </p:xfrm>
        <a:graphic>
          <a:graphicData uri="http://schemas.openxmlformats.org/drawingml/2006/chart">
            <c:chart xmlns:c="http://schemas.openxmlformats.org/drawingml/2006/chart" xmlns:r="http://schemas.openxmlformats.org/officeDocument/2006/relationships" r:id="rId41"/>
          </a:graphicData>
        </a:graphic>
      </p:graphicFrame>
      <p:sp>
        <p:nvSpPr>
          <p:cNvPr id="34" name="テキスト プレースホルダ 9">
            <a:extLst>
              <a:ext uri="{FF2B5EF4-FFF2-40B4-BE49-F238E27FC236}">
                <a16:creationId xmlns:a16="http://schemas.microsoft.com/office/drawing/2014/main" id="{21A4337D-06B9-411B-AD7E-AF5306613FCA}"/>
              </a:ext>
            </a:extLst>
          </p:cNvPr>
          <p:cNvSpPr>
            <a:spLocks/>
          </p:cNvSpPr>
          <p:nvPr>
            <p:custDataLst>
              <p:tags r:id="rId4"/>
            </p:custDataLst>
          </p:nvPr>
        </p:nvSpPr>
        <p:spPr bwMode="auto">
          <a:xfrm>
            <a:off x="2520950" y="5942013"/>
            <a:ext cx="3683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A69FC-FA77-4F67-BC43-99CDC5F8EA28}" type="datetime'''''''''''''''中''''産''''''階''''''''''''''級'''''">
              <a:rPr lang="ja-JP" altLang="en-US" sz="1400" smtClean="0"/>
              <a:pPr/>
              <a:t>中産階級</a:t>
            </a:fld>
            <a:endParaRPr lang="en-IN" altLang="ja-JP" sz="1400" dirty="0"/>
          </a:p>
        </p:txBody>
      </p:sp>
      <p:sp>
        <p:nvSpPr>
          <p:cNvPr id="14" name="テキスト プレースホルダ 9">
            <a:extLst>
              <a:ext uri="{FF2B5EF4-FFF2-40B4-BE49-F238E27FC236}">
                <a16:creationId xmlns:a16="http://schemas.microsoft.com/office/drawing/2014/main" id="{DE46681E-4513-4A8C-94DD-DAD1C1827987}"/>
              </a:ext>
            </a:extLst>
          </p:cNvPr>
          <p:cNvSpPr>
            <a:spLocks/>
          </p:cNvSpPr>
          <p:nvPr>
            <p:custDataLst>
              <p:tags r:id="rId5"/>
            </p:custDataLst>
          </p:nvPr>
        </p:nvSpPr>
        <p:spPr bwMode="auto">
          <a:xfrm>
            <a:off x="530225" y="5942013"/>
            <a:ext cx="5461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C0E4E-711E-476C-BACA-C7557FA62EC0}" type="datetime'''''慢性''''''''的貧''''''''''''''困''''''''''''''''''層'''''''''">
              <a:rPr lang="zh-TW" altLang="en-US" sz="1400" smtClean="0"/>
              <a:pPr/>
              <a:t>慢性的貧困層</a:t>
            </a:fld>
            <a:endParaRPr lang="en-IN" altLang="ja-JP" sz="1400" dirty="0"/>
          </a:p>
        </p:txBody>
      </p:sp>
      <p:sp>
        <p:nvSpPr>
          <p:cNvPr id="51" name="テキスト プレースホルダ 9">
            <a:extLst>
              <a:ext uri="{FF2B5EF4-FFF2-40B4-BE49-F238E27FC236}">
                <a16:creationId xmlns:a16="http://schemas.microsoft.com/office/drawing/2014/main" id="{728CC5C6-BDEF-47E9-B930-F44FAFA8550C}"/>
              </a:ext>
            </a:extLst>
          </p:cNvPr>
          <p:cNvSpPr>
            <a:spLocks/>
          </p:cNvSpPr>
          <p:nvPr>
            <p:custDataLst>
              <p:tags r:id="rId6"/>
            </p:custDataLst>
          </p:nvPr>
        </p:nvSpPr>
        <p:spPr bwMode="auto">
          <a:xfrm>
            <a:off x="1169988" y="5942013"/>
            <a:ext cx="5334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一時的貧困層</a:t>
            </a:r>
            <a:endParaRPr lang="en-IN" altLang="ja-JP" sz="1400" dirty="0"/>
          </a:p>
        </p:txBody>
      </p:sp>
      <p:sp>
        <p:nvSpPr>
          <p:cNvPr id="58" name="テキスト プレースホルダ 9">
            <a:extLst>
              <a:ext uri="{FF2B5EF4-FFF2-40B4-BE49-F238E27FC236}">
                <a16:creationId xmlns:a16="http://schemas.microsoft.com/office/drawing/2014/main" id="{5FCD78D2-2B4C-4691-BC5A-39C5FE18238B}"/>
              </a:ext>
            </a:extLst>
          </p:cNvPr>
          <p:cNvSpPr>
            <a:spLocks/>
          </p:cNvSpPr>
          <p:nvPr>
            <p:custDataLst>
              <p:tags r:id="rId7"/>
            </p:custDataLst>
          </p:nvPr>
        </p:nvSpPr>
        <p:spPr bwMode="auto">
          <a:xfrm>
            <a:off x="1743075" y="5942013"/>
            <a:ext cx="658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社会的</a:t>
            </a:r>
            <a:endParaRPr lang="en-US" altLang="ja-JP" sz="1400" dirty="0"/>
          </a:p>
          <a:p>
            <a:pPr marL="0" indent="0" algn="ctr">
              <a:spcBef>
                <a:spcPct val="0"/>
              </a:spcBef>
              <a:buNone/>
            </a:pPr>
            <a:r>
              <a:rPr lang="ja-JP" altLang="en-US" sz="1400" dirty="0"/>
              <a:t>弱者</a:t>
            </a:r>
            <a:endParaRPr lang="en-IN" altLang="ja-JP" sz="1400" dirty="0"/>
          </a:p>
        </p:txBody>
      </p:sp>
      <p:sp>
        <p:nvSpPr>
          <p:cNvPr id="36" name="テキスト プレースホルダ 9">
            <a:extLst>
              <a:ext uri="{FF2B5EF4-FFF2-40B4-BE49-F238E27FC236}">
                <a16:creationId xmlns:a16="http://schemas.microsoft.com/office/drawing/2014/main" id="{0D67C50E-241F-45C8-967D-5153B53E125C}"/>
              </a:ext>
            </a:extLst>
          </p:cNvPr>
          <p:cNvSpPr>
            <a:spLocks/>
          </p:cNvSpPr>
          <p:nvPr>
            <p:custDataLst>
              <p:tags r:id="rId8"/>
            </p:custDataLst>
          </p:nvPr>
        </p:nvSpPr>
        <p:spPr bwMode="auto">
          <a:xfrm>
            <a:off x="3067050" y="5942013"/>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418DD-5EA0-4487-AFFD-043DFE63A1A8}" type="datetime'''''''''''''''''''''''''''''''''''''富''''''裕''層'''''''''''">
              <a:rPr lang="ja-JP" altLang="en-US" sz="1400" smtClean="0"/>
              <a:pPr/>
              <a:t>富裕層</a:t>
            </a:fld>
            <a:endParaRPr lang="en-IN" altLang="ja-JP" sz="1400" dirty="0"/>
          </a:p>
        </p:txBody>
      </p:sp>
      <p:graphicFrame>
        <p:nvGraphicFramePr>
          <p:cNvPr id="417" name="Chart 416">
            <a:extLst>
              <a:ext uri="{FF2B5EF4-FFF2-40B4-BE49-F238E27FC236}">
                <a16:creationId xmlns:a16="http://schemas.microsoft.com/office/drawing/2014/main" id="{CE9895F6-ED2D-4FB9-9910-FF7A74B384D4}"/>
              </a:ext>
            </a:extLst>
          </p:cNvPr>
          <p:cNvGraphicFramePr/>
          <p:nvPr>
            <p:custDataLst>
              <p:tags r:id="rId9"/>
            </p:custDataLst>
            <p:extLst>
              <p:ext uri="{D42A27DB-BD31-4B8C-83A1-F6EECF244321}">
                <p14:modId xmlns:p14="http://schemas.microsoft.com/office/powerpoint/2010/main" val="1551045185"/>
              </p:ext>
            </p:extLst>
          </p:nvPr>
        </p:nvGraphicFramePr>
        <p:xfrm>
          <a:off x="7461250" y="2909888"/>
          <a:ext cx="1722438" cy="3055937"/>
        </p:xfrm>
        <a:graphic>
          <a:graphicData uri="http://schemas.openxmlformats.org/drawingml/2006/chart">
            <c:chart xmlns:c="http://schemas.openxmlformats.org/drawingml/2006/chart" xmlns:r="http://schemas.openxmlformats.org/officeDocument/2006/relationships" r:id="rId42"/>
          </a:graphicData>
        </a:graphic>
      </p:graphicFrame>
      <p:sp>
        <p:nvSpPr>
          <p:cNvPr id="197" name="テキスト プレースホルダ 9">
            <a:extLst>
              <a:ext uri="{FF2B5EF4-FFF2-40B4-BE49-F238E27FC236}">
                <a16:creationId xmlns:a16="http://schemas.microsoft.com/office/drawing/2014/main" id="{00074F37-7B9E-42EA-AD82-2A3CDB0E2A12}"/>
              </a:ext>
            </a:extLst>
          </p:cNvPr>
          <p:cNvSpPr>
            <a:spLocks/>
          </p:cNvSpPr>
          <p:nvPr>
            <p:custDataLst>
              <p:tags r:id="rId10"/>
            </p:custDataLst>
          </p:nvPr>
        </p:nvSpPr>
        <p:spPr bwMode="auto">
          <a:xfrm>
            <a:off x="8758238" y="4997450"/>
            <a:ext cx="614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solidFill>
                  <a:srgbClr val="202124"/>
                </a:solidFill>
              </a:rPr>
              <a:t>他有色人種</a:t>
            </a:r>
            <a:endParaRPr lang="ja-JP" altLang="en-US" sz="1200" dirty="0"/>
          </a:p>
        </p:txBody>
      </p:sp>
      <p:sp>
        <p:nvSpPr>
          <p:cNvPr id="195" name="テキスト プレースホルダ 9">
            <a:extLst>
              <a:ext uri="{FF2B5EF4-FFF2-40B4-BE49-F238E27FC236}">
                <a16:creationId xmlns:a16="http://schemas.microsoft.com/office/drawing/2014/main" id="{310886F8-C693-4A42-B082-1B76725C4022}"/>
              </a:ext>
            </a:extLst>
          </p:cNvPr>
          <p:cNvSpPr>
            <a:spLocks/>
          </p:cNvSpPr>
          <p:nvPr>
            <p:custDataLst>
              <p:tags r:id="rId11"/>
            </p:custDataLst>
          </p:nvPr>
        </p:nvSpPr>
        <p:spPr bwMode="auto">
          <a:xfrm>
            <a:off x="8758238" y="3740150"/>
            <a:ext cx="388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t>白人</a:t>
            </a:r>
          </a:p>
        </p:txBody>
      </p:sp>
      <p:sp>
        <p:nvSpPr>
          <p:cNvPr id="196" name="テキスト プレースホルダ 9">
            <a:extLst>
              <a:ext uri="{FF2B5EF4-FFF2-40B4-BE49-F238E27FC236}">
                <a16:creationId xmlns:a16="http://schemas.microsoft.com/office/drawing/2014/main" id="{063B5B7F-2A36-4822-9DB0-833EA6681170}"/>
              </a:ext>
            </a:extLst>
          </p:cNvPr>
          <p:cNvSpPr>
            <a:spLocks/>
          </p:cNvSpPr>
          <p:nvPr>
            <p:custDataLst>
              <p:tags r:id="rId12"/>
            </p:custDataLst>
          </p:nvPr>
        </p:nvSpPr>
        <p:spPr bwMode="auto">
          <a:xfrm>
            <a:off x="798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FB47A8-771B-48D1-B959-3CD1C905E5E3}" type="datetime'''2''''''''''''''00''''''8'''''''''''''">
              <a:rPr lang="en-IN" altLang="en-US" sz="1000" smtClean="0"/>
              <a:pPr/>
              <a:t>2008</a:t>
            </a:fld>
            <a:endParaRPr lang="ja-JP" altLang="en-US" sz="1000" dirty="0"/>
          </a:p>
        </p:txBody>
      </p:sp>
      <p:sp>
        <p:nvSpPr>
          <p:cNvPr id="198" name="テキスト プレースホルダ 9">
            <a:extLst>
              <a:ext uri="{FF2B5EF4-FFF2-40B4-BE49-F238E27FC236}">
                <a16:creationId xmlns:a16="http://schemas.microsoft.com/office/drawing/2014/main" id="{E1E71D34-4B28-4760-B621-16103B10EA32}"/>
              </a:ext>
            </a:extLst>
          </p:cNvPr>
          <p:cNvSpPr>
            <a:spLocks/>
          </p:cNvSpPr>
          <p:nvPr>
            <p:custDataLst>
              <p:tags r:id="rId13"/>
            </p:custDataLst>
          </p:nvPr>
        </p:nvSpPr>
        <p:spPr bwMode="auto">
          <a:xfrm>
            <a:off x="83645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DA95A-0321-4F90-901F-2788A2FED676}" type="datetime'''''''''''''''''''''''''''''''''''''''''''2''''''''''0''1''4'">
              <a:rPr lang="en-IN" altLang="en-US" sz="1000" smtClean="0"/>
              <a:pPr/>
              <a:t>2014</a:t>
            </a:fld>
            <a:endParaRPr lang="ja-JP" altLang="en-US" sz="1000" dirty="0"/>
          </a:p>
        </p:txBody>
      </p:sp>
      <p:sp>
        <p:nvSpPr>
          <p:cNvPr id="199" name="テキスト プレースホルダ 9">
            <a:extLst>
              <a:ext uri="{FF2B5EF4-FFF2-40B4-BE49-F238E27FC236}">
                <a16:creationId xmlns:a16="http://schemas.microsoft.com/office/drawing/2014/main" id="{F8C9872A-E7BB-4A4C-9A07-B8E9DBCA1BEE}"/>
              </a:ext>
            </a:extLst>
          </p:cNvPr>
          <p:cNvSpPr>
            <a:spLocks/>
          </p:cNvSpPr>
          <p:nvPr>
            <p:custDataLst>
              <p:tags r:id="rId14"/>
            </p:custDataLst>
          </p:nvPr>
        </p:nvSpPr>
        <p:spPr bwMode="auto">
          <a:xfrm>
            <a:off x="8758238" y="4737100"/>
            <a:ext cx="835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t>アジア・インド人</a:t>
            </a:r>
          </a:p>
        </p:txBody>
      </p:sp>
      <p:sp>
        <p:nvSpPr>
          <p:cNvPr id="201" name="テキスト プレースホルダ 9">
            <a:extLst>
              <a:ext uri="{FF2B5EF4-FFF2-40B4-BE49-F238E27FC236}">
                <a16:creationId xmlns:a16="http://schemas.microsoft.com/office/drawing/2014/main" id="{A5A9383C-7066-4082-ABF0-1297AD730FF9}"/>
              </a:ext>
            </a:extLst>
          </p:cNvPr>
          <p:cNvSpPr>
            <a:spLocks/>
          </p:cNvSpPr>
          <p:nvPr>
            <p:custDataLst>
              <p:tags r:id="rId15"/>
            </p:custDataLst>
          </p:nvPr>
        </p:nvSpPr>
        <p:spPr bwMode="auto">
          <a:xfrm>
            <a:off x="8758238" y="5445125"/>
            <a:ext cx="371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t>黒人</a:t>
            </a:r>
          </a:p>
        </p:txBody>
      </p:sp>
      <p:graphicFrame>
        <p:nvGraphicFramePr>
          <p:cNvPr id="410" name="Chart 409">
            <a:extLst>
              <a:ext uri="{FF2B5EF4-FFF2-40B4-BE49-F238E27FC236}">
                <a16:creationId xmlns:a16="http://schemas.microsoft.com/office/drawing/2014/main" id="{873EC2D5-3B28-44C1-B6D3-9C8A3E21118A}"/>
              </a:ext>
            </a:extLst>
          </p:cNvPr>
          <p:cNvGraphicFramePr/>
          <p:nvPr>
            <p:custDataLst>
              <p:tags r:id="rId16"/>
            </p:custDataLst>
            <p:extLst>
              <p:ext uri="{D42A27DB-BD31-4B8C-83A1-F6EECF244321}">
                <p14:modId xmlns:p14="http://schemas.microsoft.com/office/powerpoint/2010/main" val="4010688674"/>
              </p:ext>
            </p:extLst>
          </p:nvPr>
        </p:nvGraphicFramePr>
        <p:xfrm>
          <a:off x="3592513" y="2909888"/>
          <a:ext cx="1722437" cy="3055937"/>
        </p:xfrm>
        <a:graphic>
          <a:graphicData uri="http://schemas.openxmlformats.org/drawingml/2006/chart">
            <c:chart xmlns:c="http://schemas.openxmlformats.org/drawingml/2006/chart" xmlns:r="http://schemas.openxmlformats.org/officeDocument/2006/relationships" r:id="rId43"/>
          </a:graphicData>
        </a:graphic>
      </p:graphicFrame>
      <p:sp>
        <p:nvSpPr>
          <p:cNvPr id="303" name="テキスト プレースホルダ 9">
            <a:extLst>
              <a:ext uri="{FF2B5EF4-FFF2-40B4-BE49-F238E27FC236}">
                <a16:creationId xmlns:a16="http://schemas.microsoft.com/office/drawing/2014/main" id="{0BA368F0-191E-4A4E-9077-E29B89DCAB10}"/>
              </a:ext>
            </a:extLst>
          </p:cNvPr>
          <p:cNvSpPr>
            <a:spLocks/>
          </p:cNvSpPr>
          <p:nvPr>
            <p:custDataLst>
              <p:tags r:id="rId17"/>
            </p:custDataLst>
          </p:nvPr>
        </p:nvSpPr>
        <p:spPr bwMode="gray">
          <a:xfrm>
            <a:off x="4187825"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97074-6120-4FD7-B151-C7212A3B54DB}" type="datetime'''''''''''''''''''''''''''''5'''''''''''''''''''''''''''''''''">
              <a:rPr lang="en-IN" altLang="en-US" sz="1400" smtClean="0">
                <a:effectLst/>
              </a:rPr>
              <a:pPr marL="0" indent="0" algn="ctr">
                <a:spcBef>
                  <a:spcPct val="0"/>
                </a:spcBef>
                <a:buNone/>
              </a:pPr>
              <a:t>5</a:t>
            </a:fld>
            <a:endParaRPr lang="en-IN" altLang="ja-JP" sz="1400" dirty="0"/>
          </a:p>
        </p:txBody>
      </p:sp>
      <p:sp>
        <p:nvSpPr>
          <p:cNvPr id="298" name="テキスト プレースホルダ 9">
            <a:extLst>
              <a:ext uri="{FF2B5EF4-FFF2-40B4-BE49-F238E27FC236}">
                <a16:creationId xmlns:a16="http://schemas.microsoft.com/office/drawing/2014/main" id="{C3AA3ED9-1F1D-4759-BBA4-0883AA94196B}"/>
              </a:ext>
            </a:extLst>
          </p:cNvPr>
          <p:cNvSpPr>
            <a:spLocks/>
          </p:cNvSpPr>
          <p:nvPr>
            <p:custDataLst>
              <p:tags r:id="rId18"/>
            </p:custDataLst>
          </p:nvPr>
        </p:nvSpPr>
        <p:spPr bwMode="auto">
          <a:xfrm>
            <a:off x="44989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C6D3C-0743-4563-8499-75223D5816F0}" type="datetime'''''''2''''''01''''4'''''''''''''''''''''''''''''''''''''''''">
              <a:rPr lang="en-IN" altLang="en-US" sz="1000" smtClean="0"/>
              <a:pPr/>
              <a:t>2014</a:t>
            </a:fld>
            <a:endParaRPr lang="ja-JP" altLang="en-US" sz="1000" dirty="0"/>
          </a:p>
        </p:txBody>
      </p:sp>
      <p:sp>
        <p:nvSpPr>
          <p:cNvPr id="312" name="テキスト プレースホルダ 9">
            <a:extLst>
              <a:ext uri="{FF2B5EF4-FFF2-40B4-BE49-F238E27FC236}">
                <a16:creationId xmlns:a16="http://schemas.microsoft.com/office/drawing/2014/main" id="{D10F8248-4171-485B-BC9A-889981C3236D}"/>
              </a:ext>
            </a:extLst>
          </p:cNvPr>
          <p:cNvSpPr>
            <a:spLocks/>
          </p:cNvSpPr>
          <p:nvPr>
            <p:custDataLst>
              <p:tags r:id="rId19"/>
            </p:custDataLst>
          </p:nvPr>
        </p:nvSpPr>
        <p:spPr bwMode="gray">
          <a:xfrm>
            <a:off x="4570413"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788D9B-044C-4C87-A724-96B018946587}" type="datetime'''''''''''''''''''''''''''''''''''''''''''''''''''''''5'''">
              <a:rPr lang="en-IN" altLang="en-US" sz="1400" smtClean="0">
                <a:effectLst/>
              </a:rPr>
              <a:pPr marL="0" indent="0" algn="ctr">
                <a:spcBef>
                  <a:spcPct val="0"/>
                </a:spcBef>
                <a:buNone/>
              </a:pPr>
              <a:t>5</a:t>
            </a:fld>
            <a:endParaRPr lang="en-IN" altLang="ja-JP" sz="1400" dirty="0"/>
          </a:p>
        </p:txBody>
      </p:sp>
      <p:sp>
        <p:nvSpPr>
          <p:cNvPr id="296" name="テキスト プレースホルダ 9">
            <a:extLst>
              <a:ext uri="{FF2B5EF4-FFF2-40B4-BE49-F238E27FC236}">
                <a16:creationId xmlns:a16="http://schemas.microsoft.com/office/drawing/2014/main" id="{A4709FF6-CDD1-4E3C-8212-EB9B24207D01}"/>
              </a:ext>
            </a:extLst>
          </p:cNvPr>
          <p:cNvSpPr>
            <a:spLocks/>
          </p:cNvSpPr>
          <p:nvPr>
            <p:custDataLst>
              <p:tags r:id="rId20"/>
            </p:custDataLst>
          </p:nvPr>
        </p:nvSpPr>
        <p:spPr bwMode="auto">
          <a:xfrm>
            <a:off x="411638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83400C-D048-4D5F-A85E-C7DA3899F7F7}" type="datetime'''2''''0''0''''''''''''8'''''''''''''''''''''''''''''">
              <a:rPr lang="en-IN" altLang="en-US" sz="1000" smtClean="0"/>
              <a:pPr/>
              <a:t>2008</a:t>
            </a:fld>
            <a:endParaRPr lang="ja-JP" altLang="en-US" sz="1000" dirty="0"/>
          </a:p>
        </p:txBody>
      </p:sp>
      <p:graphicFrame>
        <p:nvGraphicFramePr>
          <p:cNvPr id="418" name="Chart 417">
            <a:extLst>
              <a:ext uri="{FF2B5EF4-FFF2-40B4-BE49-F238E27FC236}">
                <a16:creationId xmlns:a16="http://schemas.microsoft.com/office/drawing/2014/main" id="{3E2BAADD-4F58-4264-8CAB-0BB345EFF499}"/>
              </a:ext>
            </a:extLst>
          </p:cNvPr>
          <p:cNvGraphicFramePr/>
          <p:nvPr>
            <p:custDataLst>
              <p:tags r:id="rId21"/>
            </p:custDataLst>
            <p:extLst>
              <p:ext uri="{D42A27DB-BD31-4B8C-83A1-F6EECF244321}">
                <p14:modId xmlns:p14="http://schemas.microsoft.com/office/powerpoint/2010/main" val="299798684"/>
              </p:ext>
            </p:extLst>
          </p:nvPr>
        </p:nvGraphicFramePr>
        <p:xfrm>
          <a:off x="4806950" y="2732088"/>
          <a:ext cx="1230313" cy="3233737"/>
        </p:xfrm>
        <a:graphic>
          <a:graphicData uri="http://schemas.openxmlformats.org/drawingml/2006/chart">
            <c:chart xmlns:c="http://schemas.openxmlformats.org/drawingml/2006/chart" xmlns:r="http://schemas.openxmlformats.org/officeDocument/2006/relationships" r:id="rId44"/>
          </a:graphicData>
        </a:graphic>
      </p:graphicFrame>
      <p:cxnSp>
        <p:nvCxnSpPr>
          <p:cNvPr id="355" name="Straight Connector 354">
            <a:extLst>
              <a:ext uri="{FF2B5EF4-FFF2-40B4-BE49-F238E27FC236}">
                <a16:creationId xmlns:a16="http://schemas.microsoft.com/office/drawing/2014/main" id="{1E405BFB-77F4-41F6-9DE3-35B639165351}"/>
              </a:ext>
            </a:extLst>
          </p:cNvPr>
          <p:cNvCxnSpPr/>
          <p:nvPr>
            <p:custDataLst>
              <p:tags r:id="rId22"/>
            </p:custDataLst>
          </p:nvPr>
        </p:nvCxnSpPr>
        <p:spPr bwMode="auto">
          <a:xfrm>
            <a:off x="5345113" y="2967038"/>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2" name="テキスト プレースホルダ 9">
            <a:extLst>
              <a:ext uri="{FF2B5EF4-FFF2-40B4-BE49-F238E27FC236}">
                <a16:creationId xmlns:a16="http://schemas.microsoft.com/office/drawing/2014/main" id="{379FBC0C-65D0-4762-A69B-94BDC4D150FF}"/>
              </a:ext>
            </a:extLst>
          </p:cNvPr>
          <p:cNvSpPr>
            <a:spLocks/>
          </p:cNvSpPr>
          <p:nvPr>
            <p:custDataLst>
              <p:tags r:id="rId23"/>
            </p:custDataLst>
          </p:nvPr>
        </p:nvSpPr>
        <p:spPr bwMode="gray">
          <a:xfrm>
            <a:off x="5126038" y="4605338"/>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473F1-FD50-4F27-987E-29E260EBE930}" type="datetime'''''''''''''''''''''''''''''''''''''8''1'''">
              <a:rPr lang="en-IN" altLang="en-US" sz="1400" smtClean="0">
                <a:solidFill>
                  <a:schemeClr val="bg1"/>
                </a:solidFill>
                <a:effectLst/>
              </a:rPr>
              <a:pPr/>
              <a:t>81</a:t>
            </a:fld>
            <a:endParaRPr lang="en-IN" altLang="ja-JP" sz="1400" dirty="0">
              <a:solidFill>
                <a:schemeClr val="bg1"/>
              </a:solidFill>
            </a:endParaRPr>
          </a:p>
        </p:txBody>
      </p:sp>
      <p:sp>
        <p:nvSpPr>
          <p:cNvPr id="372" name="テキスト プレースホルダ 9">
            <a:extLst>
              <a:ext uri="{FF2B5EF4-FFF2-40B4-BE49-F238E27FC236}">
                <a16:creationId xmlns:a16="http://schemas.microsoft.com/office/drawing/2014/main" id="{A5910DB2-6BC0-41C3-B51D-1309B134940B}"/>
              </a:ext>
            </a:extLst>
          </p:cNvPr>
          <p:cNvSpPr>
            <a:spLocks/>
          </p:cNvSpPr>
          <p:nvPr>
            <p:custDataLst>
              <p:tags r:id="rId24"/>
            </p:custDataLst>
          </p:nvPr>
        </p:nvSpPr>
        <p:spPr bwMode="gray">
          <a:xfrm>
            <a:off x="5519738" y="2914651"/>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89F5BD-7DFC-4E39-B512-C17610F4613E}" type="datetime'''''''''''''''''''2'''''''''''''''''''''''''''''''''''''''''">
              <a:rPr lang="en-IN" altLang="en-US" sz="1400" smtClean="0">
                <a:effectLst/>
              </a:rPr>
              <a:pPr marL="0" indent="0" algn="ctr">
                <a:spcBef>
                  <a:spcPct val="0"/>
                </a:spcBef>
                <a:buNone/>
              </a:pPr>
              <a:t>2</a:t>
            </a:fld>
            <a:endParaRPr lang="en-IN" altLang="ja-JP" sz="1400" dirty="0"/>
          </a:p>
        </p:txBody>
      </p:sp>
      <p:sp>
        <p:nvSpPr>
          <p:cNvPr id="318" name="テキスト プレースホルダ 9">
            <a:extLst>
              <a:ext uri="{FF2B5EF4-FFF2-40B4-BE49-F238E27FC236}">
                <a16:creationId xmlns:a16="http://schemas.microsoft.com/office/drawing/2014/main" id="{87922276-9AC9-4EC5-A366-89C996664BD8}"/>
              </a:ext>
            </a:extLst>
          </p:cNvPr>
          <p:cNvSpPr>
            <a:spLocks/>
          </p:cNvSpPr>
          <p:nvPr>
            <p:custDataLst>
              <p:tags r:id="rId25"/>
            </p:custDataLst>
          </p:nvPr>
        </p:nvSpPr>
        <p:spPr bwMode="auto">
          <a:xfrm>
            <a:off x="5103813"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23DA42-C02A-44FD-BD1A-D46FF79CD8D3}" type="datetime'''''''2''''''''''''''''008'''''''''''">
              <a:rPr lang="en-IN" altLang="en-US" sz="1000" smtClean="0"/>
              <a:pPr/>
              <a:t>2008</a:t>
            </a:fld>
            <a:endParaRPr lang="ja-JP" altLang="en-US" sz="1000" dirty="0"/>
          </a:p>
        </p:txBody>
      </p:sp>
      <p:sp>
        <p:nvSpPr>
          <p:cNvPr id="407" name="テキスト プレースホルダ 9">
            <a:extLst>
              <a:ext uri="{FF2B5EF4-FFF2-40B4-BE49-F238E27FC236}">
                <a16:creationId xmlns:a16="http://schemas.microsoft.com/office/drawing/2014/main" id="{C5C729C2-41C1-4CC6-AB1C-FF52961FEB1A}"/>
              </a:ext>
            </a:extLst>
          </p:cNvPr>
          <p:cNvSpPr>
            <a:spLocks/>
          </p:cNvSpPr>
          <p:nvPr>
            <p:custDataLst>
              <p:tags r:id="rId26"/>
            </p:custDataLst>
          </p:nvPr>
        </p:nvSpPr>
        <p:spPr bwMode="gray">
          <a:xfrm>
            <a:off x="5175250" y="3000376"/>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747E2-04E2-4F86-BB0D-E61AF5B4098E}" type="datetime'''''''''''''''''''''''4'''''''''''''''''''''''''''''''">
              <a:rPr lang="en-IN" altLang="en-US" sz="1400" smtClean="0">
                <a:effectLst/>
              </a:rPr>
              <a:pPr marL="0" indent="0" algn="ctr">
                <a:spcBef>
                  <a:spcPct val="0"/>
                </a:spcBef>
                <a:buNone/>
              </a:pPr>
              <a:t>4</a:t>
            </a:fld>
            <a:endParaRPr lang="en-IN" altLang="ja-JP" sz="1400" dirty="0"/>
          </a:p>
        </p:txBody>
      </p:sp>
      <p:sp>
        <p:nvSpPr>
          <p:cNvPr id="334" name="テキスト プレースホルダ 9">
            <a:extLst>
              <a:ext uri="{FF2B5EF4-FFF2-40B4-BE49-F238E27FC236}">
                <a16:creationId xmlns:a16="http://schemas.microsoft.com/office/drawing/2014/main" id="{097755A1-DBD2-430D-8F4F-59EBDCFF7FC7}"/>
              </a:ext>
            </a:extLst>
          </p:cNvPr>
          <p:cNvSpPr>
            <a:spLocks/>
          </p:cNvSpPr>
          <p:nvPr>
            <p:custDataLst>
              <p:tags r:id="rId27"/>
            </p:custDataLst>
          </p:nvPr>
        </p:nvSpPr>
        <p:spPr bwMode="gray">
          <a:xfrm>
            <a:off x="5470525" y="4562475"/>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6A143E-5828-4E7B-9DC0-E354FC900ABA}" type="datetime'''''''''''8''''''''''''''''''''4'''''''''''''''">
              <a:rPr lang="en-IN" altLang="en-US" sz="1400" smtClean="0">
                <a:solidFill>
                  <a:schemeClr val="bg1"/>
                </a:solidFill>
                <a:effectLst/>
              </a:rPr>
              <a:pPr/>
              <a:t>84</a:t>
            </a:fld>
            <a:endParaRPr lang="en-IN" altLang="ja-JP" sz="1400" dirty="0">
              <a:solidFill>
                <a:schemeClr val="bg1"/>
              </a:solidFill>
            </a:endParaRPr>
          </a:p>
        </p:txBody>
      </p:sp>
      <p:sp>
        <p:nvSpPr>
          <p:cNvPr id="358" name="テキスト プレースホルダ 9">
            <a:extLst>
              <a:ext uri="{FF2B5EF4-FFF2-40B4-BE49-F238E27FC236}">
                <a16:creationId xmlns:a16="http://schemas.microsoft.com/office/drawing/2014/main" id="{385C2702-CE86-4678-8AD8-D4F8D9FC8789}"/>
              </a:ext>
            </a:extLst>
          </p:cNvPr>
          <p:cNvSpPr>
            <a:spLocks/>
          </p:cNvSpPr>
          <p:nvPr>
            <p:custDataLst>
              <p:tags r:id="rId28"/>
            </p:custDataLst>
          </p:nvPr>
        </p:nvSpPr>
        <p:spPr bwMode="gray">
          <a:xfrm>
            <a:off x="5126038" y="32464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D6832-6AC2-4078-99CA-DC936EAED2D6}" type="datetime'1''''''3'''''''">
              <a:rPr lang="en-IN" altLang="en-US" sz="1400" smtClean="0">
                <a:effectLst/>
              </a:rPr>
              <a:pPr/>
              <a:t>13</a:t>
            </a:fld>
            <a:endParaRPr lang="en-IN" altLang="ja-JP" sz="1400" dirty="0"/>
          </a:p>
        </p:txBody>
      </p:sp>
      <p:sp>
        <p:nvSpPr>
          <p:cNvPr id="321" name="テキスト プレースホルダ 9">
            <a:extLst>
              <a:ext uri="{FF2B5EF4-FFF2-40B4-BE49-F238E27FC236}">
                <a16:creationId xmlns:a16="http://schemas.microsoft.com/office/drawing/2014/main" id="{251B4892-EB7D-47FB-9F21-0FE36B7BB345}"/>
              </a:ext>
            </a:extLst>
          </p:cNvPr>
          <p:cNvSpPr>
            <a:spLocks/>
          </p:cNvSpPr>
          <p:nvPr>
            <p:custDataLst>
              <p:tags r:id="rId29"/>
            </p:custDataLst>
          </p:nvPr>
        </p:nvSpPr>
        <p:spPr bwMode="gray">
          <a:xfrm>
            <a:off x="5470525" y="31448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C582D-2745-4F44-9161-1E8690044151}" type="datetime'''''''''''''1''''''''''''''4'''''''''''">
              <a:rPr lang="en-IN" altLang="en-US" sz="1400" smtClean="0">
                <a:effectLst/>
              </a:rPr>
              <a:pPr/>
              <a:t>14</a:t>
            </a:fld>
            <a:endParaRPr lang="en-IN" altLang="ja-JP" sz="1400" dirty="0"/>
          </a:p>
        </p:txBody>
      </p:sp>
      <p:sp>
        <p:nvSpPr>
          <p:cNvPr id="319" name="テキスト プレースホルダ 9">
            <a:extLst>
              <a:ext uri="{FF2B5EF4-FFF2-40B4-BE49-F238E27FC236}">
                <a16:creationId xmlns:a16="http://schemas.microsoft.com/office/drawing/2014/main" id="{1778F9BA-345E-479B-B804-40B11784E310}"/>
              </a:ext>
            </a:extLst>
          </p:cNvPr>
          <p:cNvSpPr>
            <a:spLocks/>
          </p:cNvSpPr>
          <p:nvPr>
            <p:custDataLst>
              <p:tags r:id="rId30"/>
            </p:custDataLst>
          </p:nvPr>
        </p:nvSpPr>
        <p:spPr bwMode="auto">
          <a:xfrm>
            <a:off x="544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CF42A7-680E-408A-A44D-06B072F2079D}" type="datetime'''''''''''''''''20''''''''''1''''''''''''4'''''''''''''''''">
              <a:rPr lang="en-IN" altLang="en-US" sz="1000" smtClean="0"/>
              <a:pPr/>
              <a:t>2014</a:t>
            </a:fld>
            <a:endParaRPr lang="ja-JP" altLang="en-US" sz="1000" dirty="0"/>
          </a:p>
        </p:txBody>
      </p:sp>
      <p:graphicFrame>
        <p:nvGraphicFramePr>
          <p:cNvPr id="438" name="Chart 437">
            <a:extLst>
              <a:ext uri="{FF2B5EF4-FFF2-40B4-BE49-F238E27FC236}">
                <a16:creationId xmlns:a16="http://schemas.microsoft.com/office/drawing/2014/main" id="{464E4F7C-B3FD-4F77-849B-34AB259DD43E}"/>
              </a:ext>
            </a:extLst>
          </p:cNvPr>
          <p:cNvGraphicFramePr/>
          <p:nvPr>
            <p:custDataLst>
              <p:tags r:id="rId31"/>
            </p:custDataLst>
            <p:extLst>
              <p:ext uri="{D42A27DB-BD31-4B8C-83A1-F6EECF244321}">
                <p14:modId xmlns:p14="http://schemas.microsoft.com/office/powerpoint/2010/main" val="2180651391"/>
              </p:ext>
            </p:extLst>
          </p:nvPr>
        </p:nvGraphicFramePr>
        <p:xfrm>
          <a:off x="6481763" y="2909888"/>
          <a:ext cx="1722437" cy="3055937"/>
        </p:xfrm>
        <a:graphic>
          <a:graphicData uri="http://schemas.openxmlformats.org/drawingml/2006/chart">
            <c:chart xmlns:c="http://schemas.openxmlformats.org/drawingml/2006/chart" xmlns:r="http://schemas.openxmlformats.org/officeDocument/2006/relationships" r:id="rId45"/>
          </a:graphicData>
        </a:graphic>
      </p:graphicFrame>
      <p:sp>
        <p:nvSpPr>
          <p:cNvPr id="326" name="テキスト プレースホルダ 9">
            <a:extLst>
              <a:ext uri="{FF2B5EF4-FFF2-40B4-BE49-F238E27FC236}">
                <a16:creationId xmlns:a16="http://schemas.microsoft.com/office/drawing/2014/main" id="{EAB358CC-A184-4773-B7FA-3A4192AF110F}"/>
              </a:ext>
            </a:extLst>
          </p:cNvPr>
          <p:cNvSpPr>
            <a:spLocks/>
          </p:cNvSpPr>
          <p:nvPr>
            <p:custDataLst>
              <p:tags r:id="rId32"/>
            </p:custDataLst>
          </p:nvPr>
        </p:nvSpPr>
        <p:spPr bwMode="auto">
          <a:xfrm>
            <a:off x="70135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66FABF-1E6F-417C-9B3B-27C7E3FB489C}" type="datetime'''''''''''''''''''''''''''2''''''''''''''0''0''''''''8'">
              <a:rPr lang="en-IN" altLang="en-US" sz="1000" smtClean="0"/>
              <a:pPr/>
              <a:t>2008</a:t>
            </a:fld>
            <a:endParaRPr lang="ja-JP" altLang="en-US" sz="1000" dirty="0"/>
          </a:p>
        </p:txBody>
      </p:sp>
      <p:sp>
        <p:nvSpPr>
          <p:cNvPr id="328" name="テキスト プレースホルダ 9">
            <a:extLst>
              <a:ext uri="{FF2B5EF4-FFF2-40B4-BE49-F238E27FC236}">
                <a16:creationId xmlns:a16="http://schemas.microsoft.com/office/drawing/2014/main" id="{382E2609-4A17-437E-824C-D912CE49C5D3}"/>
              </a:ext>
            </a:extLst>
          </p:cNvPr>
          <p:cNvSpPr>
            <a:spLocks/>
          </p:cNvSpPr>
          <p:nvPr>
            <p:custDataLst>
              <p:tags r:id="rId33"/>
            </p:custDataLst>
          </p:nvPr>
        </p:nvSpPr>
        <p:spPr bwMode="auto">
          <a:xfrm>
            <a:off x="73787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F08DB0-0B48-49C5-864F-EC5251A97F69}" type="datetime'''2''0''''''''''''''''''''''''''''''''''''''''1''''4'''''''''">
              <a:rPr lang="en-IN" altLang="en-US" sz="1000" smtClean="0"/>
              <a:pPr/>
              <a:t>2014</a:t>
            </a:fld>
            <a:endParaRPr lang="ja-JP" altLang="en-US" sz="1000" dirty="0"/>
          </a:p>
        </p:txBody>
      </p:sp>
      <p:graphicFrame>
        <p:nvGraphicFramePr>
          <p:cNvPr id="420" name="Chart 419">
            <a:extLst>
              <a:ext uri="{FF2B5EF4-FFF2-40B4-BE49-F238E27FC236}">
                <a16:creationId xmlns:a16="http://schemas.microsoft.com/office/drawing/2014/main" id="{15E2F324-CF3F-4BD9-AAF8-86ED83C6E96B}"/>
              </a:ext>
            </a:extLst>
          </p:cNvPr>
          <p:cNvGraphicFramePr/>
          <p:nvPr>
            <p:custDataLst>
              <p:tags r:id="rId34"/>
            </p:custDataLst>
            <p:extLst>
              <p:ext uri="{D42A27DB-BD31-4B8C-83A1-F6EECF244321}">
                <p14:modId xmlns:p14="http://schemas.microsoft.com/office/powerpoint/2010/main" val="2039918862"/>
              </p:ext>
            </p:extLst>
          </p:nvPr>
        </p:nvGraphicFramePr>
        <p:xfrm>
          <a:off x="5511800" y="2909888"/>
          <a:ext cx="1722438" cy="3055937"/>
        </p:xfrm>
        <a:graphic>
          <a:graphicData uri="http://schemas.openxmlformats.org/drawingml/2006/chart">
            <c:chart xmlns:c="http://schemas.openxmlformats.org/drawingml/2006/chart" xmlns:r="http://schemas.openxmlformats.org/officeDocument/2006/relationships" r:id="rId46"/>
          </a:graphicData>
        </a:graphic>
      </p:graphicFrame>
      <p:sp>
        <p:nvSpPr>
          <p:cNvPr id="414" name="テキスト プレースホルダ 9">
            <a:extLst>
              <a:ext uri="{FF2B5EF4-FFF2-40B4-BE49-F238E27FC236}">
                <a16:creationId xmlns:a16="http://schemas.microsoft.com/office/drawing/2014/main" id="{F2909AEA-6AD1-4306-9E82-4E8AD01A5BCE}"/>
              </a:ext>
            </a:extLst>
          </p:cNvPr>
          <p:cNvSpPr>
            <a:spLocks/>
          </p:cNvSpPr>
          <p:nvPr>
            <p:custDataLst>
              <p:tags r:id="rId35"/>
            </p:custDataLst>
          </p:nvPr>
        </p:nvSpPr>
        <p:spPr bwMode="auto">
          <a:xfrm>
            <a:off x="60452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3998DC-6FC5-46A2-BE29-45CB0702CEF2}" type="datetime'2''''''''''''''''''''''''0''''''''''08'''''''''''''''">
              <a:rPr lang="en-IN" altLang="en-US" sz="1000" smtClean="0"/>
              <a:pPr/>
              <a:t>2008</a:t>
            </a:fld>
            <a:endParaRPr lang="ja-JP" altLang="en-US" sz="1000" dirty="0"/>
          </a:p>
        </p:txBody>
      </p:sp>
      <p:sp>
        <p:nvSpPr>
          <p:cNvPr id="413" name="テキスト プレースホルダ 9">
            <a:extLst>
              <a:ext uri="{FF2B5EF4-FFF2-40B4-BE49-F238E27FC236}">
                <a16:creationId xmlns:a16="http://schemas.microsoft.com/office/drawing/2014/main" id="{D910239F-9792-478F-B59D-459B8E7CA038}"/>
              </a:ext>
            </a:extLst>
          </p:cNvPr>
          <p:cNvSpPr>
            <a:spLocks/>
          </p:cNvSpPr>
          <p:nvPr>
            <p:custDataLst>
              <p:tags r:id="rId36"/>
            </p:custDataLst>
          </p:nvPr>
        </p:nvSpPr>
        <p:spPr bwMode="auto">
          <a:xfrm>
            <a:off x="64087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1FE999-BBDA-4032-9EBA-BECD832830D0}" type="datetime'''2''''''''''''''''''0''''''1''''''4'''''''''">
              <a:rPr lang="en-IN" altLang="en-US" sz="1000" smtClean="0"/>
              <a:pPr/>
              <a:t>2014</a:t>
            </a:fld>
            <a:endParaRPr lang="ja-JP" altLang="en-US" sz="1000" dirty="0"/>
          </a:p>
        </p:txBody>
      </p:sp>
      <p:sp>
        <p:nvSpPr>
          <p:cNvPr id="421" name="TextBox 420">
            <a:extLst>
              <a:ext uri="{FF2B5EF4-FFF2-40B4-BE49-F238E27FC236}">
                <a16:creationId xmlns:a16="http://schemas.microsoft.com/office/drawing/2014/main" id="{885A2792-59B0-4694-AFFB-2F566E26769B}"/>
              </a:ext>
            </a:extLst>
          </p:cNvPr>
          <p:cNvSpPr txBox="1"/>
          <p:nvPr/>
        </p:nvSpPr>
        <p:spPr>
          <a:xfrm>
            <a:off x="3962400"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慢性的貧困層</a:t>
            </a:r>
            <a:endParaRPr lang="en-IN" sz="1000" dirty="0"/>
          </a:p>
        </p:txBody>
      </p:sp>
      <p:sp>
        <p:nvSpPr>
          <p:cNvPr id="422" name="TextBox 421">
            <a:extLst>
              <a:ext uri="{FF2B5EF4-FFF2-40B4-BE49-F238E27FC236}">
                <a16:creationId xmlns:a16="http://schemas.microsoft.com/office/drawing/2014/main" id="{293BDC73-B288-4F16-8DDA-9F37E67905A6}"/>
              </a:ext>
            </a:extLst>
          </p:cNvPr>
          <p:cNvSpPr txBox="1"/>
          <p:nvPr/>
        </p:nvSpPr>
        <p:spPr>
          <a:xfrm>
            <a:off x="4914898" y="6077664"/>
            <a:ext cx="104775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dirty="0"/>
              <a:t>一時的貧困層</a:t>
            </a:r>
            <a:endParaRPr lang="en-IN" sz="1000" dirty="0"/>
          </a:p>
        </p:txBody>
      </p:sp>
      <p:sp>
        <p:nvSpPr>
          <p:cNvPr id="423" name="TextBox 422">
            <a:extLst>
              <a:ext uri="{FF2B5EF4-FFF2-40B4-BE49-F238E27FC236}">
                <a16:creationId xmlns:a16="http://schemas.microsoft.com/office/drawing/2014/main" id="{A1CFAFB1-1B7B-4E82-9561-F5C5BFD79D3D}"/>
              </a:ext>
            </a:extLst>
          </p:cNvPr>
          <p:cNvSpPr txBox="1"/>
          <p:nvPr/>
        </p:nvSpPr>
        <p:spPr>
          <a:xfrm>
            <a:off x="5915700" y="6081223"/>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dirty="0"/>
              <a:t>社会的弱者</a:t>
            </a:r>
            <a:endParaRPr lang="en-IN" sz="1000" dirty="0"/>
          </a:p>
        </p:txBody>
      </p:sp>
      <p:sp>
        <p:nvSpPr>
          <p:cNvPr id="424" name="TextBox 423">
            <a:extLst>
              <a:ext uri="{FF2B5EF4-FFF2-40B4-BE49-F238E27FC236}">
                <a16:creationId xmlns:a16="http://schemas.microsoft.com/office/drawing/2014/main" id="{C6B1FB45-34B9-4120-A29E-6690BC8F7C5A}"/>
              </a:ext>
            </a:extLst>
          </p:cNvPr>
          <p:cNvSpPr txBox="1"/>
          <p:nvPr/>
        </p:nvSpPr>
        <p:spPr>
          <a:xfrm>
            <a:off x="6997703"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中産階級</a:t>
            </a:r>
            <a:endParaRPr lang="en-IN" sz="1000" dirty="0"/>
          </a:p>
        </p:txBody>
      </p:sp>
      <p:sp>
        <p:nvSpPr>
          <p:cNvPr id="425" name="TextBox 424">
            <a:extLst>
              <a:ext uri="{FF2B5EF4-FFF2-40B4-BE49-F238E27FC236}">
                <a16:creationId xmlns:a16="http://schemas.microsoft.com/office/drawing/2014/main" id="{8B597C4E-3473-4048-8D17-F8BFF2DB258C}"/>
              </a:ext>
            </a:extLst>
          </p:cNvPr>
          <p:cNvSpPr txBox="1"/>
          <p:nvPr/>
        </p:nvSpPr>
        <p:spPr>
          <a:xfrm>
            <a:off x="7837324" y="608277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dirty="0"/>
              <a:t>富裕層</a:t>
            </a:r>
            <a:endParaRPr lang="en-IN" sz="1000" dirty="0"/>
          </a:p>
        </p:txBody>
      </p:sp>
      <p:sp>
        <p:nvSpPr>
          <p:cNvPr id="52" name="テキスト プレースホルダー 1">
            <a:extLst>
              <a:ext uri="{FF2B5EF4-FFF2-40B4-BE49-F238E27FC236}">
                <a16:creationId xmlns:a16="http://schemas.microsoft.com/office/drawing/2014/main" id="{8791B138-02F8-4DE1-8C2C-3AB322E37DE4}"/>
              </a:ext>
            </a:extLst>
          </p:cNvPr>
          <p:cNvSpPr txBox="1">
            <a:spLocks/>
          </p:cNvSpPr>
          <p:nvPr/>
        </p:nvSpPr>
        <p:spPr>
          <a:xfrm>
            <a:off x="4095130" y="2450632"/>
            <a:ext cx="2160240" cy="18575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sz="1200" u="sng" dirty="0"/>
              <a:t>各層における人種構成比の推移</a:t>
            </a:r>
            <a:endParaRPr lang="en-US" altLang="ja-JP" sz="1200" u="sng" dirty="0"/>
          </a:p>
        </p:txBody>
      </p:sp>
    </p:spTree>
    <p:extLst>
      <p:ext uri="{BB962C8B-B14F-4D97-AF65-F5344CB8AC3E}">
        <p14:creationId xmlns:p14="http://schemas.microsoft.com/office/powerpoint/2010/main" val="3022026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36336202192689359691E+00&quot;&gt;&lt;m_msothmcolidx val=&quot;0&quot;/&gt;&lt;m_rgb r=&quot;80&quot; g=&quot;CC&quot; b=&quot;E8&quot;/&gt;&lt;/elem&gt;&lt;elem m_fUsage=&quot;3.08768167786216940485E+00&quot;&gt;&lt;m_msothmcolidx val=&quot;0&quot;/&gt;&lt;m_rgb r=&quot;C0&quot; g=&quot;E6&quot; b=&quot;F4&quot;/&gt;&lt;/elem&gt;&lt;elem m_fUsage=&quot;1.71346362116865691405E+00&quot;&gt;&lt;m_msothmcolidx val=&quot;0&quot;/&gt;&lt;m_rgb r=&quot;1F&quot; g=&quot;49&quot; b=&quot;7D&quot;/&gt;&lt;/elem&gt;&lt;elem m_fUsage=&quot;3.46751067994775008518E-01&quot;&gt;&lt;m_msothmcolidx val=&quot;0&quot;/&gt;&lt;m_rgb r=&quot;33&quot; g=&quot;99&quot; b=&quot;CC&quot;/&gt;&lt;/elem&gt;&lt;elem m_fUsage=&quot;2.56926900367377253342E-01&quot;&gt;&lt;m_msothmcolidx val=&quot;0&quot;/&gt;&lt;m_rgb r=&quot;EC&quot; g=&quot;E5&quot; b=&quot;F4&quot;/&gt;&lt;/elem&gt;&lt;elem m_fUsage=&quot;2.31811177271780521902E-01&quot;&gt;&lt;m_msothmcolidx val=&quot;0&quot;/&gt;&lt;m_rgb r=&quot;F3&quot; g=&quot;F3&quot; b=&quot;F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oj_K.XdZxCvEkUkrkiPQz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gBARPsgK55Vc8QiDQ.EVO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lT7fwrTOMff2QDEsAMReh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Ns0Z_bACF2FIfoOXkcNDm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ZXzfsNwZXI4zIOe.MYr.l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PxICqGN0BzHXSLqzcwkZP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3pYOEFAyP0_Sp.rMR1Of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1L1LxMBmqpkyjZaef0rpQ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VQNy.Ab3M6KIFZuYqI0xJ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ylgsnBwnD5MwNjgRcA72g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ziSK0_Qd288zo6C1TCWd9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erZW_pHUprS0u5prApcp3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Zsvb64CSp3cXe.ptg20A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QrvyCap86o4vUsO8U_9rJ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FHRuGfx3c3DpIVk2CVJt4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SICL7yqa_l6GQUwqV10ZF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Rt34hY6_tl7zJb2vEGilE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NAME" val="4. Footno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OzBkZoNMdxSTXmkQA0I_I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zTV34xYNqygg2fTSHRVWD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XYSuUZwD97DsQAa7IS0CY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yc2WKMOXJMFq1yOWtkeZ7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8NjR.vhMvdw0PM69b6zqM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ccn9d0wiE5URWthUnG..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1XXPkWSbmhQQ1A6Reu_o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4dba4jAOeUpXa.7TNEtLY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rNmLGuE53Ibp654tgYHtY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6JdBDCLXX1aMXjpQZD6by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shboC8zYjC4xMXp0vZGfT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Djjds45sYkA9XRLh85xhm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3hnCqEJMT67JYAP.4hLVD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yVjL6BrbMWR9jb4G5j2Jp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kP1SmK6CgxjZVh4GW1RPv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PnM8G05Jv_3uAXWk..Ys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5F8OTQxOi03DRchY27u_U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znldDSKFZomLqSRN4Pyn9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GxijUEVB_wspOUpk5nz.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ASs5rfbbIDvJcvzIlpv32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EBAqKIcBt8qF6.M7Vo.a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NUIoigbKMsza4OtxB9I2J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Ga.bRZ2bdfQuwRd5KRl_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p5w7tpRVBlD2HQb3gFN_H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chmnvCI9V_N_HYlZan8zR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lbeCItyTUHvnfPFyX9H.J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VTcF3hXJZgkvmDKqEMvrB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sLvvnwVek.qDV6G08X7pT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LH.dJQGrbTeqYckYK8Ijq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2L9L8BFQtLVMjDRiq4Q4i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wKZo5lZbVkOhlP0K1OUw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8wmvNCbA6QnXnOzOPmnqQ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Vw5p_6QadBQgEcmDoLWP1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gEE.ApoIqAqRgDjItIqpf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_p.qGOg1Mx65sMeSZnmAn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f9CuGcUUfrlM_8YB7PgS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puJ3i6f5Vli3g3RqmhGXm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jteXhKb.DyyNFTv.QLbc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RJFegg.4mbVxNi.pgS0nR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bhkhrXNICH_4ttPcGOFu9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vQbSilO.sgpV0Jq49PPRH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qbCLicEAQ.PoyE2pyimK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tsiu86zmIrYRNNMyYpGv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Twcx46Z5d7OSU_Uiwyrss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_FLEsYoQV2G8kNH9VCkQe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BDbC6hhpq8ujt4o7NerQ3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g_076IB8a78UtAe8hsz_Z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ZJ4IKtGTmsMJ1lxYS88m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fMywbBhrX_v60woUHbnFo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wWCA3H3jAKSpODreTs0pD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NAME" val="4. Footno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NAME" val="4. Footno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HbSK68g_oYXldqCYvWf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NAME" val="4. Footno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NAME" val="4. Footno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3L9i6m24N1slDMlZ0Zd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C3d3quL44SpdmplKscGy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PVhNU763Q599LWu4aedr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OjmS.ooHP.OtSNg9aEK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StH_XJBIqBt6x7FId8j.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4vrtusyil72IIU4h1J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VFkvENX7H3Io5RM4s8zT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fXHdTMdjwqB4nbebCjO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LRW1L67xtCJRSdv07M84Y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TY7PWyOVtRcM2Ls.75U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6YDuk46nyDhIjNs2vM84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ApwYx7zWq.rcvPi1zlFD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l9QQCGPXbQKu3Dra8Qd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Y.HFCqUCR6wVZ8iPauA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heGiZbQy2a.4iEAlJGoe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u8YtwIY6b66rFtordFy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yUaFD_y5bYAb_QrYcTwQ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QbKqQfTLjW4TKQmtzNx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inlb6owBuQAbuNV_GTgF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wFIvEjWcHUgsGJ_2ZgIo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XYPILRloef3nRwHY6lJ.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H_eVMmMJTzEtlKOATKwN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oq.s.wFGMZWFkle0RBuq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qfKYzRnBl74jldumADx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MRDBjcpHtfY7aAJA_Rh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AQTa8KBgE1fjEC.ljwt4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CDTWq1.ATfYeSx_RGaY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aLc8UqG.te1eWEpdZ0P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0GRneBZmLaGjyZLOCu87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HNgYmLArQ3Pfg_ODiYU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dSLhOlzwOJcPA_MKPNt9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u3kdsfpScIh9S.DtJTsa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8jRH5RyY6WD51actwLgRy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cJr6wz3xJbxKrhy5anE0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hYJCKJDAPL..ykNxlkr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utJ_0PpIY_b9TASHBxq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kJWIp2g4mAgQ5gGa2UPJ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q7JnWTaWlZCf8GsSHHsdp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sYlstL9o8PiqzR_vNorS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yNU2KUXvJi2_FFmjFB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7U7rrK8Hf3gnvF5Mk8pKv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9FAKj71DSiyyUmyCposy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t42L5jnROiIRgiXvtjkW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K0eqs6pqaGXlDe4I3123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cNj4hXwiTwQh17N_bxLuz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ucnmtk.DnYMRiHefLsy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bFePaXuUWi.OByjlq6q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74JCvMT5hEs_vs.5jPPS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3Bxo3oSeGVsvadGfq20C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J2mn8Zhd49yESqta.gd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zl.smvmsSDRUyyAUalSe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R3ay.B1lZjfINvIAevi7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86VX1AUg7qFvla4NaXj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iIg60_NJImuhjVm5_Ur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ilrXNDMhcuyo2ipQB1d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BdnKgjStlqTpBxeUFFV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bHBPAo4bC9Lg4TeuC_lb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JVIEcThi67oeZJj4.C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dyDzkv30T2jxyCgLtzQ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ZGvMV2Q374K_bI6SMkT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UkCp5JyOFlA9ZaKSKr705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Xr8se_gRt2QciyMynrjZ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XGTvDiNaSaVs3VJA0YE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Zv6zDLpKjy..BrEb7AVa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TQ5KEKMLYr3Q16h24tc7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aGRbC8wSHBm1Ax2if8pl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91bggDgylxGkF6vZm5y4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PRgGzl7bZuiA_FNX0puL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tf04HZN3u8pNQ89Tcio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yow8rLZP4zLFOnNFuhy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gDcmvVXtMyFB.tmUBwm_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bctlgJPBo9R0w1Y_A5_3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e9aW6Z0QyXHii2xa.LJr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0VtpO3rUOIrSXRkXEk2z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sdGK6vQpLAMlTB7PCWzV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Q8oCG8qVePNcxhBtSo2z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Uak8IB8DlC66YRS8R.3T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5jd8m8AGN6k349cq4WYa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9F54gahElcUTZoKg25FNj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Cr0u5mOijvpfQg11GKO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pJUWM4NLSDQGn7OTjRTy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zjm3mAq5th0v7fJYOE0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g7f11yt.cW8TIR7EUsT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Bm2w0P4tQ.PISQufD3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WJ4PQjUgTeQ.2bvK61S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XmfdG7Je1kfBu.1QXlY1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fBSOQifWmwLROtdbDylb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VWugJXhQzphm8q97uJ1L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XqRT00ktnRJyBw8TuNxe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OCcWYx9snCkdAo1IHkQd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qjuD6Y3MXAy2Vj359kx6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L24eR1jdarVky2culoWd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gH3o1G1hHuS3iIBowFco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woyIVRSVsHV.SD2ThfB7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KOLClbdjgiT5jcnyVKJ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WiHxTkMeOn5wjBZc3Ge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15hdquZaR6emCJOeMajcf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_LkfrQW5NQVSAMsCCyY1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8Csh0OjerdIqszNixbHP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RfDrq_7ZIrKgiRFIn0.4v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uSYRg.VTmsM5m0bZdVWD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YO1KZkmUz94shBMchnb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mH8vxq5iI8Wivg7qRYo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ZAPMwIw4O8Y6.eQ08wDyw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ysUW6i6cfLjjh0_GAyV8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zEFyb0WsF3xQGS.LFqJ9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Czoh9fH.0ur8Sg8XfTv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XaifflcG2sbncMrlwCh6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XiNLt38uuF0AcS3XlJ90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5L0QujJV4pn8kIqWT2kVb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l_rjR01dft7djCgvcn0l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sAa2vyM1Fu28en3jsdv_K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CUeRG9_oE70OcodAKK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0SNERuT2TOqMWbh7kY1l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W1cC9MF2BHi5bKQa9rruk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FKRL_LV71vDDXgur768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8ZrVZESg1xAGBtjC5wqC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rB.XYaQ2szs9OnyzSivaY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RMRF.5Ssh5SsNSRFQo3o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HAVGgo.DAb1gQ0Ozt2K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f6N.z_jKAoOOqVIADkFLl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yK7OORIQ6RvJCQ5ihUZ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Oc_3zNJnGmyUu9vJWrM4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pZVX5yBEOVeaE5iiS0JY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9Ko4wEskGTK6HeT8Q_VH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bUyIE4OWBhGiQv2.LEig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_vmqXA.lgMDQxibj6g5S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M8nZRBbvJZMjwyNjA5ue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p4qi2QnhF.EZXVXaDfiS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x779A1R1DUAi90f3tac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7cGErS71gq89eXhIDSVSl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6iXwcORNye6er4Ok9gS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3vSPdYpGiSR8U5683pw5h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KmzbiqVe8c_esh1U9j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UOz7xPLhNVo3tE5zt87J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tgSg7XFqVJkDlGEww5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vExbllKIfGG6eZVPv7xC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2KGcwYV2OzxioFyZdh9Zn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vR7FTcAcrg2Y74vRnRW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2SOSfKi8Co0hcxHY2t9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sz7BRMgUeLwOVchZQGTk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FQAMZP9DUDlvaIMXIsJF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OOxZIpzDcxqP5W4IngG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t4.NdVKAR_KwIym80oVS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UFmCtAUsoM.8ZaCcDcc9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dJvYFo3ZgAtDYf6znhM3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RnS_keffmwyMto4YKmi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iPGX2kLN1n3VE5iObePS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BqJ7HqnjKp24eoEqQPEH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q6_2pfu9jBoqFKgihh0h9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RxMfHb5ilO9bIHXEQc276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P8.hX6Yl1AWPg8jvjzeh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mE3dlvsm8puoKtITtlN8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kO9YO_wB6KVYFEsPGwg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vbne5BoCWalDdzk9Q0n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zbbqqVPGd3XGVIcLniW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Knv7Dj4ntPIGbbvMmaWA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2zZKYA60LIuUb6SKqO7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qk9CQF3r3OZb8A74JlP3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IFdF9kWhrSvJUT.6StCg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lh5zqweHtb8tEAasUQGPu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UQl73L4t9Mt0IlKoyrfa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x3gC1vTbmG5dGCiO3L7O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QrkSSMWk4AF2TnX6.l09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Zh_AkA1F4G.IcX6E9ycO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cJPz5tScxDkQAVSHXeAu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8X33k_frvXuhdTw0uFh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hfcVJ2vRpk6qpquZId2j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4XQip_4v6cJ7HvRhNIsu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GFtSsO44R0XLVhmku.pZ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DulMchhN27ld50lK3KHkP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R2nI2c4wBuYAG8dd_QDC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dWbpQ3.t6dSNpwJTdOU0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OR4EfM001h.t63Vo1F_4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LsG4GXWif3BCua9HxI5_.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zGrlXKzt8uke4tu6jlPe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Yyt5oeQZ7b6bT7K92te_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MhBdthzyfm1Q4utsxRXB_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6A1CM7Bt4_ZeoeAWxK1BX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qfdB3pvIceHGGZraxbk8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QDh5_WHT2XT00AMjrKeB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LzN1t2RGvAUy1dGHW41A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aw1ATw6vZZlPL2PmFE8M4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eIvKimJ.jR3rgZq0R5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ZJ2L4BhZr3c_TclNhoPJ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V0WirlFnVS9esa3lyvXf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2u1tAp8LCzYKP7zKj94N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TgC6h2x9bEMv558PxTPY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p9G1xLuyPYLCtYi3gJj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1yvuqOmG.pmkvwKSd.4_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T6dURQDxMayYi6QsvI6s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SdLi6oufvfDxkXFK5JUh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6hFdD10AGu.9rjEzpUsGr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WJLBYPe1wQai0B.7p6mT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9WcA6nLd7Hx0F.Zyuai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I9yKAa1MRlSHHcB1cKM4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r39bIJT9nH07TgVddRHx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eAviPZR4h0AoqgVM59q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dR2xcAEhMNheNIqHfo4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KbxsLJ7rtswUClIj6EvV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WRQK0TeiLbBI9KXTnksjB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NF4AqL7wZoKlHtMKOdJyJ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2hRlpvnWJDYUOJJfkCpf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LvrZ3Ytj.fjYV1Qb6wpS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ZYol0aWfrOfjFpvjQ._S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FwasJCZDm3PL04IM8S4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Tg.F1mJ0yPliwROQaJYz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e_MIB6wlhEUvWHmG_Dzs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WeNYOXP0P36JeNSRg43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d0zSH3aj4mjgdGAxxyO6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L5ZnLPXS1ZzD1kzusyAl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w8JAphCysowKhImkg5_S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o3Y5oFO9Lj6mVGNb7Wv1p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hCQt1p1o.zHraSW_Bd9n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UlJixHovogBXAWo.7dpL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yG_OmqhnTcrC4FGwWFxI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qOLVSsmzob8VC8nBU_I5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IIBEDaLfaQtFlp0HKlf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_tyrOmy1pYVNuJxTVOl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OZGHoGB.GKA60zM_eFJpJ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6_4iXq1u5h4.dHLcoShz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l7u29fXH2X1jh7iMWX8C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25TaYteyFBNsVe9yJakuV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a935GwCMYMbhlOAfHnJZH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fEmtrh70uttJvwr_TrKt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xY32Eqv3hD29HcKXksYv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0oVepNCE2.UXGSIiefhd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p2L4f1z18eIDiXpuLU6q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r6n4BaC.e1Q7D73eEBF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kIaW4aAgm770n34cQwj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sjAWJk4qZLmd9RimmGKX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d4aXoe3Y5t9eN75SyLQM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A8vrznbUSEYAoKXkuuSb_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eAJEP3q_pc6_aPfyay_M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XodoCCrmArEtC_dEqgh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M3GxDf2bGvc.xJgVFZe3a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5MZaEAnRtsLZokdXonHj5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PSdTltR28x9S3QLL2Rds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m.t7GzkI2EBqgEkfFdU0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iW.OXYaXSFVSSGB7mDlX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HKmh64CpXSI2XGPGUkU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FcBQnXnJbBbrAs2JIPIY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9H3va5a9oJISJcbfDIbfz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GUwtJMHtisUYxTGVaXHd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qYQkCXLVfE_KRwEn7dPw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FZohkRSAOyYnU2cKR924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5_Ad2KIAlonsqnacraZxE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08uaBIRUXsN6Lwk2DZW3J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J1_H3T_keFHmVcEBz6g_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04afbIZQuG_AJwpTfouM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7uNtP6IZvD9fv1YFOYOY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tJOCb5CbmoOYiH24Hafr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PYGJjzCNuprDZSW9bvWR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HCqThcbWh_JOZiuG.XdG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H8qcrSsSocVgiJgUKAwf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7DciReLLDGghjyHn9t47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UQ8b.WfsccBhp.Dtpft5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ZjRaG4lEtJxRwvbPS92w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RjQ42e.N1P2UC2KuKJfS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Q6fe_4HSIY_ZCg_DALUI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5hkUy_rqWjVxKOqWFHxER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u.IdpmLgm6lJOjZ41938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tXXTdR6f8qAtEB4DvXij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QxuvCjW0amfYE_Ili16sv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4bdX40b4.aT0vzpbSBtFQ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5jYdv2IlqDWhToC6_jZz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DrbU5hxYfhWuW1W5Jj9V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NqpHuku083ss.ogcpiTjk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eiUwRxClseP6oVCLTHnrJ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vWe0KG2AmErwMarQP19EE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3VPTE7mamRqSz4UZlamvQ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5cLbZ_qAb4R2hyjIA2Da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1q5oMArxlkX1vxAuo0V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TBVCigxaD9lJkoN9lMAL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70W6jTvKCR0m6BndwZ5um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5wE5gKTMeFMoHcitUM1.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6bYOEv24SsJP4_Ob4Uu7W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2MBLdgO3N_tbuiNpiDdXn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8WMvUIPAF19bImc.rqlgN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9.Ig.2aIFint8gusc4jkw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0K9oe9d0we3Nsn25r0xJk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LB2JnGfSwod_tyLGIC377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QnYMDCofT3rSzF10eEGL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nX5843uw8VOh9OXN8.M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Rg7a424vwqD1zZ0Tv8qw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ZRKcRKGtNSRlevJBqpAOV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xhlxMNFKyMbacwW21qtk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mpK_m1nkhpdlqq6UkHo2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d9G6frb4yojulG698SZE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FUxA2sYiC9ZsJd4P5Lv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dEQ7FcaLUNyxrB_WVV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1HSDvFf70GtcDwEepNln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L5HL5bFCKuC3MO9KohcJ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6oZh5gpWZLg8mloprIzYK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6r5gAs4R3nC0kvWrkgVDl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hh8F6nUoJC9nH2PuPqbz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NNo1JAPFUh6ktwsshhTai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DDul0xG8GPZ6Yo4uDswq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sSjRsMpWGIGkForsTdCi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LGRYw2dFRJI437OPmN8i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DOXl1k9O2hMQjeRVK0JIo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CP9FrjTtsct0SDUZZsu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dzikRH7BXadp9wcniMtV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Mz1y7R4oFwaTMUd0l7a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EIM.d0PHTyH4KChqIN5F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sHYQhRAZ0r1KyN6v9MeH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1.heHvTjofXwiWp2I0k6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dq.31_HfD.nGx9lNK38F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DFR2ymbM9yqkvzHHBYOu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wcJDo7iQKj3g1puttqzq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k.y8o2r7Cy0C_iJWvoCc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GZ__BrxxpDT1rcbLIV7gM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rmp2m2WhG7mnYPEqlUr0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dk27M.41KajF281aFjDjP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cfs0MN68pKFrl_Rhsntgp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32ruRuVVPdybO6G9M3zRM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x_zq0MSTY7zcOcPuzvaA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7JIzELyAfgECHsn1oFOz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G5bPha8pMsVRVP2IiK7y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tmVUvK9wwfhPIbf9v3vQ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skiO5Jg_8bsnPCn5sVdX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aikxWYKLKOh4aK6dr_ep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wY383mj6CQOZCrF2.ZTI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gIXZC7COmdhCi79JSKGj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BV9HmpQnkzTXiqBzf.3D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DY20K7FjXwK3rRJl2BfVY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G6i9a5QDGQK.epYaF9Pck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ObZHjnuoZMbs5UlmDpM0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8dn4yM5gsi6Owxr4PbKe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PEid0P5URmMU6Msuz8w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b6m6gSpDnH0O0MM.DYMQ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fZVul.8arpRGj2HIAb45c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8AZDs6QUHSnltjd8Tshts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6q0edwuVe.EkvfPcAI0OM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q697tF3sG9C4eOrKZi8jI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H97z4e_e.UocfVqz656s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AwICHbl7TJ1K5moMbP8H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49El7aIZTvSjdWGqtPB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vzlJDsVRVhUa58HxfZ5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qXLQ6VA9vIKmkxi1BiaQ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LXuZ4Fz4iSEZ_9YkkSrmW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4s1Jc5TZ65T_E8fi33f2X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E3eRWy6TNfleKLVZqsGr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0FYFFYD6rj1da84YrwB0u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5rQ0JFS.nxKp7kP.Uo7Lh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hvtCzK7KE4sr6R7mAsz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DNINFXTwwPdOCNbLaVo4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TEgurNK6XLZ7WqMyabS0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iwmphepwloSBWt78Klux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nnAO.Y4Rn6xgIUykfNMc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rQDCag726x2Cj3YTbBJH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NVG9R7RkGmzv49u7hrAeN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9JB.cXoIsjETOIw_.uyqt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ssFCkAkwCgciwv6qMJSE_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0uraPVeGae1_MlsdpFpy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ghUW1px69w.uM0sqsIUU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S.1FNIGUuRykwsvnIvYo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MvXpf4pft2W0ZloZuEEp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8E070_b1Rrh0ktLXF2gF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sAj1QedIzXWgVVptB3QW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cucgrifgKlIDNlYeNJUiM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aJXAmbrnBeujOGm_5AWLP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jQhWoC33I4nlHKsMKNncT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U_MPuub_txToa9w2Gqp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dzlpEoKGguqZ393u5PF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EqZUr3XD9q9cesoxahDFm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gtu2FaLDE5RmM6vo.on.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egxCkqNtZjzvqqRXetMi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DW4PtnpEnjMkwxCh3dB7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7Gi0mnmHnLYAEn0Q_.d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yL9ymeDDa5iUaZCEmh85h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mknSGsy6rNXrB5cxU_ZD2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eTqQr0GoV3J6vFAzTt6x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3NOnrZEZyuIkpYHtlEpRK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IKdUYb8az7t1D3DOZTPl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xIxtbp5abP2QFNOjalE1m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kpruhCRCbxGGN70p4YrzU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rYd6z1ORYy7viNpGV5Zy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K9Hlx2MazZYp8iCamzGt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2alFeP_ttsMdzv2UJNYB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QbsSMYl9m3KtP7tMAh8J8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G7O5y5l3HzQrOpSU1iVNI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U1DMGKAqKqejjdh3lqcz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I0F_.HwkDa6K.VgIar3ip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EeOy9NQr45t_8wHMIiA0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sx1mByIJZ8GqW69MfYFM2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RgGlqFBD34n_zxtItrP8u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xiz68yFYQRR7V1bvkslR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9zEAsRgfMkPtxpYS_KHcJ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_j.pFHrmcrmE4_jeL_EL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zwlurQ1Ik3YaNknlp5E_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0OIA4vXgP28oDOYK1yu8h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979T8kQnBRhmSL8nspxUA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iioVZJ3KNFG_uLVDx4mS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piwgsyoQQgS1tfe3Zy0Lu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A_UiPfjzRdeFKo7aQxVZd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kTP0ltFqQZIZQH1J.7Yku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xla399.lpsk3haOUwB4U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iPm2Vqs9r7_erLM3VNko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aAcMonqimRs7HJ0Cg089j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xd9qwLEFqfJsP3Uv6CP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XzL6kNr5pJaIdoDxOK.2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jc64S4O.3SFJ.d60ncII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pRFmc1EOPUSBJFlquqakN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AOs9lHZTv6H7YMBn2W5AF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43adntVcMi9_QGeoAmiYG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CH6u2tNLR9pSRY70WOhZX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MtW6P4eiwoUIKWTCfi3Fj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d_bZY5381a7n41iNBeDNe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AyV0QsbY_6t2wEoXxcOS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sKKJitYdTDO4tszurSK4u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UUqMgNVhwlWGdvKtISp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uLmjcTehCREtG.Lw0a.R4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kVSxxnmpO0tK_NzoAY1p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N87RMtOEDMj_MWSi6OW0b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tpeeLszV1xYAzUQUw3lW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jlu.y0gJZgs.tugNAR1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p.2JO9t3UuVMqN4zZHtgr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vwi.ef9AeUErwZEWRljev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cZD4X7OtzR00go58hyuVP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PxdTAbqyiVe7eTR_xliX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_m93on1VHQkNL3F7VFwP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8G6sW_B.ODuIIctt2DA0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rJG2DmSXzws90Ui_jL5A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7FXYtNnkuCtRgK5OSrLwg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riZPSJq3uEdNB9BLcIPY8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P1PGLGF8CNWxWZ.4ORcf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sJfDyr.x8luqIm_sC1u01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mJTb.KEAuk1jgUWmd27N9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Ess4y6ElYr4IiFEiJKtW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wVNfQ2wEGLj8vXX6LSnNQ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peHSRiCMTeukwuSEyN6uo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NH6DvMiAfzp4aSdr5VWZI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awy9VQLn3_Wp8ddbJYnX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2c.gKF0tZTHdFAItFCXz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L3Rhe02_N9nijyFQIprW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GLWNJe4ARFjYt8LORUSl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5CLTpINDl8xDg7sY3jdcW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LzukT5E27jWHiLy_3C30o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vXDKRRMFCLXTsNJmiJvO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N4ZXJmQkFIng07Ln_9OD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NWha0vjlKGCMbuyZKySwK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tONQMDiC6L8kxnpptmRHL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3bkSEDEYw9RACGLdsTNZi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RbAIo.nSvet2TFW5ozUx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OSZP301e_WH43zj1E5tI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cSpBL_myMp7sedICGbyt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nFXWzPfaMbOYgNiNW9YDX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AGvfVWjSBWVCVf.xoCzvo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Yzq2PaRIkmM2OQyyi.D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4DkTEr2_4hXIOWEIMhG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QxySC1iAGEuxQOJG.BFz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xtrhrtAdrpXMyHQL8vssX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ilE_zS0s39y4KnWUm7s7C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L4o8_42lGhTRgo2CtcvTJ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4lDh9Y.QTFWIkojqQoFg0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P59BGKzjo9E5vN4fDeLpM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1zXhQ.2t6YzNL4WSMfZs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9bXf21cljxySE7PgmlxNo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unrr.aa6az.rP7cAICPc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_ZVjgKnF9Rlsa6pUSjqu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X2eeu42wgrfkWK2OK.v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zYvDhBhSF7kLFj_sIZ7k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ZEe4YOKvd8PeFgK6mwS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dT0nyGnMkMLMBIUKnyjUz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oxQOTWAQmZnk.zGCE05RW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Ml0Wd7njvwNWKVW1W8lzX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90kFox7p8cP35.Ypzqiq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X3TZQB.JL0ws1v9L9zOK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wttKNwIjlQ3epphhs2gAc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At5n5jI2q1RINDzCmCzds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64YbhcDTguIRA4nJdIc5e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JKg6BUxad9Ysp06ri5YY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SRWtVy4.2JdQitaWR4o2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Z45PdCvb9JExymDfIBUR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b_xbUpO7AiG5Lw_RnbOVy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I9jWSgbEI_Z4fZxOoV.v1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cM7iIp4bxsi.ydXbungZL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1w86Fgs0TpXhOQtBV53G3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3vGZzkABIsJuhpWKIGtq5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_UNN4vzPrP6H9OHKUoPaf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oV1a69CTipHuj08nz6OP7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U56b5AS79Gnsc7LRWs0zt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66z4bF0fXov85txFJTtcL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ZIFjD.6UK_IhnmGqZ_P1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QBzdYV2Twm.HvW2ZVZFW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W2Tau3jKHitwMv5dT6u39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2Ky1kDBSx_BJBmhANc_e2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UHVMOhj7tJbRstEqTEca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GEaCnB3.gXovvAum4ARB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S7l3LmbFgJ7kCGmg5HB21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AuXEK5Sv_dxPWqU4OIL0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5G9osHn3On1S4XiDHGMk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rjuawrcwVUycI1hCsQYHq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klpgQyx79ADx6bn7fbpk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ZRRxNEBxbv6nFQqKr7lt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9E6yhtMw2ZcfS5h3ku7E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DMxrTCmo03.PPrttH1Mzm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vr6oOHlAoBtLlL9m5D_n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bdGCg8dm2XwECDKJ1QHps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U6MkyL5OOItDhEDfcV3A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838gpMhfIWue9fvZbOxPO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Q3pv6EljV3oejFTXi7yp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2od02AZvdzol2o_FK.Bfj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AikJiCNBBx9MzajktDSGV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O4Q831Q4PQ1k9YJ4ZNmg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gGE5gvbF2g2joOlAWMsU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oaIt4LsRRh9Bw8paBTjX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OY.M.lVnsBqli6vgHyX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Nl30bWNEPGIsl927T01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iV0ARuEC6Q5HVhOrGtIlX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sw.PZIZU8pYZg.R2vz.uq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Na8gCtKrFrqodTseSYX0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jnRTo2AnvJlCGXs3UkKL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NNpFs_JBRp6_fRkcpIUkp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P6Jsd9_a7RBRIFbUJNjw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xpNj8EDOxTTy1c2G8YOv5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YqzPFRiDWvidBVuKF6.N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OR_QZQjrhwFaNh5QVxQu7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z1DYKFsjIOwueWgbMbry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iOiS1fu1pEraom0sTKRBM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9Q.CCWGh0G9UvjZ8CloFS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l.vEK45idTCP8ZK796f1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ftje6Vkz76e8SKNB.OlLe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5N08tMrFWORdmgSr4MUCE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e4TQJtX2ZszmbQgx6t1uM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FVE0bAm5usFaz790klf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9.VDhhdBQSoSz4I3JWyf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gu_LPOj1kunvoR0BrCjZ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Ae48xwbsoSicQxXKa9Ln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A5aWmzQOZ_yZzi4PhfbvS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VbIxrzAr7_.laZUBHgN21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bn1NkYKkH89rr45yRKLa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Uf7BhEesZsBuoVw0_OHu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xx2POxCuCDCr1NZCe4BG1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qWlbL0z.c2pmbRCBknw7s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krhUX7qDiR1Kw6IdIcfq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2sYZtnu29Px754.Ssl8h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RqEXKV2Ttos8yCGG.BRS9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bTUrvG7SCNHT0f3yK.um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jP2gSj0xxIPdNr_Ri2LaW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ln6HNDxU7SPSNBRUd0KNI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BG7j0ChpbLzWF29m3fBVM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7HF83jd96Bae2Ld76iG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0MR9lo4_9O7Kww8mQqM.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BvucOFP4EgjrZc9_sVK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dlHp6Ldc_7T9PQLxu_4Hr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3oKubIa25KoA.EhjcMoPr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KLW39sj9IfAT9q3DsAf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RtT9.HJHJksk2d.qBVR7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iwWU_VCbKDZtmu1HRc4Z2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GfUBVRONa1kf5dkXTwp_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pdoRywaEL8OVKURSr_nD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qpZnTEQNJMfFfsORexFe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6So4jjthLETI7DhWzgDzB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F9FONF5oujC22hil3ym.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z6klAs7MUse8SIkHVt4T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Oj2YS1z8MVAdxuHLhAGF0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BlwYCwJDf80TeUp2_Qhc6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WlFi9E9kejPYmg3Ni0f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5arRDFtrYSwOV0DdpDi6H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J6MdW9HI1Wjpr21QS4MIk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3o_uDFg3.nmstVeMtpuZV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aK1QOMJgtgbVdMTY9QXMv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VoDq9MS3kjH6ANNGRRiF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yKpMgO4C1l9XEPn8vya5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isnAivQoM2bNSRXuA6J7S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_tyAd.22oj.dC09_8Zxp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jKvSKsXv2AcI6BczOnM07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ic6lP0BKASRJlx4OQFaBs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nL8ewR5T0EhI5IuipBhl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B8Q2TmHt0o6cDX7JU6Gq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6X_mJWbtRzwhny8cB9kX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7iurQnObUCQ6jM4qU.gW2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EicbICrOdJqlSnpuv3443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8pkBqTchFIS0o_gstxjqx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Z7SIkwXxLPGvAegzxDHEA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LEN9N99aY7YIkwgrsZLgu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QR5UXQin2Foa67AJu7fKA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JPHrMAc3HLje5Lgl9W2nb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TPDGOqg1AyLqXg9Pf1V.R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TedpZnTul9g6q6fXMSPz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ij6bJO2W3tQZJ6imDc6y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V3jkwwscAbIKmK60DC6V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5eCS2Wy_Qb3l24okHI8A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DYai6wxr7iTZ1s.NnGUz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79s.837CFjeN35Q3qWo1x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C6EgOqXAJB9v8VRSBR13n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g3XYwc1lsr873dGmqUy7W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VO7AX0hprgR3nmZZIxLE6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bMmnqr5LhVl4zELDDWdPr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zYKErgL8aJJDWyZIRyIS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MMNyTcQIe9.78CYqZOgQ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rHvOY9D5f74rKU55c9lj7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WllgZD4ExGKD1uVRuA7kq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I6Jp.X62GlR4.a96Ddwx4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4UdGh.KJAJgisLfDXvKzN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PoBgeXLrkrKX4kW2p2G4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LUkS7ieGOHlB6fzcv5hah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PmvoJdiejFTqrsWG5Sia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34rLn.LBljXV1wvfbPFGT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cBtJo3GgGUng8wWhkn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FqAp.8gPeYB3rjvqT9F4j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dOANQ05O4TjArGZTIKmRf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s2NRdR.MEMUb34lifvxVN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1GHhxwsjm8vfZqhwS6OLu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fhXA8N3UnQTU3acDwYzf9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K6zhSLWX0VC3AM5nlN6vA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y0R23EUPNsCvqiFJW2IF6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op..WEzUMYbHhIValCa9N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gKLceWeCObohkxRPbAaZw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d3Rz7xbilBtPxDwqdpO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OmFDNArox1iLZPwRDonY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YLm8fDrzePeXnXX2.xIFC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Bs.v.qkXR_vRHupInEhc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6eRnAdOUpkFBV2U8WAfSZ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Sv8nOQtBE.Ss_dUtr81w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8ubrQlrcK.P5q1BP2E0F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IVyaJBx.ED3JFdjSxV6nF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Ow_yCrTl.La.ADNjapcSl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F0JXTEOCK7zsB5s6UIy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ziohhBO_Abdf25lSIOS64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N3fU3s_gaRgTNjQdVWjdH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BTseGtPuc3.aSIuFMpgx4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FZiqOu6eRtiNwCVkh_Tk_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JxvvLPfTqGZ5M_YrVEIKG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Sr5CiC4KgbIbIIR_udjjh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1d7Xpd1u1OmPSgRh5eJD9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STva9O8NkYqhIgmcAg80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1Y58EBOsRIXlWAcjsLcgu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N6qHmh4TJPhbKaW22qNdH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nTxsGDX.4GVrYaBDq3D74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yl27QyVV5wAeB50K59iIr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fP4JdLtZxtrZ_Q46tRRBK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RfFVRlnv1f5LqFLnVTTvb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1NAr8QAIyi0fvfIqBJ3P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IpPBuwSdB0DbqnQrSULK5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WJGC3KS8dBjNQkBONrglY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V.Ce38AkSq0P8sfSOB_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b90iRN_WY3TBMTf8QLk6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GkGnYxtKG6wPtGez1cv5X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RkIxxrZo.DYSe_SP6Jr9y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c.p0pLIojoOkyfhxG46s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niTkTjxpFP3Vt.nFCfTBx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ywmST8__i85zw1Pawd5NX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Y1CWylvaHw05k3Hi3OW61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4yKLxaUM_WbvbGIAFAceQ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Oei2QVgtY4w4ScUVuYe7U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TpKw6xVi_DKSCYdqQyyme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I4n8lcwc276zMn1k7Bli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2DjECJFNd_58rOY9GtnE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MjlQZFtb2u.XBS8zwrPuA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9SbfmD8.rQkTKf8v.eE6t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tquFvtrAmaCCxlrlZvvL5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_YTfwnO.jT1xQUBS__Sv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c.yYCyOYsjA76PPjSos3.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92hpEp2qaOFsR6stAoEq.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tyctCKY61EW_ZJh07eWz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I.F4S3513QLuwKG2dcnKr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bNKHtgflNyckib7uwoB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uiS38pIORNOVPuo.Lj_c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b9Z1b9Fs4IXBNDh15eBs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fQiwnGJK314VGe46Hhwum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IPbDEXNA0kwbDEDXxK7y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q3pKW4KMrZYgn19cxIrx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Wzk1vNi59lY4eJJI_bu8i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86Jv0SgmC0IqrgXvOoz_f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xGeHUMm87LfjvmDstVYYe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bbEKgxmiS8trBPptXw88J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6fIuXgEDnAKs7s6Ir04pm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6KfnwNBhZj4wFyW_aYXmT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ygm88FubDWtpIwIb85CDp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S2hUzmztP59stqxJmYxin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lxC9DQ6WNHMWggOdvjm4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5mdAaNgF2ZT28qFBAfJp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w10igcbQneOvZY1IEYQfP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5K4um4fnvy1XJcppTCR8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ca1J8h0d8x8zUak6KIAa.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PeonmsoeD7zlMUY6zv.K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tAVWEUoZwrVttkQVNhKv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iFwHecyfCsl68R8IqXtNG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fv3ax3_RHjgBa.43zp2s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GOMFPC8YzIuXOOV5BMqAG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znXDOBCGC.GZwX2b59ZB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3MIBRLyjrveWxbqT2PHO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I5OQFOKlWlx91d8Fuou7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17DNtwkCjRuBIpKjzdSAz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8cIupaCpHdkq5xgF57pHJ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0.RS6OjGMT5rBpEKrKfTk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MZL2KnVN88QmenGw3_7jo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bokhokhy6EdQOlVOUyDix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i45oo.dTTzL1DjihxZsqF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vtlmnwDN4G17kImgMwO84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fu28CMMf.sfLadEVDQkCc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2F3SFM21zDvnFIu7OYJRn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GkXCLFLwtGT_m03DhG6R_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SwrNOM1zTn_P8eLVNR0gi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rtii2VK6kRmk7xCXMGxt5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sPlTXBX1HkMbFnibMIhxv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5JQ63yvuQ13E1dfz2NyFT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AUVTNSGPEN67mfFom0NUb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tk707RASda4yEdla5Tp4r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LyVQcaYA4y6EAyys2JpG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9nHs_U9tMRsTpuknXY3P6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W3bL8IOYlXOR8BGcSer8I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rq6aHl4_eETWBRbPrwNB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AHsMQ7XTxYq9x_TVEIAE5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3zSqBctSj0b.f5.3pnIf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tiwRNHHOfO0crPeM4sWfy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8g8spqcu5Jf_J0KG2mKRD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QuvwpNibrTa6nIZBvFOV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37l9PB4xF5a1hUCYVOGB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J9_XmdDWhUdtRfzvDckp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1wJnSqDZbRd9zkSgoh_d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gTN5rFe3TffnBc10rHSAG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5tA4A38322D8Xa20_M_K6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fvpkSaWOTjyzKttUnOC.b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UVKQ6jonp0cXVCBky9PUn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RBSKhi3pI8obd4fHD143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Y_kE1F0cPkkpIKu1dPoc8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m3viqY._BkWSNNi3JIv4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2p2.4cO7iqHMmTD72aoHR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i8I8UAz0AyQw8p18FP9eZ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W7tfqcQnbgs0vZEXubpAE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oHW3F_f7Y_37SB3OswAD_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sewRacyFtVu3_ElU00xua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MpaVZXlO22q_dOtCMkA_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T8eFLDfVw3NRX3ktDodoA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hoDgloTm6WKY7AZnUsJK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rXkugfTrJGZc2.v6k8V0V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61SafOfqEiiRF_GShJmr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NyCV.RvJuijGopMNP9xLE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Ic6GHXsD1hNtOMHm5qYWw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5tOXUatf6t2pYdUhBwYbp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1CtU.dGdH3nKIJx2d9_s4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rJFsXsBZ5FZrTSfU4c.KB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GLRb2l8k3b8XYXeUIrMlD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t53YwYFlk1vbIt5JOUNkW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KIasjNUwTOrr8d4A98ZUM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GuPeegv6bH_sCes9EELvJ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Cx.EZ5G0o1VXF740gsXqJ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qXewIHGlmZTEZUJ24xzwE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6jDhpbbbLO1LVG3audfgL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XU9zhKqmDeJwjlVvoY9U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pRMEpcjtzzfgqhqG8d8V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GUdNVR6A0p7k6ryxpUCv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pyrWI2jpcYjSVseBK2DLG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PWwFJeWA58_MUgdamf8DO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Umiq7RBEUsWaZPGEy41Uo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5mqKM_qcy2UGlthZMRDzJ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AQjA21Q8jQgvMrFmKS3xi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yCuNMXkiyXXEu76K3uiA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CkYIXNcpc9Ov_IE_CIzaJ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1KaGrppNS6ZqLBoWz6qAv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GrmfCSx.vJ5MoWkW5v3xp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EgJjcx2JS5J9AIkDunfS.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C43R4oaa.YqJM44lRjkyf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FMS.mz8Fp4uwrQ8ilJqLx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aCS0dqBMLF4KNV0nYgLi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BaVUqJxvWZ0oEIklpdgZ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uI4JZq83Lcc6VCRAC9YTK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l2piaTG402RQONwx2Hor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odu6jaym89rFV.LRCLiK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Qil.pb4mgPp1vMG.8X39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NdgFsvIqxjM4WeMH8l5if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1ERXb9blrxe3z1S.xjLXg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1dwUPF8MStfh3B4eowqlP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TnofOzpHfH.IHy2beIE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BVdzz6pWv13YWeFChM5Pr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461</Words>
  <Application>Microsoft Office PowerPoint</Application>
  <PresentationFormat>A4 210 x 297 mm</PresentationFormat>
  <Paragraphs>2624</Paragraphs>
  <Slides>77</Slides>
  <Notes>11</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77</vt:i4>
      </vt:variant>
    </vt:vector>
  </HeadingPairs>
  <TitlesOfParts>
    <vt:vector size="89" baseType="lpstr">
      <vt:lpstr>HGP創英角ｺﾞｼｯｸUB</vt:lpstr>
      <vt:lpstr>MS PGothic (Headings)</vt:lpstr>
      <vt:lpstr>ＭＳ Ｐゴシック</vt:lpstr>
      <vt:lpstr>ＭＳ Ｐゴシック 本文</vt:lpstr>
      <vt:lpstr>ヒラギノ角ゴ Pro W3</vt:lpstr>
      <vt:lpstr>Arial</vt:lpstr>
      <vt:lpstr>Arial Black</vt:lpstr>
      <vt:lpstr>Courier New</vt:lpstr>
      <vt:lpstr>Georgia</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南アフリカ／一般概況</vt:lpstr>
      <vt:lpstr>南アフリカ／一般概況／経済</vt:lpstr>
      <vt:lpstr>南アフリカ／一般概況／経済</vt:lpstr>
      <vt:lpstr>南アフリカ／一般概況／経済</vt:lpstr>
      <vt:lpstr>南アフリカ／一般概況／経済</vt:lpstr>
      <vt:lpstr>南アフリカ／一般概況／経済</vt:lpstr>
      <vt:lpstr>南アフリカ／一般概況／規制</vt:lpstr>
      <vt:lpstr>南アフリカ／一般概況／規制</vt:lpstr>
      <vt:lpstr>南アフリカ／一般概況／規制</vt:lpstr>
      <vt:lpstr>南アフリカ／一般概況／規制</vt:lpstr>
      <vt:lpstr>医療関連</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医療サービス</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介護</vt:lpstr>
      <vt:lpstr>南アフリカ／医療関連／歯科</vt:lpstr>
      <vt:lpstr>その他</vt:lpstr>
      <vt:lpstr>南アフリカ／医療関連／その他</vt:lpstr>
      <vt:lpstr>南アフリカ／医療関連／その他</vt:lpstr>
      <vt:lpstr>南アフリカ／医療関連／その他</vt:lpstr>
      <vt:lpstr>南アフリカ／医療関連／その他</vt:lpstr>
      <vt:lpstr>政策動向</vt:lpstr>
      <vt:lpstr>南アフリカ／政策動向</vt:lpstr>
      <vt:lpstr>南アフリカ／政策動向</vt:lpstr>
      <vt:lpstr>南アフリカ／政策動向</vt:lpstr>
      <vt:lpstr>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45:36Z</dcterms:created>
  <dcterms:modified xsi:type="dcterms:W3CDTF">2026-06-04T04:38:07Z</dcterms:modified>
</cp:coreProperties>
</file>